
<file path=[Content_Types].xml><?xml version="1.0" encoding="utf-8"?>
<Types xmlns="http://schemas.openxmlformats.org/package/2006/content-types">
  <Default Extension="bin" ContentType="application/vnd.openxmlformats-officedocument.oleObject"/>
  <Default Extension="png" ContentType="image/png"/>
  <Default Extension="svg" ContentType="image/svg+xml"/>
  <Default Extension="emf" ContentType="image/x-emf"/>
  <Default Extension="jpeg" ContentType="image/jpeg"/>
  <Default Extension="rels" ContentType="application/vnd.openxmlformats-package.relationships+xml"/>
  <Default Extension="xml" ContentType="application/xml"/>
  <Default Extension="fntdata" ContentType="application/x-fontdata"/>
  <Default Extension="vml" ContentType="application/vnd.openxmlformats-officedocument.vmlDrawing"/>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slides/slide55.xml" ContentType="application/vnd.openxmlformats-officedocument.presentationml.slide+xml"/>
  <Override PartName="/ppt/slides/slide56.xml" ContentType="application/vnd.openxmlformats-officedocument.presentationml.slide+xml"/>
  <Override PartName="/ppt/slides/slide57.xml" ContentType="application/vnd.openxmlformats-officedocument.presentationml.slide+xml"/>
  <Override PartName="/ppt/slides/slide58.xml" ContentType="application/vnd.openxmlformats-officedocument.presentationml.slide+xml"/>
  <Override PartName="/ppt/slides/slide59.xml" ContentType="application/vnd.openxmlformats-officedocument.presentationml.slide+xml"/>
  <Override PartName="/ppt/slides/slide60.xml" ContentType="application/vnd.openxmlformats-officedocument.presentationml.slide+xml"/>
  <Override PartName="/ppt/slides/slide61.xml" ContentType="application/vnd.openxmlformats-officedocument.presentationml.slide+xml"/>
  <Override PartName="/ppt/slides/slide62.xml" ContentType="application/vnd.openxmlformats-officedocument.presentationml.slide+xml"/>
  <Override PartName="/ppt/slides/slide63.xml" ContentType="application/vnd.openxmlformats-officedocument.presentationml.slide+xml"/>
  <Override PartName="/ppt/slides/slide64.xml" ContentType="application/vnd.openxmlformats-officedocument.presentationml.slide+xml"/>
  <Override PartName="/ppt/slides/slide65.xml" ContentType="application/vnd.openxmlformats-officedocument.presentationml.slide+xml"/>
  <Override PartName="/ppt/slides/slide66.xml" ContentType="application/vnd.openxmlformats-officedocument.presentationml.slide+xml"/>
  <Override PartName="/ppt/slides/slide67.xml" ContentType="application/vnd.openxmlformats-officedocument.presentationml.slide+xml"/>
  <Override PartName="/ppt/slides/slide68.xml" ContentType="application/vnd.openxmlformats-officedocument.presentationml.slide+xml"/>
  <Override PartName="/ppt/slides/slide69.xml" ContentType="application/vnd.openxmlformats-officedocument.presentationml.slide+xml"/>
  <Override PartName="/ppt/slides/slide70.xml" ContentType="application/vnd.openxmlformats-officedocument.presentationml.slide+xml"/>
  <Override PartName="/ppt/slides/slide71.xml" ContentType="application/vnd.openxmlformats-officedocument.presentationml.slide+xml"/>
  <Override PartName="/ppt/slides/slide72.xml" ContentType="application/vnd.openxmlformats-officedocument.presentationml.slide+xml"/>
  <Override PartName="/ppt/slides/slide73.xml" ContentType="application/vnd.openxmlformats-officedocument.presentationml.slide+xml"/>
  <Override PartName="/ppt/slides/slide74.xml" ContentType="application/vnd.openxmlformats-officedocument.presentationml.slide+xml"/>
  <Override PartName="/ppt/slides/slide75.xml" ContentType="application/vnd.openxmlformats-officedocument.presentationml.slide+xml"/>
  <Override PartName="/ppt/notesMasters/notesMaster1.xml" ContentType="application/vnd.openxmlformats-officedocument.presentationml.notes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tags/tag3.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tags/tag4.xml" ContentType="application/vnd.openxmlformats-officedocument.presentationml.tags+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notesSlides/notesSlide54.xml" ContentType="application/vnd.openxmlformats-officedocument.presentationml.notesSlide+xml"/>
  <Override PartName="/ppt/notesSlides/notesSlide55.xml" ContentType="application/vnd.openxmlformats-officedocument.presentationml.notesSlide+xml"/>
  <Override PartName="/ppt/notesSlides/notesSlide56.xml" ContentType="application/vnd.openxmlformats-officedocument.presentationml.notesSlide+xml"/>
  <Override PartName="/ppt/notesSlides/notesSlide57.xml" ContentType="application/vnd.openxmlformats-officedocument.presentationml.notesSlide+xml"/>
  <Override PartName="/ppt/notesSlides/notesSlide58.xml" ContentType="application/vnd.openxmlformats-officedocument.presentationml.notesSlide+xml"/>
  <Override PartName="/ppt/notesSlides/notesSlide59.xml" ContentType="application/vnd.openxmlformats-officedocument.presentationml.notesSlide+xml"/>
  <Override PartName="/ppt/notesSlides/notesSlide60.xml" ContentType="application/vnd.openxmlformats-officedocument.presentationml.notesSlide+xml"/>
  <Override PartName="/ppt/notesSlides/notesSlide61.xml" ContentType="application/vnd.openxmlformats-officedocument.presentationml.notesSlide+xml"/>
  <Override PartName="/ppt/notesSlides/notesSlide62.xml" ContentType="application/vnd.openxmlformats-officedocument.presentationml.notesSlide+xml"/>
  <Override PartName="/ppt/notesSlides/notesSlide63.xml" ContentType="application/vnd.openxmlformats-officedocument.presentationml.notesSlide+xml"/>
  <Override PartName="/ppt/notesSlides/notesSlide64.xml" ContentType="application/vnd.openxmlformats-officedocument.presentationml.notesSlide+xml"/>
  <Override PartName="/ppt/notesSlides/notesSlide65.xml" ContentType="application/vnd.openxmlformats-officedocument.presentationml.notesSlide+xml"/>
  <Override PartName="/ppt/notesSlides/notesSlide66.xml" ContentType="application/vnd.openxmlformats-officedocument.presentationml.notesSlide+xml"/>
  <Override PartName="/ppt/notesSlides/notesSlide67.xml" ContentType="application/vnd.openxmlformats-officedocument.presentationml.notesSlide+xml"/>
  <Override PartName="/ppt/notesSlides/notesSlide68.xml" ContentType="application/vnd.openxmlformats-officedocument.presentationml.notesSlide+xml"/>
  <Override PartName="/ppt/notesSlides/notesSlide69.xml" ContentType="application/vnd.openxmlformats-officedocument.presentationml.notesSlide+xml"/>
  <Override PartName="/ppt/notesSlides/notesSlide70.xml" ContentType="application/vnd.openxmlformats-officedocument.presentationml.notesSlide+xml"/>
  <Override PartName="/ppt/notesSlides/notesSlide71.xml" ContentType="application/vnd.openxmlformats-officedocument.presentationml.notesSlide+xml"/>
  <Override PartName="/ppt/notesSlides/notesSlide72.xml" ContentType="application/vnd.openxmlformats-officedocument.presentationml.notesSlide+xml"/>
  <Override PartName="/ppt/notesSlides/notesSlide73.xml" ContentType="application/vnd.openxmlformats-officedocument.presentationml.notesSlide+xml"/>
  <Override PartName="/ppt/notesSlides/notesSlide7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embedTrueTypeFonts="1">
  <p:sldMasterIdLst>
    <p:sldMasterId id="2147483648" r:id="rId3"/>
  </p:sldMasterIdLst>
  <p:notesMasterIdLst>
    <p:notesMasterId r:id="rId79"/>
  </p:notesMasterIdLst>
  <p:sldIdLst>
    <p:sldId id="356" r:id="rId4"/>
    <p:sldId id="268" r:id="rId5"/>
    <p:sldId id="292" r:id="rId6"/>
    <p:sldId id="293" r:id="rId7"/>
    <p:sldId id="270" r:id="rId8"/>
    <p:sldId id="294" r:id="rId9"/>
    <p:sldId id="295" r:id="rId10"/>
    <p:sldId id="264" r:id="rId11"/>
    <p:sldId id="262" r:id="rId12"/>
    <p:sldId id="344" r:id="rId13"/>
    <p:sldId id="298" r:id="rId14"/>
    <p:sldId id="349" r:id="rId15"/>
    <p:sldId id="300" r:id="rId16"/>
    <p:sldId id="302" r:id="rId17"/>
    <p:sldId id="303" r:id="rId18"/>
    <p:sldId id="304" r:id="rId19"/>
    <p:sldId id="305" r:id="rId20"/>
    <p:sldId id="350" r:id="rId21"/>
    <p:sldId id="307" r:id="rId22"/>
    <p:sldId id="308" r:id="rId23"/>
    <p:sldId id="309" r:id="rId24"/>
    <p:sldId id="310" r:id="rId25"/>
    <p:sldId id="311" r:id="rId26"/>
    <p:sldId id="312" r:id="rId27"/>
    <p:sldId id="313" r:id="rId28"/>
    <p:sldId id="343" r:id="rId29"/>
    <p:sldId id="265" r:id="rId30"/>
    <p:sldId id="272" r:id="rId31"/>
    <p:sldId id="271" r:id="rId32"/>
    <p:sldId id="269" r:id="rId33"/>
    <p:sldId id="273" r:id="rId34"/>
    <p:sldId id="274" r:id="rId35"/>
    <p:sldId id="351" r:id="rId36"/>
    <p:sldId id="346" r:id="rId37"/>
    <p:sldId id="317" r:id="rId38"/>
    <p:sldId id="318" r:id="rId39"/>
    <p:sldId id="347" r:id="rId40"/>
    <p:sldId id="320" r:id="rId41"/>
    <p:sldId id="321" r:id="rId42"/>
    <p:sldId id="322" r:id="rId43"/>
    <p:sldId id="275" r:id="rId44"/>
    <p:sldId id="276" r:id="rId45"/>
    <p:sldId id="277" r:id="rId46"/>
    <p:sldId id="278" r:id="rId47"/>
    <p:sldId id="352" r:id="rId48"/>
    <p:sldId id="324" r:id="rId49"/>
    <p:sldId id="325" r:id="rId50"/>
    <p:sldId id="348" r:id="rId51"/>
    <p:sldId id="279" r:id="rId52"/>
    <p:sldId id="280" r:id="rId53"/>
    <p:sldId id="281" r:id="rId54"/>
    <p:sldId id="282" r:id="rId55"/>
    <p:sldId id="353" r:id="rId56"/>
    <p:sldId id="328" r:id="rId57"/>
    <p:sldId id="360" r:id="rId58"/>
    <p:sldId id="329" r:id="rId59"/>
    <p:sldId id="331" r:id="rId60"/>
    <p:sldId id="283" r:id="rId61"/>
    <p:sldId id="284" r:id="rId62"/>
    <p:sldId id="285" r:id="rId63"/>
    <p:sldId id="286" r:id="rId64"/>
    <p:sldId id="354" r:id="rId65"/>
    <p:sldId id="333" r:id="rId66"/>
    <p:sldId id="334" r:id="rId67"/>
    <p:sldId id="335" r:id="rId68"/>
    <p:sldId id="336" r:id="rId69"/>
    <p:sldId id="287" r:id="rId70"/>
    <p:sldId id="288" r:id="rId71"/>
    <p:sldId id="289" r:id="rId72"/>
    <p:sldId id="290" r:id="rId73"/>
    <p:sldId id="355" r:id="rId74"/>
    <p:sldId id="338" r:id="rId75"/>
    <p:sldId id="339" r:id="rId76"/>
    <p:sldId id="361" r:id="rId77"/>
    <p:sldId id="340" r:id="rId78"/>
  </p:sldIdLst>
  <p:sldSz cx="18288000" cy="10285413"/>
  <p:notesSz cx="6807200" cy="9939338"/>
  <p:embeddedFontLst>
    <p:embeddedFont>
      <p:font typeface="M PLUS 1p Bold" panose="020B0600070205080204" charset="-128"/>
      <p:bold r:id="rId80"/>
    </p:embeddedFont>
    <p:embeddedFont>
      <p:font typeface="M PLUS 1p Medium" panose="020B0600070205080204" charset="-128"/>
      <p:regular r:id="rId81"/>
    </p:embeddedFont>
    <p:embeddedFont>
      <p:font typeface="Meiryo UI" panose="020B0604030504040204" pitchFamily="50" charset="-128"/>
      <p:regular r:id="rId82"/>
      <p:bold r:id="rId83"/>
      <p:italic r:id="rId84"/>
      <p:boldItalic r:id="rId85"/>
    </p:embeddedFont>
    <p:embeddedFont>
      <p:font typeface="Segoe UI" panose="020B0502040204020203" pitchFamily="34" charset="0"/>
      <p:regular r:id="rId86"/>
      <p:bold r:id="rId87"/>
      <p:italic r:id="rId88"/>
      <p:boldItalic r:id="rId89"/>
    </p:embeddedFont>
    <p:embeddedFont>
      <p:font typeface="Trebuchet MS" panose="020B0603020202020204" pitchFamily="34" charset="0"/>
      <p:regular r:id="rId90"/>
      <p:bold r:id="rId91"/>
      <p:italic r:id="rId92"/>
      <p:boldItalic r:id="rId93"/>
    </p:embeddedFont>
  </p:embeddedFontLst>
  <p:custDataLst>
    <p:tags r:id="rId94"/>
  </p:custDataLst>
  <p:defaultTextStyle>
    <a:defPPr>
      <a:defRPr lang="ja-JP"/>
    </a:defPPr>
    <a:lvl1pPr marL="0" algn="l" defTabSz="1371509" rtl="0" eaLnBrk="1" latinLnBrk="0" hangingPunct="1">
      <a:defRPr kumimoji="1" sz="2700" kern="1200">
        <a:solidFill>
          <a:schemeClr val="tx1"/>
        </a:solidFill>
        <a:latin typeface="+mn-lt"/>
        <a:ea typeface="+mn-ea"/>
        <a:cs typeface="+mn-cs"/>
      </a:defRPr>
    </a:lvl1pPr>
    <a:lvl2pPr marL="685754" algn="l" defTabSz="1371509" rtl="0" eaLnBrk="1" latinLnBrk="0" hangingPunct="1">
      <a:defRPr kumimoji="1" sz="2700" kern="1200">
        <a:solidFill>
          <a:schemeClr val="tx1"/>
        </a:solidFill>
        <a:latin typeface="+mn-lt"/>
        <a:ea typeface="+mn-ea"/>
        <a:cs typeface="+mn-cs"/>
      </a:defRPr>
    </a:lvl2pPr>
    <a:lvl3pPr marL="1371509" algn="l" defTabSz="1371509" rtl="0" eaLnBrk="1" latinLnBrk="0" hangingPunct="1">
      <a:defRPr kumimoji="1" sz="2700" kern="1200">
        <a:solidFill>
          <a:schemeClr val="tx1"/>
        </a:solidFill>
        <a:latin typeface="+mn-lt"/>
        <a:ea typeface="+mn-ea"/>
        <a:cs typeface="+mn-cs"/>
      </a:defRPr>
    </a:lvl3pPr>
    <a:lvl4pPr marL="2057263" algn="l" defTabSz="1371509" rtl="0" eaLnBrk="1" latinLnBrk="0" hangingPunct="1">
      <a:defRPr kumimoji="1" sz="2700" kern="1200">
        <a:solidFill>
          <a:schemeClr val="tx1"/>
        </a:solidFill>
        <a:latin typeface="+mn-lt"/>
        <a:ea typeface="+mn-ea"/>
        <a:cs typeface="+mn-cs"/>
      </a:defRPr>
    </a:lvl4pPr>
    <a:lvl5pPr marL="2743017" algn="l" defTabSz="1371509" rtl="0" eaLnBrk="1" latinLnBrk="0" hangingPunct="1">
      <a:defRPr kumimoji="1" sz="2700" kern="1200">
        <a:solidFill>
          <a:schemeClr val="tx1"/>
        </a:solidFill>
        <a:latin typeface="+mn-lt"/>
        <a:ea typeface="+mn-ea"/>
        <a:cs typeface="+mn-cs"/>
      </a:defRPr>
    </a:lvl5pPr>
    <a:lvl6pPr marL="3428771" algn="l" defTabSz="1371509" rtl="0" eaLnBrk="1" latinLnBrk="0" hangingPunct="1">
      <a:defRPr kumimoji="1" sz="2700" kern="1200">
        <a:solidFill>
          <a:schemeClr val="tx1"/>
        </a:solidFill>
        <a:latin typeface="+mn-lt"/>
        <a:ea typeface="+mn-ea"/>
        <a:cs typeface="+mn-cs"/>
      </a:defRPr>
    </a:lvl6pPr>
    <a:lvl7pPr marL="4114526" algn="l" defTabSz="1371509" rtl="0" eaLnBrk="1" latinLnBrk="0" hangingPunct="1">
      <a:defRPr kumimoji="1" sz="2700" kern="1200">
        <a:solidFill>
          <a:schemeClr val="tx1"/>
        </a:solidFill>
        <a:latin typeface="+mn-lt"/>
        <a:ea typeface="+mn-ea"/>
        <a:cs typeface="+mn-cs"/>
      </a:defRPr>
    </a:lvl7pPr>
    <a:lvl8pPr marL="4800280" algn="l" defTabSz="1371509" rtl="0" eaLnBrk="1" latinLnBrk="0" hangingPunct="1">
      <a:defRPr kumimoji="1" sz="2700" kern="1200">
        <a:solidFill>
          <a:schemeClr val="tx1"/>
        </a:solidFill>
        <a:latin typeface="+mn-lt"/>
        <a:ea typeface="+mn-ea"/>
        <a:cs typeface="+mn-cs"/>
      </a:defRPr>
    </a:lvl8pPr>
    <a:lvl9pPr marL="5486034" algn="l" defTabSz="1371509" rtl="0" eaLnBrk="1" latinLnBrk="0" hangingPunct="1">
      <a:defRPr kumimoji="1" sz="27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08AE84"/>
    <a:srgbClr val="67AF9E"/>
    <a:srgbClr val="0072FB"/>
    <a:srgbClr val="DEF4FE"/>
    <a:srgbClr val="68D4F0"/>
    <a:srgbClr val="45A4CF"/>
    <a:srgbClr val="5B4E42"/>
    <a:srgbClr val="878788"/>
    <a:srgbClr val="F4B3B3"/>
    <a:srgbClr val="B5886A"/>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5824DBAB-7369-4E4D-9276-281A87B03845}" v="1" dt="2024-03-22T02:50:48.067"/>
    <p1510:client id="{6FE508F3-3347-4C2E-94A0-43D84009D2FB}" v="47" dt="2024-03-21T04:10:02.014"/>
    <p1510:client id="{92361C6C-0659-4799-A1FA-E97354A71C15}" v="26" dt="2024-03-22T02:17:50.560"/>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6996" autoAdjust="0"/>
    <p:restoredTop sz="85947" autoAdjust="0"/>
  </p:normalViewPr>
  <p:slideViewPr>
    <p:cSldViewPr snapToGrid="0">
      <p:cViewPr varScale="1">
        <p:scale>
          <a:sx n="66" d="100"/>
          <a:sy n="66" d="100"/>
        </p:scale>
        <p:origin x="936" y="78"/>
      </p:cViewPr>
      <p:guideLst/>
    </p:cSldViewPr>
  </p:slideViewPr>
  <p:notesTextViewPr>
    <p:cViewPr>
      <p:scale>
        <a:sx n="1" d="1"/>
        <a:sy n="1" d="1"/>
      </p:scale>
      <p:origin x="0" y="0"/>
    </p:cViewPr>
  </p:notesTextViewPr>
  <p:notesViewPr>
    <p:cSldViewPr snapToGrid="0">
      <p:cViewPr varScale="1">
        <p:scale>
          <a:sx n="55" d="100"/>
          <a:sy n="55" d="100"/>
        </p:scale>
        <p:origin x="688" y="60"/>
      </p:cViewPr>
      <p:guideLst/>
    </p:cSldViewPr>
  </p:notesViewPr>
  <p:gridSpacing cx="72008" cy="72008"/>
</p:viewPr>
</file>

<file path=ppt/_rels/presentation.xml.rels><?xml version="1.0" encoding="UTF-8" standalone="yes"?>
<Relationships xmlns="http://schemas.openxmlformats.org/package/2006/relationships"><Relationship Id="rId26" Type="http://schemas.openxmlformats.org/officeDocument/2006/relationships/slide" Target="slides/slide23.xml"/><Relationship Id="rId21" Type="http://schemas.openxmlformats.org/officeDocument/2006/relationships/slide" Target="slides/slide18.xml"/><Relationship Id="rId34" Type="http://schemas.openxmlformats.org/officeDocument/2006/relationships/slide" Target="slides/slide31.xml"/><Relationship Id="rId42" Type="http://schemas.openxmlformats.org/officeDocument/2006/relationships/slide" Target="slides/slide39.xml"/><Relationship Id="rId47" Type="http://schemas.openxmlformats.org/officeDocument/2006/relationships/slide" Target="slides/slide44.xml"/><Relationship Id="rId50" Type="http://schemas.openxmlformats.org/officeDocument/2006/relationships/slide" Target="slides/slide47.xml"/><Relationship Id="rId55" Type="http://schemas.openxmlformats.org/officeDocument/2006/relationships/slide" Target="slides/slide52.xml"/><Relationship Id="rId63" Type="http://schemas.openxmlformats.org/officeDocument/2006/relationships/slide" Target="slides/slide60.xml"/><Relationship Id="rId68" Type="http://schemas.openxmlformats.org/officeDocument/2006/relationships/slide" Target="slides/slide65.xml"/><Relationship Id="rId76" Type="http://schemas.openxmlformats.org/officeDocument/2006/relationships/slide" Target="slides/slide73.xml"/><Relationship Id="rId84" Type="http://schemas.openxmlformats.org/officeDocument/2006/relationships/font" Target="fonts/font5.fntdata"/><Relationship Id="rId89" Type="http://schemas.openxmlformats.org/officeDocument/2006/relationships/font" Target="fonts/font10.fntdata"/><Relationship Id="rId97" Type="http://schemas.openxmlformats.org/officeDocument/2006/relationships/theme" Target="theme/theme1.xml"/><Relationship Id="rId7" Type="http://schemas.openxmlformats.org/officeDocument/2006/relationships/slide" Target="slides/slide4.xml"/><Relationship Id="rId71" Type="http://schemas.openxmlformats.org/officeDocument/2006/relationships/slide" Target="slides/slide68.xml"/><Relationship Id="rId92" Type="http://schemas.openxmlformats.org/officeDocument/2006/relationships/font" Target="fonts/font13.fntdata"/><Relationship Id="rId2" Type="http://schemas.openxmlformats.org/officeDocument/2006/relationships/customXml" Target="../customXml/item2.xml"/><Relationship Id="rId16" Type="http://schemas.openxmlformats.org/officeDocument/2006/relationships/slide" Target="slides/slide13.xml"/><Relationship Id="rId29" Type="http://schemas.openxmlformats.org/officeDocument/2006/relationships/slide" Target="slides/slide26.xml"/><Relationship Id="rId11" Type="http://schemas.openxmlformats.org/officeDocument/2006/relationships/slide" Target="slides/slide8.xml"/><Relationship Id="rId24" Type="http://schemas.openxmlformats.org/officeDocument/2006/relationships/slide" Target="slides/slide21.xml"/><Relationship Id="rId32" Type="http://schemas.openxmlformats.org/officeDocument/2006/relationships/slide" Target="slides/slide29.xml"/><Relationship Id="rId37" Type="http://schemas.openxmlformats.org/officeDocument/2006/relationships/slide" Target="slides/slide34.xml"/><Relationship Id="rId40" Type="http://schemas.openxmlformats.org/officeDocument/2006/relationships/slide" Target="slides/slide37.xml"/><Relationship Id="rId45" Type="http://schemas.openxmlformats.org/officeDocument/2006/relationships/slide" Target="slides/slide42.xml"/><Relationship Id="rId53" Type="http://schemas.openxmlformats.org/officeDocument/2006/relationships/slide" Target="slides/slide50.xml"/><Relationship Id="rId58" Type="http://schemas.openxmlformats.org/officeDocument/2006/relationships/slide" Target="slides/slide55.xml"/><Relationship Id="rId66" Type="http://schemas.openxmlformats.org/officeDocument/2006/relationships/slide" Target="slides/slide63.xml"/><Relationship Id="rId74" Type="http://schemas.openxmlformats.org/officeDocument/2006/relationships/slide" Target="slides/slide71.xml"/><Relationship Id="rId79" Type="http://schemas.openxmlformats.org/officeDocument/2006/relationships/notesMaster" Target="notesMasters/notesMaster1.xml"/><Relationship Id="rId87" Type="http://schemas.openxmlformats.org/officeDocument/2006/relationships/font" Target="fonts/font8.fntdata"/><Relationship Id="rId5" Type="http://schemas.openxmlformats.org/officeDocument/2006/relationships/slide" Target="slides/slide2.xml"/><Relationship Id="rId61" Type="http://schemas.openxmlformats.org/officeDocument/2006/relationships/slide" Target="slides/slide58.xml"/><Relationship Id="rId82" Type="http://schemas.openxmlformats.org/officeDocument/2006/relationships/font" Target="fonts/font3.fntdata"/><Relationship Id="rId90" Type="http://schemas.openxmlformats.org/officeDocument/2006/relationships/font" Target="fonts/font11.fntdata"/><Relationship Id="rId95" Type="http://schemas.openxmlformats.org/officeDocument/2006/relationships/presProps" Target="presProps.xml"/><Relationship Id="rId19" Type="http://schemas.openxmlformats.org/officeDocument/2006/relationships/slide" Target="slides/slide16.xml"/><Relationship Id="rId14" Type="http://schemas.openxmlformats.org/officeDocument/2006/relationships/slide" Target="slides/slide11.xml"/><Relationship Id="rId22" Type="http://schemas.openxmlformats.org/officeDocument/2006/relationships/slide" Target="slides/slide19.xml"/><Relationship Id="rId27" Type="http://schemas.openxmlformats.org/officeDocument/2006/relationships/slide" Target="slides/slide24.xml"/><Relationship Id="rId30" Type="http://schemas.openxmlformats.org/officeDocument/2006/relationships/slide" Target="slides/slide27.xml"/><Relationship Id="rId35" Type="http://schemas.openxmlformats.org/officeDocument/2006/relationships/slide" Target="slides/slide32.xml"/><Relationship Id="rId43" Type="http://schemas.openxmlformats.org/officeDocument/2006/relationships/slide" Target="slides/slide40.xml"/><Relationship Id="rId48" Type="http://schemas.openxmlformats.org/officeDocument/2006/relationships/slide" Target="slides/slide45.xml"/><Relationship Id="rId56" Type="http://schemas.openxmlformats.org/officeDocument/2006/relationships/slide" Target="slides/slide53.xml"/><Relationship Id="rId64" Type="http://schemas.openxmlformats.org/officeDocument/2006/relationships/slide" Target="slides/slide61.xml"/><Relationship Id="rId69" Type="http://schemas.openxmlformats.org/officeDocument/2006/relationships/slide" Target="slides/slide66.xml"/><Relationship Id="rId77" Type="http://schemas.openxmlformats.org/officeDocument/2006/relationships/slide" Target="slides/slide74.xml"/><Relationship Id="rId8" Type="http://schemas.openxmlformats.org/officeDocument/2006/relationships/slide" Target="slides/slide5.xml"/><Relationship Id="rId51" Type="http://schemas.openxmlformats.org/officeDocument/2006/relationships/slide" Target="slides/slide48.xml"/><Relationship Id="rId72" Type="http://schemas.openxmlformats.org/officeDocument/2006/relationships/slide" Target="slides/slide69.xml"/><Relationship Id="rId80" Type="http://schemas.openxmlformats.org/officeDocument/2006/relationships/font" Target="fonts/font1.fntdata"/><Relationship Id="rId85" Type="http://schemas.openxmlformats.org/officeDocument/2006/relationships/font" Target="fonts/font6.fntdata"/><Relationship Id="rId93" Type="http://schemas.openxmlformats.org/officeDocument/2006/relationships/font" Target="fonts/font14.fntdata"/><Relationship Id="rId98" Type="http://schemas.openxmlformats.org/officeDocument/2006/relationships/tableStyles" Target="tableStyles.xml"/><Relationship Id="rId3" Type="http://schemas.openxmlformats.org/officeDocument/2006/relationships/slideMaster" Target="slideMasters/slideMaster1.xml"/><Relationship Id="rId12" Type="http://schemas.openxmlformats.org/officeDocument/2006/relationships/slide" Target="slides/slide9.xml"/><Relationship Id="rId17" Type="http://schemas.openxmlformats.org/officeDocument/2006/relationships/slide" Target="slides/slide14.xml"/><Relationship Id="rId25" Type="http://schemas.openxmlformats.org/officeDocument/2006/relationships/slide" Target="slides/slide22.xml"/><Relationship Id="rId33" Type="http://schemas.openxmlformats.org/officeDocument/2006/relationships/slide" Target="slides/slide30.xml"/><Relationship Id="rId38" Type="http://schemas.openxmlformats.org/officeDocument/2006/relationships/slide" Target="slides/slide35.xml"/><Relationship Id="rId46" Type="http://schemas.openxmlformats.org/officeDocument/2006/relationships/slide" Target="slides/slide43.xml"/><Relationship Id="rId59" Type="http://schemas.openxmlformats.org/officeDocument/2006/relationships/slide" Target="slides/slide56.xml"/><Relationship Id="rId67" Type="http://schemas.openxmlformats.org/officeDocument/2006/relationships/slide" Target="slides/slide64.xml"/><Relationship Id="rId20" Type="http://schemas.openxmlformats.org/officeDocument/2006/relationships/slide" Target="slides/slide17.xml"/><Relationship Id="rId41" Type="http://schemas.openxmlformats.org/officeDocument/2006/relationships/slide" Target="slides/slide38.xml"/><Relationship Id="rId54" Type="http://schemas.openxmlformats.org/officeDocument/2006/relationships/slide" Target="slides/slide51.xml"/><Relationship Id="rId62" Type="http://schemas.openxmlformats.org/officeDocument/2006/relationships/slide" Target="slides/slide59.xml"/><Relationship Id="rId70" Type="http://schemas.openxmlformats.org/officeDocument/2006/relationships/slide" Target="slides/slide67.xml"/><Relationship Id="rId75" Type="http://schemas.openxmlformats.org/officeDocument/2006/relationships/slide" Target="slides/slide72.xml"/><Relationship Id="rId83" Type="http://schemas.openxmlformats.org/officeDocument/2006/relationships/font" Target="fonts/font4.fntdata"/><Relationship Id="rId88" Type="http://schemas.openxmlformats.org/officeDocument/2006/relationships/font" Target="fonts/font9.fntdata"/><Relationship Id="rId91" Type="http://schemas.openxmlformats.org/officeDocument/2006/relationships/font" Target="fonts/font12.fntdata"/><Relationship Id="rId9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3.xml"/><Relationship Id="rId15" Type="http://schemas.openxmlformats.org/officeDocument/2006/relationships/slide" Target="slides/slide12.xml"/><Relationship Id="rId23" Type="http://schemas.openxmlformats.org/officeDocument/2006/relationships/slide" Target="slides/slide20.xml"/><Relationship Id="rId28" Type="http://schemas.openxmlformats.org/officeDocument/2006/relationships/slide" Target="slides/slide25.xml"/><Relationship Id="rId36" Type="http://schemas.openxmlformats.org/officeDocument/2006/relationships/slide" Target="slides/slide33.xml"/><Relationship Id="rId49" Type="http://schemas.openxmlformats.org/officeDocument/2006/relationships/slide" Target="slides/slide46.xml"/><Relationship Id="rId57" Type="http://schemas.openxmlformats.org/officeDocument/2006/relationships/slide" Target="slides/slide54.xml"/><Relationship Id="rId10" Type="http://schemas.openxmlformats.org/officeDocument/2006/relationships/slide" Target="slides/slide7.xml"/><Relationship Id="rId31" Type="http://schemas.openxmlformats.org/officeDocument/2006/relationships/slide" Target="slides/slide28.xml"/><Relationship Id="rId44" Type="http://schemas.openxmlformats.org/officeDocument/2006/relationships/slide" Target="slides/slide41.xml"/><Relationship Id="rId52" Type="http://schemas.openxmlformats.org/officeDocument/2006/relationships/slide" Target="slides/slide49.xml"/><Relationship Id="rId60" Type="http://schemas.openxmlformats.org/officeDocument/2006/relationships/slide" Target="slides/slide57.xml"/><Relationship Id="rId65" Type="http://schemas.openxmlformats.org/officeDocument/2006/relationships/slide" Target="slides/slide62.xml"/><Relationship Id="rId73" Type="http://schemas.openxmlformats.org/officeDocument/2006/relationships/slide" Target="slides/slide70.xml"/><Relationship Id="rId78" Type="http://schemas.openxmlformats.org/officeDocument/2006/relationships/slide" Target="slides/slide75.xml"/><Relationship Id="rId81" Type="http://schemas.openxmlformats.org/officeDocument/2006/relationships/font" Target="fonts/font2.fntdata"/><Relationship Id="rId86" Type="http://schemas.openxmlformats.org/officeDocument/2006/relationships/font" Target="fonts/font7.fntdata"/><Relationship Id="rId94" Type="http://schemas.openxmlformats.org/officeDocument/2006/relationships/tags" Target="tags/tag1.xml"/><Relationship Id="rId99" Type="http://schemas.microsoft.com/office/2015/10/relationships/revisionInfo" Target="revisionInfo.xml"/><Relationship Id="rId4" Type="http://schemas.openxmlformats.org/officeDocument/2006/relationships/slide" Target="slides/slide1.xml"/><Relationship Id="rId9" Type="http://schemas.openxmlformats.org/officeDocument/2006/relationships/slide" Target="slides/slide6.xml"/><Relationship Id="rId13" Type="http://schemas.openxmlformats.org/officeDocument/2006/relationships/slide" Target="slides/slide10.xml"/><Relationship Id="rId18" Type="http://schemas.openxmlformats.org/officeDocument/2006/relationships/slide" Target="slides/slide15.xml"/><Relationship Id="rId39" Type="http://schemas.openxmlformats.org/officeDocument/2006/relationships/slide" Target="slides/slide36.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ヘッダー プレースホルダー 1"/>
          <p:cNvSpPr>
            <a:spLocks noGrp="1"/>
          </p:cNvSpPr>
          <p:nvPr>
            <p:ph type="hdr" sz="quarter"/>
          </p:nvPr>
        </p:nvSpPr>
        <p:spPr>
          <a:xfrm>
            <a:off x="0" y="0"/>
            <a:ext cx="2949787" cy="498693"/>
          </a:xfrm>
          <a:prstGeom prst="rect">
            <a:avLst/>
          </a:prstGeom>
        </p:spPr>
        <p:txBody>
          <a:bodyPr vert="horz" lIns="91440" tIns="45720" rIns="91440" bIns="45720" rtlCol="0"/>
          <a:lstStyle>
            <a:lvl1pPr algn="l">
              <a:defRPr sz="1200">
                <a:latin typeface="M PLUS 1p Medium" panose="020B0602020203020207" pitchFamily="50" charset="-128"/>
                <a:ea typeface="M PLUS 1p Medium" panose="020B0602020203020207" pitchFamily="50" charset="-128"/>
              </a:defRPr>
            </a:lvl1pPr>
          </a:lstStyle>
          <a:p>
            <a:endParaRPr lang="ja-JP" altLang="en-US" dirty="0"/>
          </a:p>
        </p:txBody>
      </p:sp>
      <p:sp>
        <p:nvSpPr>
          <p:cNvPr id="3" name="日付プレースホルダー 2"/>
          <p:cNvSpPr>
            <a:spLocks noGrp="1"/>
          </p:cNvSpPr>
          <p:nvPr>
            <p:ph type="dt" idx="1"/>
          </p:nvPr>
        </p:nvSpPr>
        <p:spPr>
          <a:xfrm>
            <a:off x="3855838" y="0"/>
            <a:ext cx="2949787" cy="498693"/>
          </a:xfrm>
          <a:prstGeom prst="rect">
            <a:avLst/>
          </a:prstGeom>
        </p:spPr>
        <p:txBody>
          <a:bodyPr vert="horz" lIns="91440" tIns="45720" rIns="91440" bIns="45720" rtlCol="0"/>
          <a:lstStyle>
            <a:lvl1pPr algn="r">
              <a:defRPr sz="1200">
                <a:latin typeface="M PLUS 1p Medium" panose="020B0602020203020207" pitchFamily="50" charset="-128"/>
                <a:ea typeface="M PLUS 1p Medium" panose="020B0602020203020207" pitchFamily="50" charset="-128"/>
              </a:defRPr>
            </a:lvl1pPr>
          </a:lstStyle>
          <a:p>
            <a:fld id="{04419EE5-1328-4440-A217-93AC94ED44B2}" type="datetimeFigureOut">
              <a:rPr lang="ja-JP" altLang="en-US" smtClean="0"/>
              <a:pPr/>
              <a:t>2024/3/22</a:t>
            </a:fld>
            <a:endParaRPr lang="ja-JP" altLang="en-US" dirty="0"/>
          </a:p>
        </p:txBody>
      </p:sp>
      <p:sp>
        <p:nvSpPr>
          <p:cNvPr id="4" name="スライド イメージ プレースホルダー 3"/>
          <p:cNvSpPr>
            <a:spLocks noGrp="1" noRot="1" noChangeAspect="1"/>
          </p:cNvSpPr>
          <p:nvPr>
            <p:ph type="sldImg" idx="2"/>
          </p:nvPr>
        </p:nvSpPr>
        <p:spPr>
          <a:xfrm>
            <a:off x="422275" y="1243013"/>
            <a:ext cx="5962650" cy="3354387"/>
          </a:xfrm>
          <a:prstGeom prst="rect">
            <a:avLst/>
          </a:prstGeom>
          <a:noFill/>
          <a:ln w="12700">
            <a:solidFill>
              <a:prstClr val="black"/>
            </a:solidFill>
          </a:ln>
        </p:spPr>
        <p:txBody>
          <a:bodyPr vert="horz" lIns="91440" tIns="45720" rIns="91440" bIns="45720" rtlCol="0" anchor="ctr"/>
          <a:lstStyle/>
          <a:p>
            <a:endParaRPr lang="ja-JP" altLang="en-US" dirty="0"/>
          </a:p>
        </p:txBody>
      </p:sp>
      <p:sp>
        <p:nvSpPr>
          <p:cNvPr id="5" name="ノート プレースホルダー 4"/>
          <p:cNvSpPr>
            <a:spLocks noGrp="1"/>
          </p:cNvSpPr>
          <p:nvPr>
            <p:ph type="body" sz="quarter" idx="3"/>
          </p:nvPr>
        </p:nvSpPr>
        <p:spPr>
          <a:xfrm>
            <a:off x="680720" y="4783307"/>
            <a:ext cx="5445760" cy="3913614"/>
          </a:xfrm>
          <a:prstGeom prst="rect">
            <a:avLst/>
          </a:prstGeom>
        </p:spPr>
        <p:txBody>
          <a:bodyPr vert="horz" lIns="91440" tIns="45720" rIns="91440" bIns="45720" rtlCol="0"/>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6" name="フッター プレースホルダー 5"/>
          <p:cNvSpPr>
            <a:spLocks noGrp="1"/>
          </p:cNvSpPr>
          <p:nvPr>
            <p:ph type="ftr" sz="quarter" idx="4"/>
          </p:nvPr>
        </p:nvSpPr>
        <p:spPr>
          <a:xfrm>
            <a:off x="0" y="9440647"/>
            <a:ext cx="2949787" cy="498692"/>
          </a:xfrm>
          <a:prstGeom prst="rect">
            <a:avLst/>
          </a:prstGeom>
        </p:spPr>
        <p:txBody>
          <a:bodyPr vert="horz" lIns="91440" tIns="45720" rIns="91440" bIns="45720" rtlCol="0" anchor="b"/>
          <a:lstStyle>
            <a:lvl1pPr algn="l">
              <a:defRPr sz="1200">
                <a:latin typeface="M PLUS 1p Medium" panose="020B0602020203020207" pitchFamily="50" charset="-128"/>
                <a:ea typeface="M PLUS 1p Medium" panose="020B0602020203020207" pitchFamily="50" charset="-128"/>
              </a:defRPr>
            </a:lvl1pPr>
          </a:lstStyle>
          <a:p>
            <a:endParaRPr lang="ja-JP" altLang="en-US" dirty="0"/>
          </a:p>
        </p:txBody>
      </p:sp>
      <p:sp>
        <p:nvSpPr>
          <p:cNvPr id="7" name="スライド番号プレースホルダー 6"/>
          <p:cNvSpPr>
            <a:spLocks noGrp="1"/>
          </p:cNvSpPr>
          <p:nvPr>
            <p:ph type="sldNum" sz="quarter" idx="5"/>
          </p:nvPr>
        </p:nvSpPr>
        <p:spPr>
          <a:xfrm>
            <a:off x="3855838" y="9440647"/>
            <a:ext cx="2949787" cy="498692"/>
          </a:xfrm>
          <a:prstGeom prst="rect">
            <a:avLst/>
          </a:prstGeom>
        </p:spPr>
        <p:txBody>
          <a:bodyPr vert="horz" lIns="91440" tIns="45720" rIns="91440" bIns="45720" rtlCol="0" anchor="b"/>
          <a:lstStyle>
            <a:lvl1pPr algn="r">
              <a:defRPr sz="1200">
                <a:latin typeface="M PLUS 1p Medium" panose="020B0602020203020207" pitchFamily="50" charset="-128"/>
                <a:ea typeface="M PLUS 1p Medium" panose="020B0602020203020207" pitchFamily="50" charset="-128"/>
              </a:defRPr>
            </a:lvl1pPr>
          </a:lstStyle>
          <a:p>
            <a:fld id="{3A471941-587A-490A-86DD-E133D7522E9D}" type="slidenum">
              <a:rPr lang="ja-JP" altLang="en-US" smtClean="0"/>
              <a:pPr/>
              <a:t>‹#›</a:t>
            </a:fld>
            <a:endParaRPr lang="ja-JP" altLang="en-US" dirty="0"/>
          </a:p>
        </p:txBody>
      </p:sp>
    </p:spTree>
    <p:extLst>
      <p:ext uri="{BB962C8B-B14F-4D97-AF65-F5344CB8AC3E}">
        <p14:creationId xmlns:p14="http://schemas.microsoft.com/office/powerpoint/2010/main" val="4041699025"/>
      </p:ext>
    </p:extLst>
  </p:cSld>
  <p:clrMap bg1="lt1" tx1="dk1" bg2="lt2" tx2="dk2" accent1="accent1" accent2="accent2" accent3="accent3" accent4="accent4" accent5="accent5" accent6="accent6" hlink="hlink" folHlink="folHlink"/>
  <p:notesStyle>
    <a:lvl1pPr marL="0" algn="l" defTabSz="914400" rtl="0" eaLnBrk="1" latinLnBrk="0" hangingPunct="1">
      <a:defRPr kumimoji="1" sz="1200" kern="1200">
        <a:solidFill>
          <a:schemeClr val="tx1"/>
        </a:solidFill>
        <a:latin typeface="M PLUS 1p Medium" panose="020B0602020203020207" pitchFamily="50" charset="-128"/>
        <a:ea typeface="M PLUS 1p Medium" panose="020B0602020203020207" pitchFamily="50" charset="-128"/>
        <a:cs typeface="+mn-cs"/>
      </a:defRPr>
    </a:lvl1pPr>
    <a:lvl2pPr marL="457200" algn="l" defTabSz="914400" rtl="0" eaLnBrk="1" latinLnBrk="0" hangingPunct="1">
      <a:defRPr kumimoji="1" sz="1200" kern="1200">
        <a:solidFill>
          <a:schemeClr val="tx1"/>
        </a:solidFill>
        <a:latin typeface="M PLUS 1p Medium" panose="020B0602020203020207" pitchFamily="50" charset="-128"/>
        <a:ea typeface="M PLUS 1p Medium" panose="020B0602020203020207" pitchFamily="50" charset="-128"/>
        <a:cs typeface="+mn-cs"/>
      </a:defRPr>
    </a:lvl2pPr>
    <a:lvl3pPr marL="914400" algn="l" defTabSz="914400" rtl="0" eaLnBrk="1" latinLnBrk="0" hangingPunct="1">
      <a:defRPr kumimoji="1" sz="1200" kern="1200">
        <a:solidFill>
          <a:schemeClr val="tx1"/>
        </a:solidFill>
        <a:latin typeface="M PLUS 1p Medium" panose="020B0602020203020207" pitchFamily="50" charset="-128"/>
        <a:ea typeface="M PLUS 1p Medium" panose="020B0602020203020207" pitchFamily="50" charset="-128"/>
        <a:cs typeface="+mn-cs"/>
      </a:defRPr>
    </a:lvl3pPr>
    <a:lvl4pPr marL="1371600" algn="l" defTabSz="914400" rtl="0" eaLnBrk="1" latinLnBrk="0" hangingPunct="1">
      <a:defRPr kumimoji="1" sz="1200" kern="1200">
        <a:solidFill>
          <a:schemeClr val="tx1"/>
        </a:solidFill>
        <a:latin typeface="M PLUS 1p Medium" panose="020B0602020203020207" pitchFamily="50" charset="-128"/>
        <a:ea typeface="M PLUS 1p Medium" panose="020B0602020203020207" pitchFamily="50" charset="-128"/>
        <a:cs typeface="+mn-cs"/>
      </a:defRPr>
    </a:lvl4pPr>
    <a:lvl5pPr marL="1828800" algn="l" defTabSz="914400" rtl="0" eaLnBrk="1" latinLnBrk="0" hangingPunct="1">
      <a:defRPr kumimoji="1" sz="1200" kern="1200">
        <a:solidFill>
          <a:schemeClr val="tx1"/>
        </a:solidFill>
        <a:latin typeface="M PLUS 1p Medium" panose="020B0602020203020207" pitchFamily="50" charset="-128"/>
        <a:ea typeface="M PLUS 1p Medium" panose="020B0602020203020207" pitchFamily="50" charset="-128"/>
        <a:cs typeface="+mn-cs"/>
      </a:defRPr>
    </a:lvl5pPr>
    <a:lvl6pPr marL="2286000" algn="l" defTabSz="914400" rtl="0" eaLnBrk="1" latinLnBrk="0" hangingPunct="1">
      <a:defRPr kumimoji="1" sz="1200" kern="1200">
        <a:solidFill>
          <a:schemeClr val="tx1"/>
        </a:solidFill>
        <a:latin typeface="+mn-lt"/>
        <a:ea typeface="+mn-ea"/>
        <a:cs typeface="+mn-cs"/>
      </a:defRPr>
    </a:lvl6pPr>
    <a:lvl7pPr marL="2743200" algn="l" defTabSz="914400" rtl="0" eaLnBrk="1" latinLnBrk="0" hangingPunct="1">
      <a:defRPr kumimoji="1" sz="1200" kern="1200">
        <a:solidFill>
          <a:schemeClr val="tx1"/>
        </a:solidFill>
        <a:latin typeface="+mn-lt"/>
        <a:ea typeface="+mn-ea"/>
        <a:cs typeface="+mn-cs"/>
      </a:defRPr>
    </a:lvl7pPr>
    <a:lvl8pPr marL="3200400" algn="l" defTabSz="914400" rtl="0" eaLnBrk="1" latinLnBrk="0" hangingPunct="1">
      <a:defRPr kumimoji="1" sz="1200" kern="1200">
        <a:solidFill>
          <a:schemeClr val="tx1"/>
        </a:solidFill>
        <a:latin typeface="+mn-lt"/>
        <a:ea typeface="+mn-ea"/>
        <a:cs typeface="+mn-cs"/>
      </a:defRPr>
    </a:lvl8pPr>
    <a:lvl9pPr marL="3657600" algn="l" defTabSz="914400" rtl="0" eaLnBrk="1" latinLnBrk="0" hangingPunct="1">
      <a:defRPr kumimoji="1"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55.xml.rels><?xml version="1.0" encoding="UTF-8" standalone="yes"?>
<Relationships xmlns="http://schemas.openxmlformats.org/package/2006/relationships"><Relationship Id="rId2" Type="http://schemas.openxmlformats.org/officeDocument/2006/relationships/slide" Target="../slides/slide55.xml"/><Relationship Id="rId1" Type="http://schemas.openxmlformats.org/officeDocument/2006/relationships/notesMaster" Target="../notesMasters/notesMaster1.xml"/></Relationships>
</file>

<file path=ppt/notesSlides/_rels/notesSlide56.xml.rels><?xml version="1.0" encoding="UTF-8" standalone="yes"?>
<Relationships xmlns="http://schemas.openxmlformats.org/package/2006/relationships"><Relationship Id="rId2" Type="http://schemas.openxmlformats.org/officeDocument/2006/relationships/slide" Target="../slides/slide56.xml"/><Relationship Id="rId1" Type="http://schemas.openxmlformats.org/officeDocument/2006/relationships/notesMaster" Target="../notesMasters/notesMaster1.xml"/></Relationships>
</file>

<file path=ppt/notesSlides/_rels/notesSlide57.xml.rels><?xml version="1.0" encoding="UTF-8" standalone="yes"?>
<Relationships xmlns="http://schemas.openxmlformats.org/package/2006/relationships"><Relationship Id="rId2" Type="http://schemas.openxmlformats.org/officeDocument/2006/relationships/slide" Target="../slides/slide57.xml"/><Relationship Id="rId1" Type="http://schemas.openxmlformats.org/officeDocument/2006/relationships/notesMaster" Target="../notesMasters/notesMaster1.xml"/></Relationships>
</file>

<file path=ppt/notesSlides/_rels/notesSlide58.xml.rels><?xml version="1.0" encoding="UTF-8" standalone="yes"?>
<Relationships xmlns="http://schemas.openxmlformats.org/package/2006/relationships"><Relationship Id="rId2" Type="http://schemas.openxmlformats.org/officeDocument/2006/relationships/slide" Target="../slides/slide58.xml"/><Relationship Id="rId1" Type="http://schemas.openxmlformats.org/officeDocument/2006/relationships/notesMaster" Target="../notesMasters/notesMaster1.xml"/></Relationships>
</file>

<file path=ppt/notesSlides/_rels/notesSlide59.xml.rels><?xml version="1.0" encoding="UTF-8" standalone="yes"?>
<Relationships xmlns="http://schemas.openxmlformats.org/package/2006/relationships"><Relationship Id="rId2" Type="http://schemas.openxmlformats.org/officeDocument/2006/relationships/slide" Target="../slides/slide5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0.xml.rels><?xml version="1.0" encoding="UTF-8" standalone="yes"?>
<Relationships xmlns="http://schemas.openxmlformats.org/package/2006/relationships"><Relationship Id="rId2" Type="http://schemas.openxmlformats.org/officeDocument/2006/relationships/slide" Target="../slides/slide60.xml"/><Relationship Id="rId1" Type="http://schemas.openxmlformats.org/officeDocument/2006/relationships/notesMaster" Target="../notesMasters/notesMaster1.xml"/></Relationships>
</file>

<file path=ppt/notesSlides/_rels/notesSlide61.xml.rels><?xml version="1.0" encoding="UTF-8" standalone="yes"?>
<Relationships xmlns="http://schemas.openxmlformats.org/package/2006/relationships"><Relationship Id="rId2" Type="http://schemas.openxmlformats.org/officeDocument/2006/relationships/slide" Target="../slides/slide61.xml"/><Relationship Id="rId1" Type="http://schemas.openxmlformats.org/officeDocument/2006/relationships/notesMaster" Target="../notesMasters/notesMaster1.xml"/></Relationships>
</file>

<file path=ppt/notesSlides/_rels/notesSlide62.xml.rels><?xml version="1.0" encoding="UTF-8" standalone="yes"?>
<Relationships xmlns="http://schemas.openxmlformats.org/package/2006/relationships"><Relationship Id="rId2" Type="http://schemas.openxmlformats.org/officeDocument/2006/relationships/slide" Target="../slides/slide62.xml"/><Relationship Id="rId1" Type="http://schemas.openxmlformats.org/officeDocument/2006/relationships/notesMaster" Target="../notesMasters/notesMaster1.xml"/></Relationships>
</file>

<file path=ppt/notesSlides/_rels/notesSlide63.xml.rels><?xml version="1.0" encoding="UTF-8" standalone="yes"?>
<Relationships xmlns="http://schemas.openxmlformats.org/package/2006/relationships"><Relationship Id="rId2" Type="http://schemas.openxmlformats.org/officeDocument/2006/relationships/slide" Target="../slides/slide63.xml"/><Relationship Id="rId1" Type="http://schemas.openxmlformats.org/officeDocument/2006/relationships/notesMaster" Target="../notesMasters/notesMaster1.xml"/></Relationships>
</file>

<file path=ppt/notesSlides/_rels/notesSlide64.xml.rels><?xml version="1.0" encoding="UTF-8" standalone="yes"?>
<Relationships xmlns="http://schemas.openxmlformats.org/package/2006/relationships"><Relationship Id="rId2" Type="http://schemas.openxmlformats.org/officeDocument/2006/relationships/slide" Target="../slides/slide64.xml"/><Relationship Id="rId1" Type="http://schemas.openxmlformats.org/officeDocument/2006/relationships/notesMaster" Target="../notesMasters/notesMaster1.xml"/></Relationships>
</file>

<file path=ppt/notesSlides/_rels/notesSlide65.xml.rels><?xml version="1.0" encoding="UTF-8" standalone="yes"?>
<Relationships xmlns="http://schemas.openxmlformats.org/package/2006/relationships"><Relationship Id="rId2" Type="http://schemas.openxmlformats.org/officeDocument/2006/relationships/slide" Target="../slides/slide65.xml"/><Relationship Id="rId1" Type="http://schemas.openxmlformats.org/officeDocument/2006/relationships/notesMaster" Target="../notesMasters/notesMaster1.xml"/></Relationships>
</file>

<file path=ppt/notesSlides/_rels/notesSlide66.xml.rels><?xml version="1.0" encoding="UTF-8" standalone="yes"?>
<Relationships xmlns="http://schemas.openxmlformats.org/package/2006/relationships"><Relationship Id="rId2" Type="http://schemas.openxmlformats.org/officeDocument/2006/relationships/slide" Target="../slides/slide66.xml"/><Relationship Id="rId1" Type="http://schemas.openxmlformats.org/officeDocument/2006/relationships/notesMaster" Target="../notesMasters/notesMaster1.xml"/></Relationships>
</file>

<file path=ppt/notesSlides/_rels/notesSlide67.xml.rels><?xml version="1.0" encoding="UTF-8" standalone="yes"?>
<Relationships xmlns="http://schemas.openxmlformats.org/package/2006/relationships"><Relationship Id="rId2" Type="http://schemas.openxmlformats.org/officeDocument/2006/relationships/slide" Target="../slides/slide67.xml"/><Relationship Id="rId1" Type="http://schemas.openxmlformats.org/officeDocument/2006/relationships/notesMaster" Target="../notesMasters/notesMaster1.xml"/></Relationships>
</file>

<file path=ppt/notesSlides/_rels/notesSlide68.xml.rels><?xml version="1.0" encoding="UTF-8" standalone="yes"?>
<Relationships xmlns="http://schemas.openxmlformats.org/package/2006/relationships"><Relationship Id="rId2" Type="http://schemas.openxmlformats.org/officeDocument/2006/relationships/slide" Target="../slides/slide68.xml"/><Relationship Id="rId1" Type="http://schemas.openxmlformats.org/officeDocument/2006/relationships/notesMaster" Target="../notesMasters/notesMaster1.xml"/></Relationships>
</file>

<file path=ppt/notesSlides/_rels/notesSlide69.xml.rels><?xml version="1.0" encoding="UTF-8" standalone="yes"?>
<Relationships xmlns="http://schemas.openxmlformats.org/package/2006/relationships"><Relationship Id="rId2" Type="http://schemas.openxmlformats.org/officeDocument/2006/relationships/slide" Target="../slides/slide6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0.xml.rels><?xml version="1.0" encoding="UTF-8" standalone="yes"?>
<Relationships xmlns="http://schemas.openxmlformats.org/package/2006/relationships"><Relationship Id="rId2" Type="http://schemas.openxmlformats.org/officeDocument/2006/relationships/slide" Target="../slides/slide70.xml"/><Relationship Id="rId1" Type="http://schemas.openxmlformats.org/officeDocument/2006/relationships/notesMaster" Target="../notesMasters/notesMaster1.xml"/></Relationships>
</file>

<file path=ppt/notesSlides/_rels/notesSlide71.xml.rels><?xml version="1.0" encoding="UTF-8" standalone="yes"?>
<Relationships xmlns="http://schemas.openxmlformats.org/package/2006/relationships"><Relationship Id="rId2" Type="http://schemas.openxmlformats.org/officeDocument/2006/relationships/slide" Target="../slides/slide71.xml"/><Relationship Id="rId1" Type="http://schemas.openxmlformats.org/officeDocument/2006/relationships/notesMaster" Target="../notesMasters/notesMaster1.xml"/></Relationships>
</file>

<file path=ppt/notesSlides/_rels/notesSlide72.xml.rels><?xml version="1.0" encoding="UTF-8" standalone="yes"?>
<Relationships xmlns="http://schemas.openxmlformats.org/package/2006/relationships"><Relationship Id="rId2" Type="http://schemas.openxmlformats.org/officeDocument/2006/relationships/slide" Target="../slides/slide72.xml"/><Relationship Id="rId1" Type="http://schemas.openxmlformats.org/officeDocument/2006/relationships/notesMaster" Target="../notesMasters/notesMaster1.xml"/></Relationships>
</file>

<file path=ppt/notesSlides/_rels/notesSlide73.xml.rels><?xml version="1.0" encoding="UTF-8" standalone="yes"?>
<Relationships xmlns="http://schemas.openxmlformats.org/package/2006/relationships"><Relationship Id="rId2" Type="http://schemas.openxmlformats.org/officeDocument/2006/relationships/slide" Target="../slides/slide73.xml"/><Relationship Id="rId1" Type="http://schemas.openxmlformats.org/officeDocument/2006/relationships/notesMaster" Target="../notesMasters/notesMaster1.xml"/></Relationships>
</file>

<file path=ppt/notesSlides/_rels/notesSlide74.xml.rels><?xml version="1.0" encoding="UTF-8" standalone="yes"?>
<Relationships xmlns="http://schemas.openxmlformats.org/package/2006/relationships"><Relationship Id="rId2" Type="http://schemas.openxmlformats.org/officeDocument/2006/relationships/slide" Target="../slides/slide75.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最近、「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が世界から注目を集めて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皆さん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ついて知っていることはありますか？また、使ってみたことはありますか？</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ぜひ、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基本的な使い方や、活用にあたって注意すべきポイントを学習し、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使いこなせるようになりましょう。</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kumimoji="1" lang="ja-JP" altLang="en-US" smtClean="0"/>
              <a:t>1</a:t>
            </a:fld>
            <a:endParaRPr kumimoji="1" lang="ja-JP" altLang="en-US"/>
          </a:p>
        </p:txBody>
      </p:sp>
    </p:spTree>
    <p:extLst>
      <p:ext uri="{BB962C8B-B14F-4D97-AF65-F5344CB8AC3E}">
        <p14:creationId xmlns:p14="http://schemas.microsoft.com/office/powerpoint/2010/main" val="3442233158"/>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世界で急速に普及して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主要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の</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である</a:t>
            </a:r>
            <a:r>
              <a:rPr kumimoji="1" lang="en-US" altLang="ja-JP" dirty="0">
                <a:latin typeface="Meiryo UI" panose="020B0604030504040204" pitchFamily="50" charset="-128"/>
                <a:ea typeface="Meiryo UI" panose="020B0604030504040204" pitchFamily="50" charset="-128"/>
              </a:rPr>
              <a:t>OpenAI</a:t>
            </a:r>
            <a:r>
              <a:rPr kumimoji="1" lang="ja-JP" altLang="en-US" dirty="0">
                <a:latin typeface="Meiryo UI" panose="020B0604030504040204" pitchFamily="50" charset="-128"/>
                <a:ea typeface="Meiryo UI" panose="020B0604030504040204" pitchFamily="50" charset="-128"/>
              </a:rPr>
              <a:t>社の</a:t>
            </a:r>
            <a:r>
              <a:rPr kumimoji="1" lang="en-US" altLang="ja-JP" dirty="0">
                <a:latin typeface="Meiryo UI" panose="020B0604030504040204" pitchFamily="50" charset="-128"/>
                <a:ea typeface="Meiryo UI" panose="020B0604030504040204" pitchFamily="50" charset="-128"/>
              </a:rPr>
              <a:t>ChatGPT</a:t>
            </a:r>
            <a:r>
              <a:rPr kumimoji="1" lang="ja-JP" altLang="en-US" dirty="0">
                <a:latin typeface="Meiryo UI" panose="020B0604030504040204" pitchFamily="50" charset="-128"/>
                <a:ea typeface="Meiryo UI" panose="020B0604030504040204" pitchFamily="50" charset="-128"/>
              </a:rPr>
              <a:t>は、</a:t>
            </a: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ヶ月で</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億ユーザーまで拡大しました。</a:t>
            </a:r>
          </a:p>
          <a:p>
            <a:pPr>
              <a:lnSpc>
                <a:spcPct val="150000"/>
              </a:lnSpc>
            </a:pPr>
            <a:r>
              <a:rPr kumimoji="1" lang="ja-JP" altLang="en-US" dirty="0">
                <a:latin typeface="Meiryo UI" panose="020B0604030504040204" pitchFamily="50" charset="-128"/>
                <a:ea typeface="Meiryo UI" panose="020B0604030504040204" pitchFamily="50" charset="-128"/>
              </a:rPr>
              <a:t>主要</a:t>
            </a:r>
            <a:r>
              <a:rPr kumimoji="1" lang="en-US" altLang="ja-JP" dirty="0" err="1">
                <a:latin typeface="Meiryo UI" panose="020B0604030504040204" pitchFamily="50" charset="-128"/>
                <a:ea typeface="Meiryo UI" panose="020B0604030504040204" pitchFamily="50" charset="-128"/>
              </a:rPr>
              <a:t>SNS</a:t>
            </a:r>
            <a:r>
              <a:rPr kumimoji="1" lang="ja-JP" altLang="en-US" dirty="0">
                <a:latin typeface="Meiryo UI" panose="020B0604030504040204" pitchFamily="50" charset="-128"/>
                <a:ea typeface="Meiryo UI" panose="020B0604030504040204" pitchFamily="50" charset="-128"/>
              </a:rPr>
              <a:t>と比べても達成スピードは早く、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世界から高く注目されてい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0</a:t>
            </a:fld>
            <a:endParaRPr lang="ja-JP" altLang="en-US" dirty="0"/>
          </a:p>
        </p:txBody>
      </p:sp>
    </p:spTree>
    <p:extLst>
      <p:ext uri="{BB962C8B-B14F-4D97-AF65-F5344CB8AC3E}">
        <p14:creationId xmlns:p14="http://schemas.microsoft.com/office/powerpoint/2010/main" val="2882122992"/>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より、私たちの日常生活、学習、仕事には大きな影響が予想され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日常生活で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が行政や企業のサービスに導入されると、日々受けられるサービスの質が向上すると考えられ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学習で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が</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人</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人に合わせたアドバイスを提供することで、学習の効率や効果が向上することが期待され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仕事で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が事務作業やアイデア出しを支援することで、仕事の効率が大幅に向上することが見込まれま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11</a:t>
            </a:fld>
            <a:endParaRPr lang="ja-JP" altLang="en-US" dirty="0"/>
          </a:p>
        </p:txBody>
      </p:sp>
    </p:spTree>
    <p:extLst>
      <p:ext uri="{BB962C8B-B14F-4D97-AF65-F5344CB8AC3E}">
        <p14:creationId xmlns:p14="http://schemas.microsoft.com/office/powerpoint/2010/main" val="3282437648"/>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では次に、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使い方について学習し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2</a:t>
            </a:fld>
            <a:endParaRPr lang="ja-JP" altLang="en-US" dirty="0"/>
          </a:p>
        </p:txBody>
      </p:sp>
    </p:spTree>
    <p:extLst>
      <p:ext uri="{BB962C8B-B14F-4D97-AF65-F5344CB8AC3E}">
        <p14:creationId xmlns:p14="http://schemas.microsoft.com/office/powerpoint/2010/main" val="1740025912"/>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皆さんが日常生活、学習、仕事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使う場合、幅広い場面で活用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文章の作成</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要約や情報検索、写真・イラスト等の作成、音声・音楽の作成等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次のページから、それぞれの使い方の例を説明していますので、具体的なイメージをつかんでみてください。</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13</a:t>
            </a:fld>
            <a:endParaRPr lang="ja-JP" altLang="en-US" dirty="0"/>
          </a:p>
        </p:txBody>
      </p:sp>
    </p:spTree>
    <p:extLst>
      <p:ext uri="{BB962C8B-B14F-4D97-AF65-F5344CB8AC3E}">
        <p14:creationId xmlns:p14="http://schemas.microsoft.com/office/powerpoint/2010/main" val="4387897"/>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テキストを入力すると、記事等の要約や知りたいポイントを抽出する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童話「赤ずきん」を箇条書き</a:t>
            </a:r>
            <a:r>
              <a:rPr kumimoji="1" lang="en-US" altLang="ja-JP" dirty="0">
                <a:latin typeface="Meiryo UI" panose="020B0604030504040204" pitchFamily="50" charset="-128"/>
                <a:ea typeface="Meiryo UI" panose="020B0604030504040204" pitchFamily="50" charset="-128"/>
              </a:rPr>
              <a:t>5</a:t>
            </a:r>
            <a:r>
              <a:rPr kumimoji="1" lang="ja-JP" altLang="en-US" dirty="0">
                <a:latin typeface="Meiryo UI" panose="020B0604030504040204" pitchFamily="50" charset="-128"/>
                <a:ea typeface="Meiryo UI" panose="020B0604030504040204" pitchFamily="50" charset="-128"/>
              </a:rPr>
              <a:t>つ程度で要約するよう</a:t>
            </a:r>
            <a:r>
              <a:rPr kumimoji="1" lang="en-US" altLang="ja-JP" dirty="0">
                <a:latin typeface="Meiryo UI" panose="020B0604030504040204" pitchFamily="50" charset="-128"/>
                <a:ea typeface="Meiryo UI" panose="020B0604030504040204" pitchFamily="50" charset="-128"/>
              </a:rPr>
              <a:t>ChatGPT</a:t>
            </a:r>
            <a:r>
              <a:rPr kumimoji="1" lang="ja-JP" altLang="en-US" dirty="0">
                <a:latin typeface="Meiryo UI" panose="020B0604030504040204" pitchFamily="50" charset="-128"/>
                <a:ea typeface="Meiryo UI" panose="020B0604030504040204" pitchFamily="50" charset="-128"/>
              </a:rPr>
              <a:t>に指示すると、指示通りに要約が出力され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他にも、メール・レポート・議事録・スピーチといった、クリエイティブな文章を生成する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4</a:t>
            </a:fld>
            <a:endParaRPr lang="ja-JP" altLang="en-US" dirty="0"/>
          </a:p>
        </p:txBody>
      </p:sp>
    </p:spTree>
    <p:extLst>
      <p:ext uri="{BB962C8B-B14F-4D97-AF65-F5344CB8AC3E}">
        <p14:creationId xmlns:p14="http://schemas.microsoft.com/office/powerpoint/2010/main" val="1751209996"/>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検索条件を指示すると、整理された検索結果を取得する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東京から日帰りで行ける県外の観光地を</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理由とともに教えてくださいと指示すると、観光地と観光スポット、おすすめの理由を整理された形で取得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これにより、従来のインターネット検索のように、個別のウェブサイトを</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見る手間を省くことができるようになり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5</a:t>
            </a:fld>
            <a:endParaRPr lang="ja-JP" altLang="en-US" dirty="0"/>
          </a:p>
        </p:txBody>
      </p:sp>
    </p:spTree>
    <p:extLst>
      <p:ext uri="{BB962C8B-B14F-4D97-AF65-F5344CB8AC3E}">
        <p14:creationId xmlns:p14="http://schemas.microsoft.com/office/powerpoint/2010/main" val="286971335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spcAft>
                <a:spcPts val="0"/>
              </a:spcAft>
              <a:buFont typeface="Trebuchet MS" panose="020B0603020202020204" pitchFamily="34" charset="0"/>
              <a:buChar char="​"/>
            </a:pP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生成</a:t>
            </a:r>
            <a:r>
              <a:rPr kumimoji="1" lang="en-US" altLang="ja-JP"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にテキストを入力し、自然な文章で翻訳することもできます。</a:t>
            </a: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spcAft>
                <a:spcPts val="0"/>
              </a:spcAft>
              <a:buFont typeface="Trebuchet MS" panose="020B0603020202020204" pitchFamily="34" charset="0"/>
              <a:buChar char="​"/>
            </a:pP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こちらの例では、英文から自然な日本語に翻訳されています。</a:t>
            </a: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spcAft>
                <a:spcPts val="0"/>
              </a:spcAft>
              <a:buFont typeface="Trebuchet MS" panose="020B0603020202020204" pitchFamily="34" charset="0"/>
              <a:buChar char="​"/>
            </a:pP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spcAft>
                <a:spcPts val="0"/>
              </a:spcAft>
              <a:buFont typeface="Trebuchet MS" panose="020B0603020202020204" pitchFamily="34" charset="0"/>
              <a:buChar char="​"/>
            </a:pP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また、チャット機能を用いて、外国語の対話練習に使うこともでき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6</a:t>
            </a:fld>
            <a:endParaRPr lang="ja-JP" altLang="en-US" dirty="0"/>
          </a:p>
        </p:txBody>
      </p:sp>
    </p:spTree>
    <p:extLst>
      <p:ext uri="{BB962C8B-B14F-4D97-AF65-F5344CB8AC3E}">
        <p14:creationId xmlns:p14="http://schemas.microsoft.com/office/powerpoint/2010/main" val="201483789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質問の背景を考慮して回答を生成するため、対話形式で追加の質問をすることができます。アイデア出しや議論の壁打ちに有効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部活の新入部員を増やす方法を聞いた後に、初心者向けの体験会の工夫を聞くといった使い方ができます。</a:t>
            </a: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7</a:t>
            </a:fld>
            <a:endParaRPr lang="ja-JP" altLang="en-US" dirty="0"/>
          </a:p>
        </p:txBody>
      </p:sp>
    </p:spTree>
    <p:extLst>
      <p:ext uri="{BB962C8B-B14F-4D97-AF65-F5344CB8AC3E}">
        <p14:creationId xmlns:p14="http://schemas.microsoft.com/office/powerpoint/2010/main" val="2849941295"/>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次に、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の入門的な使い方について学習し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8</a:t>
            </a:fld>
            <a:endParaRPr lang="ja-JP" altLang="en-US" dirty="0"/>
          </a:p>
        </p:txBody>
      </p:sp>
    </p:spTree>
    <p:extLst>
      <p:ext uri="{BB962C8B-B14F-4D97-AF65-F5344CB8AC3E}">
        <p14:creationId xmlns:p14="http://schemas.microsoft.com/office/powerpoint/2010/main" val="132603399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アウトプット形式は様々です。例えば、テキスト生成、画像・映像生成、音声生成などの形式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求めるアウトプットを得るため、目的に沿った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を選ぶことが重要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19</a:t>
            </a:fld>
            <a:endParaRPr lang="ja-JP" altLang="en-US" dirty="0"/>
          </a:p>
        </p:txBody>
      </p:sp>
    </p:spTree>
    <p:extLst>
      <p:ext uri="{BB962C8B-B14F-4D97-AF65-F5344CB8AC3E}">
        <p14:creationId xmlns:p14="http://schemas.microsoft.com/office/powerpoint/2010/main" val="110746398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今回の学習内容は、今後の生活の中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触れる可能性のある方全員を対象としています。</a:t>
            </a:r>
            <a:r>
              <a:rPr kumimoji="1" lang="en-US" altLang="ja-JP" dirty="0">
                <a:latin typeface="Meiryo UI" panose="020B0604030504040204" pitchFamily="50" charset="-128"/>
                <a:ea typeface="Meiryo UI" panose="020B0604030504040204" pitchFamily="50" charset="-128"/>
              </a:rPr>
              <a:t>IT</a:t>
            </a:r>
            <a:r>
              <a:rPr kumimoji="1" lang="ja-JP" altLang="en-US" dirty="0">
                <a:latin typeface="Meiryo UI" panose="020B0604030504040204" pitchFamily="50" charset="-128"/>
                <a:ea typeface="Meiryo UI" panose="020B0604030504040204" pitchFamily="50" charset="-128"/>
              </a:rPr>
              <a:t>関連の専門職の方のみを対象としたものではなく、皆さんに分かりやすい内容となって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今回の目的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自分で利活用できるリテラシーを身に付けることです。ぜひ今後の日常生活や学校・仕事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活用いただきたいと思います。</a:t>
            </a:r>
          </a:p>
        </p:txBody>
      </p:sp>
      <p:sp>
        <p:nvSpPr>
          <p:cNvPr id="4" name="スライド番号プレースホルダー 3"/>
          <p:cNvSpPr>
            <a:spLocks noGrp="1"/>
          </p:cNvSpPr>
          <p:nvPr>
            <p:ph type="sldNum" sz="quarter" idx="5"/>
          </p:nvPr>
        </p:nvSpPr>
        <p:spPr/>
        <p:txBody>
          <a:bodyPr/>
          <a:lstStyle/>
          <a:p>
            <a:fld id="{3A471941-587A-490A-86DD-E133D7522E9D}" type="slidenum">
              <a:rPr kumimoji="1" lang="ja-JP" altLang="en-US" smtClean="0"/>
              <a:t>2</a:t>
            </a:fld>
            <a:endParaRPr kumimoji="1" lang="ja-JP" altLang="en-US"/>
          </a:p>
        </p:txBody>
      </p:sp>
    </p:spTree>
    <p:extLst>
      <p:ext uri="{BB962C8B-B14F-4D97-AF65-F5344CB8AC3E}">
        <p14:creationId xmlns:p14="http://schemas.microsoft.com/office/powerpoint/2010/main" val="2379114166"/>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は、友人とチャットするときと同じような操作方法で使う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指示を入力して送信ボタンを押す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次ページ）</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0</a:t>
            </a:fld>
            <a:endParaRPr lang="ja-JP" altLang="en-US" dirty="0"/>
          </a:p>
        </p:txBody>
      </p:sp>
    </p:spTree>
    <p:extLst>
      <p:ext uri="{BB962C8B-B14F-4D97-AF65-F5344CB8AC3E}">
        <p14:creationId xmlns:p14="http://schemas.microsoft.com/office/powerpoint/2010/main" val="4071996109"/>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が指示に対応した回答をその場で生成し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回答に応じて追加の質問をすることで、欲しい情報を収集することができ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1</a:t>
            </a:fld>
            <a:endParaRPr lang="ja-JP" altLang="en-US" dirty="0"/>
          </a:p>
        </p:txBody>
      </p:sp>
    </p:spTree>
    <p:extLst>
      <p:ext uri="{BB962C8B-B14F-4D97-AF65-F5344CB8AC3E}">
        <p14:creationId xmlns:p14="http://schemas.microsoft.com/office/powerpoint/2010/main" val="391364569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buNone/>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から欲しい情報を得るために、指示入力にはいくつかのコツ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代表的な</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つのコツをご紹介し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①目的、詳細な設定、検討の材料を書く</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　　目的や背景を説明すると、意図に沿った回答を得やすくな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②欲しい回答の例を与える</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　　例をいくつか提示すると、類似の回答を得やすくな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③書式、回答方法を制限する</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　　回答の形式、字数、回答の個数などを具体的に指定することで、目的に沿った回答を得やすくな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④文章のテイストを指定する</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　　誰に対する回答かを想定して指示することで、文脈に沿った回答を得やすくな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なお、このような指示の工夫を、「プロンプトエンジニアリング」と呼びます。</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kumimoji="1" lang="ja-JP" altLang="en-US" smtClean="0"/>
              <a:t>22</a:t>
            </a:fld>
            <a:endParaRPr kumimoji="1" lang="ja-JP" altLang="en-US"/>
          </a:p>
        </p:txBody>
      </p:sp>
    </p:spTree>
    <p:extLst>
      <p:ext uri="{BB962C8B-B14F-4D97-AF65-F5344CB8AC3E}">
        <p14:creationId xmlns:p14="http://schemas.microsoft.com/office/powerpoint/2010/main" val="379937406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buNone/>
            </a:pPr>
            <a:r>
              <a:rPr kumimoji="1" lang="ja-JP" altLang="en-US" dirty="0">
                <a:latin typeface="Meiryo UI" panose="020B0604030504040204" pitchFamily="50" charset="-128"/>
                <a:ea typeface="Meiryo UI" panose="020B0604030504040204" pitchFamily="50" charset="-128"/>
              </a:rPr>
              <a:t>では、指示の目的や詳細な設定を入力しないと、どうなるでしょうか？</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例えば、「誕生日プレゼントをいくつか考えてください」とだけ指示すると、</a:t>
            </a:r>
            <a:r>
              <a:rPr lang="ja-JP" altLang="en-US" sz="1200" dirty="0">
                <a:latin typeface="Meiryo UI" panose="020B0604030504040204" pitchFamily="50" charset="-128"/>
                <a:ea typeface="Meiryo UI" panose="020B0604030504040204" pitchFamily="50" charset="-128"/>
              </a:rPr>
              <a:t>相手の年代や好み、プレゼントの予算を考慮していない一般的な回答が出力されてしまい、プレゼント選びの参考にならない可能性があります。</a:t>
            </a:r>
            <a:endParaRPr lang="en-US" altLang="ja-JP" sz="1200"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3</a:t>
            </a:fld>
            <a:endParaRPr lang="ja-JP" altLang="en-US" dirty="0"/>
          </a:p>
        </p:txBody>
      </p:sp>
    </p:spTree>
    <p:extLst>
      <p:ext uri="{BB962C8B-B14F-4D97-AF65-F5344CB8AC3E}">
        <p14:creationId xmlns:p14="http://schemas.microsoft.com/office/powerpoint/2010/main" val="1402251270"/>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一方で、相手の年代や好み、予算を入力することで、状況に合わせた回答を得やすくなり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4</a:t>
            </a:fld>
            <a:endParaRPr lang="ja-JP" altLang="en-US" dirty="0"/>
          </a:p>
        </p:txBody>
      </p:sp>
    </p:spTree>
    <p:extLst>
      <p:ext uri="{BB962C8B-B14F-4D97-AF65-F5344CB8AC3E}">
        <p14:creationId xmlns:p14="http://schemas.microsoft.com/office/powerpoint/2010/main" val="2094445225"/>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また、出力形式を指定しないと、情報が整理されないまま出力されてしまうこと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この例では、みかんの栄養成分が羅列されており、パッと見て分かりにくいですね。</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5</a:t>
            </a:fld>
            <a:endParaRPr lang="ja-JP" altLang="en-US" dirty="0"/>
          </a:p>
        </p:txBody>
      </p:sp>
    </p:spTree>
    <p:extLst>
      <p:ext uri="{BB962C8B-B14F-4D97-AF65-F5344CB8AC3E}">
        <p14:creationId xmlns:p14="http://schemas.microsoft.com/office/powerpoint/2010/main" val="4008739120"/>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一方で、表形式での出力や、不要な情報の削除を指示すると、情報が整理され、見やすくなりました。</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6</a:t>
            </a:fld>
            <a:endParaRPr lang="ja-JP" altLang="en-US" dirty="0"/>
          </a:p>
        </p:txBody>
      </p:sp>
    </p:spTree>
    <p:extLst>
      <p:ext uri="{BB962C8B-B14F-4D97-AF65-F5344CB8AC3E}">
        <p14:creationId xmlns:p14="http://schemas.microsoft.com/office/powerpoint/2010/main" val="2965224510"/>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では、ここまでの「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使い方」に関する理解を確認するため、問題を解いてみ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27</a:t>
            </a:fld>
            <a:endParaRPr lang="ja-JP" altLang="en-US" dirty="0"/>
          </a:p>
        </p:txBody>
      </p:sp>
    </p:spTree>
    <p:extLst>
      <p:ext uri="{BB962C8B-B14F-4D97-AF65-F5344CB8AC3E}">
        <p14:creationId xmlns:p14="http://schemas.microsoft.com/office/powerpoint/2010/main" val="146156448"/>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28</a:t>
            </a:fld>
            <a:endParaRPr lang="ja-JP" altLang="en-US" dirty="0"/>
          </a:p>
        </p:txBody>
      </p:sp>
    </p:spTree>
    <p:extLst>
      <p:ext uri="{BB962C8B-B14F-4D97-AF65-F5344CB8AC3E}">
        <p14:creationId xmlns:p14="http://schemas.microsoft.com/office/powerpoint/2010/main" val="2733283120"/>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29</a:t>
            </a:fld>
            <a:endParaRPr lang="ja-JP" altLang="en-US" dirty="0"/>
          </a:p>
        </p:txBody>
      </p:sp>
    </p:spTree>
    <p:extLst>
      <p:ext uri="{BB962C8B-B14F-4D97-AF65-F5344CB8AC3E}">
        <p14:creationId xmlns:p14="http://schemas.microsoft.com/office/powerpoint/2010/main" val="11787855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buNone/>
            </a:pPr>
            <a:r>
              <a:rPr kumimoji="1" lang="ja-JP" altLang="en-US" dirty="0">
                <a:latin typeface="Meiryo UI" panose="020B0604030504040204" pitchFamily="50" charset="-128"/>
                <a:ea typeface="Meiryo UI" panose="020B0604030504040204" pitchFamily="50" charset="-128"/>
              </a:rPr>
              <a:t>学習の流れは、大きく</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のパートに分かれています。</a:t>
            </a:r>
            <a:endParaRPr kumimoji="1" lang="en-US" altLang="ja-JP" dirty="0">
              <a:latin typeface="Meiryo UI" panose="020B0604030504040204" pitchFamily="50" charset="-128"/>
              <a:ea typeface="Meiryo UI" panose="020B0604030504040204" pitchFamily="50" charset="-128"/>
            </a:endParaRPr>
          </a:p>
          <a:p>
            <a:pPr>
              <a:lnSpc>
                <a:spcPct val="150000"/>
              </a:lnSpc>
              <a:buNone/>
            </a:pPr>
            <a:r>
              <a:rPr kumimoji="1" lang="ja-JP" altLang="en-US" dirty="0">
                <a:latin typeface="Meiryo UI" panose="020B0604030504040204" pitchFamily="50" charset="-128"/>
                <a:ea typeface="Meiryo UI" panose="020B0604030504040204" pitchFamily="50" charset="-128"/>
              </a:rPr>
              <a:t>まず、「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とは何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基礎知識を学習した上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どのように使うか</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で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入門的な使い方を学習します。</a:t>
            </a:r>
            <a:endParaRPr kumimoji="1" lang="en-US" altLang="ja-JP" dirty="0">
              <a:latin typeface="Meiryo UI" panose="020B0604030504040204" pitchFamily="50" charset="-128"/>
              <a:ea typeface="Meiryo UI" panose="020B0604030504040204" pitchFamily="50" charset="-128"/>
            </a:endParaRPr>
          </a:p>
          <a:p>
            <a:pPr>
              <a:lnSpc>
                <a:spcPct val="150000"/>
              </a:lnSpc>
              <a:buNone/>
            </a:pPr>
            <a:r>
              <a:rPr kumimoji="1" lang="ja-JP" altLang="en-US" dirty="0">
                <a:latin typeface="Meiryo UI" panose="020B0604030504040204" pitchFamily="50" charset="-128"/>
                <a:ea typeface="Meiryo UI" panose="020B0604030504040204" pitchFamily="50" charset="-128"/>
              </a:rPr>
              <a:t>その後、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使う上で注意すべき</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つのポイントを学習し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a:t>
            </a:fld>
            <a:endParaRPr lang="ja-JP" altLang="en-US" dirty="0"/>
          </a:p>
        </p:txBody>
      </p:sp>
    </p:spTree>
    <p:extLst>
      <p:ext uri="{BB962C8B-B14F-4D97-AF65-F5344CB8AC3E}">
        <p14:creationId xmlns:p14="http://schemas.microsoft.com/office/powerpoint/2010/main" val="3087350284"/>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30</a:t>
            </a:fld>
            <a:endParaRPr lang="ja-JP" altLang="en-US" dirty="0"/>
          </a:p>
        </p:txBody>
      </p:sp>
    </p:spTree>
    <p:extLst>
      <p:ext uri="{BB962C8B-B14F-4D97-AF65-F5344CB8AC3E}">
        <p14:creationId xmlns:p14="http://schemas.microsoft.com/office/powerpoint/2010/main" val="2748587419"/>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31</a:t>
            </a:fld>
            <a:endParaRPr lang="ja-JP" altLang="en-US" dirty="0"/>
          </a:p>
        </p:txBody>
      </p:sp>
    </p:spTree>
    <p:extLst>
      <p:ext uri="{BB962C8B-B14F-4D97-AF65-F5344CB8AC3E}">
        <p14:creationId xmlns:p14="http://schemas.microsoft.com/office/powerpoint/2010/main" val="505903657"/>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32</a:t>
            </a:fld>
            <a:endParaRPr lang="ja-JP" altLang="en-US" dirty="0"/>
          </a:p>
        </p:txBody>
      </p:sp>
    </p:spTree>
    <p:extLst>
      <p:ext uri="{BB962C8B-B14F-4D97-AF65-F5344CB8AC3E}">
        <p14:creationId xmlns:p14="http://schemas.microsoft.com/office/powerpoint/2010/main" val="2384639438"/>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ここから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使う上で注意すべき</a:t>
            </a:r>
            <a:r>
              <a:rPr kumimoji="1" lang="en-US" altLang="ja-JP" dirty="0">
                <a:latin typeface="Meiryo UI" panose="020B0604030504040204" pitchFamily="50" charset="-128"/>
                <a:ea typeface="Meiryo UI" panose="020B0604030504040204" pitchFamily="50" charset="-128"/>
              </a:rPr>
              <a:t>4</a:t>
            </a:r>
            <a:r>
              <a:rPr kumimoji="1" lang="ja-JP" altLang="en-US" dirty="0">
                <a:latin typeface="Meiryo UI" panose="020B0604030504040204" pitchFamily="50" charset="-128"/>
                <a:ea typeface="Meiryo UI" panose="020B0604030504040204" pitchFamily="50" charset="-128"/>
              </a:rPr>
              <a:t>つのポイントを学習し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ずは、情報の正確性に関すること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3</a:t>
            </a:fld>
            <a:endParaRPr lang="ja-JP" altLang="en-US" dirty="0"/>
          </a:p>
        </p:txBody>
      </p:sp>
    </p:spTree>
    <p:extLst>
      <p:ext uri="{BB962C8B-B14F-4D97-AF65-F5344CB8AC3E}">
        <p14:creationId xmlns:p14="http://schemas.microsoft.com/office/powerpoint/2010/main" val="3372376381"/>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普及により、偽情報・誤情報の増加が問題になっています。</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偽情報とは、意図的・意識的に作られたウソ、虚偽の情報です。</a:t>
            </a:r>
            <a:r>
              <a:rPr lang="ja-JP" altLang="en-US"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誤情報とは、勘違いや誤解により広まってしまった、間違い情報です。</a:t>
            </a:r>
            <a:endParaRPr lang="en-US" altLang="ja-JP" dirty="0">
              <a:solidFill>
                <a:schemeClr val="tx1"/>
              </a:solidFill>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より、</a:t>
            </a:r>
            <a:r>
              <a:rPr lang="ja-JP" altLang="en-US" dirty="0">
                <a:solidFill>
                  <a:schemeClr val="tx1"/>
                </a:solidFill>
                <a:latin typeface="Meiryo UI" panose="020B0604030504040204" pitchFamily="50" charset="-128"/>
                <a:ea typeface="Meiryo UI" panose="020B0604030504040204" pitchFamily="50" charset="-128"/>
                <a:sym typeface="Trebuchet MS" panose="020B0603020202020204" pitchFamily="34" charset="0"/>
              </a:rPr>
              <a:t>特殊な技術がなくても、もっともらしい偽画像・映像・音声・ニュース記事等を作成できるようになったこと、学習データが不正確であったり、偏っている場合があること、裏づけのない回答をする場合があること、正確なデータを学習したとしても出力される情報が正しくない可能性があることから、偽情報・誤情報の増加につながっています。</a:t>
            </a:r>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34</a:t>
            </a:fld>
            <a:endParaRPr lang="ja-JP" altLang="en-US" dirty="0"/>
          </a:p>
        </p:txBody>
      </p:sp>
    </p:spTree>
    <p:extLst>
      <p:ext uri="{BB962C8B-B14F-4D97-AF65-F5344CB8AC3E}">
        <p14:creationId xmlns:p14="http://schemas.microsoft.com/office/powerpoint/2010/main" val="2322397763"/>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偽情報や誤情報に騙され、自分が詐欺などの被害を受ける可能性があることはもちろんですが、意図せず拡散してしまい自分が誹謗中傷などの加害者になってしまう可能性があるため、注意が必要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5</a:t>
            </a:fld>
            <a:endParaRPr lang="ja-JP" altLang="en-US" dirty="0"/>
          </a:p>
        </p:txBody>
      </p:sp>
    </p:spTree>
    <p:extLst>
      <p:ext uri="{BB962C8B-B14F-4D97-AF65-F5344CB8AC3E}">
        <p14:creationId xmlns:p14="http://schemas.microsoft.com/office/powerpoint/2010/main" val="2874475488"/>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よりもっともらしい偽・誤情報が生成される可能性に注意が必要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に指示を入力すると、実在しない内容が含まれていたり、数字が不正確だったりすること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た、水害被害の画像が</a:t>
            </a:r>
            <a:r>
              <a:rPr kumimoji="1" lang="en-US" altLang="ja-JP" dirty="0" err="1">
                <a:latin typeface="Meiryo UI" panose="020B0604030504040204" pitchFamily="50" charset="-128"/>
                <a:ea typeface="Meiryo UI" panose="020B0604030504040204" pitchFamily="50" charset="-128"/>
              </a:rPr>
              <a:t>SNS</a:t>
            </a:r>
            <a:r>
              <a:rPr kumimoji="1" lang="ja-JP" altLang="en-US" dirty="0">
                <a:latin typeface="Meiryo UI" panose="020B0604030504040204" pitchFamily="50" charset="-128"/>
                <a:ea typeface="Meiryo UI" panose="020B0604030504040204" pitchFamily="50" charset="-128"/>
              </a:rPr>
              <a:t>で拡散されたところ、実は画像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で作成した偽画像だったという事例があり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6</a:t>
            </a:fld>
            <a:endParaRPr lang="ja-JP" altLang="en-US" dirty="0"/>
          </a:p>
        </p:txBody>
      </p:sp>
    </p:spTree>
    <p:extLst>
      <p:ext uri="{BB962C8B-B14F-4D97-AF65-F5344CB8AC3E}">
        <p14:creationId xmlns:p14="http://schemas.microsoft.com/office/powerpoint/2010/main" val="3642186689"/>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技術は急速に進展しており、人間が情報の真偽を判断することは難しくなることが予想されます。</a:t>
            </a:r>
          </a:p>
          <a:p>
            <a:pPr>
              <a:lnSpc>
                <a:spcPct val="150000"/>
              </a:lnSpc>
            </a:pPr>
            <a:r>
              <a:rPr kumimoji="1" lang="ja-JP" altLang="en-US" dirty="0">
                <a:latin typeface="Meiryo UI" panose="020B0604030504040204" pitchFamily="50" charset="-128"/>
                <a:ea typeface="Meiryo UI" panose="020B0604030504040204" pitchFamily="50" charset="-128"/>
              </a:rPr>
              <a:t>自分が被害者、加害者にならないため、</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のポイントを常に意識しましょう。</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目は、人は信じたいものを選ぶので、無意識のうちに合理的ではない行動、偏った判断をすることがある</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という意識をもつ</a:t>
            </a:r>
            <a:r>
              <a:rPr kumimoji="1" lang="ja-JP" altLang="en-US" dirty="0">
                <a:latin typeface="Meiryo UI" panose="020B0604030504040204" pitchFamily="50" charset="-128"/>
                <a:ea typeface="Meiryo UI" panose="020B0604030504040204" pitchFamily="50" charset="-128"/>
              </a:rPr>
              <a:t>こと、</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None/>
              <a:tabLst/>
              <a:defRPr/>
            </a:pP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つ目は、</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チェックリストを用いて真偽を判断すること、</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spcBef>
                <a:spcPts val="600"/>
              </a:spcBef>
              <a:buFont typeface="Trebuchet MS" panose="020B0603020202020204" pitchFamily="34" charset="0"/>
              <a:buChar char="​"/>
            </a:pP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目は、</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チェックリストを用いて判断しても騙されるので、安易に拡散しない、また拡散したいときはひと呼吸おく</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ことで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spcBef>
                <a:spcPts val="600"/>
              </a:spcBef>
              <a:buFont typeface="Trebuchet MS" panose="020B0603020202020204" pitchFamily="34" charset="0"/>
              <a:buChar char="​"/>
            </a:pP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これから、それぞれのポイントについてご説明します。</a:t>
            </a:r>
            <a:endParaRPr kumimoji="1" lang="ja-JP" alt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7</a:t>
            </a:fld>
            <a:endParaRPr lang="ja-JP" altLang="en-US" dirty="0"/>
          </a:p>
        </p:txBody>
      </p:sp>
    </p:spTree>
    <p:extLst>
      <p:ext uri="{BB962C8B-B14F-4D97-AF65-F5344CB8AC3E}">
        <p14:creationId xmlns:p14="http://schemas.microsoft.com/office/powerpoint/2010/main" val="1964123811"/>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目に意識すべきポイントは、無意識のうちに合理的ではない行動、偏った判断をすることがあるという意識をもつことです。</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偽・誤情報の多くは、誰かに教えたくなるような要素や、感情に訴える要素を持っています。</a:t>
            </a:r>
            <a:br>
              <a:rPr kumimoji="1" lang="en-US" altLang="ja-JP" dirty="0">
                <a:latin typeface="Meiryo UI" panose="020B0604030504040204" pitchFamily="50" charset="-128"/>
                <a:ea typeface="Meiryo UI" panose="020B0604030504040204" pitchFamily="50" charset="-128"/>
              </a:rPr>
            </a:br>
            <a:r>
              <a:rPr kumimoji="1" lang="ja-JP" altLang="en-US" dirty="0">
                <a:latin typeface="Meiryo UI" panose="020B0604030504040204" pitchFamily="50" charset="-128"/>
                <a:ea typeface="Meiryo UI" panose="020B0604030504040204" pitchFamily="50" charset="-128"/>
              </a:rPr>
              <a:t>皆さんは、人に言いたくなる情報、誰も知らない情報、意外性のある情報、正義感に訴える情報、自分の願望や希望に合った情報を信じたくなりませんか？</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無意識のうちに信じたいものを選んでしまい、合理的ではない行動、偏った判断をすることがあるという意識をもつことが大切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8</a:t>
            </a:fld>
            <a:endParaRPr lang="ja-JP" altLang="en-US" dirty="0"/>
          </a:p>
        </p:txBody>
      </p:sp>
    </p:spTree>
    <p:extLst>
      <p:ext uri="{BB962C8B-B14F-4D97-AF65-F5344CB8AC3E}">
        <p14:creationId xmlns:p14="http://schemas.microsoft.com/office/powerpoint/2010/main" val="1908229607"/>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en-US" altLang="ja-JP" dirty="0">
                <a:latin typeface="Meiryo UI" panose="020B0604030504040204" pitchFamily="50" charset="-128"/>
                <a:ea typeface="Meiryo UI" panose="020B0604030504040204" pitchFamily="50" charset="-128"/>
              </a:rPr>
              <a:t>2</a:t>
            </a:r>
            <a:r>
              <a:rPr kumimoji="1" lang="ja-JP" altLang="en-US" dirty="0">
                <a:latin typeface="Meiryo UI" panose="020B0604030504040204" pitchFamily="50" charset="-128"/>
                <a:ea typeface="Meiryo UI" panose="020B0604030504040204" pitchFamily="50" charset="-128"/>
              </a:rPr>
              <a:t>つ目に意識すべきポイントは、</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チェックリストを用いて真偽を判断することで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pPr>
            <a:r>
              <a:rPr kumimoji="1" lang="ja-JP" altLang="en-US" dirty="0">
                <a:latin typeface="Meiryo UI" panose="020B0604030504040204" pitchFamily="50" charset="-128"/>
                <a:ea typeface="Meiryo UI" panose="020B0604030504040204" pitchFamily="50" charset="-128"/>
              </a:rPr>
              <a:t>情報源は信用できるか、他のメディアではどういわれているか、その画像</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表</a:t>
            </a:r>
            <a:r>
              <a:rPr kumimoji="1" lang="en-US" altLang="ja-JP" dirty="0">
                <a:latin typeface="Meiryo UI" panose="020B0604030504040204" pitchFamily="50" charset="-128"/>
                <a:ea typeface="Meiryo UI" panose="020B0604030504040204" pitchFamily="50" charset="-128"/>
              </a:rPr>
              <a:t>/</a:t>
            </a:r>
            <a:r>
              <a:rPr kumimoji="1" lang="ja-JP" altLang="en-US" dirty="0">
                <a:latin typeface="Meiryo UI" panose="020B0604030504040204" pitchFamily="50" charset="-128"/>
                <a:ea typeface="Meiryo UI" panose="020B0604030504040204" pitchFamily="50" charset="-128"/>
              </a:rPr>
              <a:t>グラフは本物か、ファクトチェックの結果はどうかなど、</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a:t>
            </a:r>
            <a:r>
              <a:rPr kumimoji="1" lang="en-US" altLang="ja-JP" dirty="0">
                <a:latin typeface="Meiryo UI" panose="020B0604030504040204" pitchFamily="50" charset="-128"/>
                <a:ea typeface="Meiryo UI" panose="020B0604030504040204" pitchFamily="50" charset="-128"/>
              </a:rPr>
              <a:t>1</a:t>
            </a:r>
            <a:r>
              <a:rPr kumimoji="1" lang="ja-JP" altLang="en-US" dirty="0">
                <a:latin typeface="Meiryo UI" panose="020B0604030504040204" pitchFamily="50" charset="-128"/>
                <a:ea typeface="Meiryo UI" panose="020B0604030504040204" pitchFamily="50" charset="-128"/>
              </a:rPr>
              <a:t>つ確認することが大切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39</a:t>
            </a:fld>
            <a:endParaRPr lang="ja-JP" altLang="en-US" dirty="0"/>
          </a:p>
        </p:txBody>
      </p:sp>
    </p:spTree>
    <p:extLst>
      <p:ext uri="{BB962C8B-B14F-4D97-AF65-F5344CB8AC3E}">
        <p14:creationId xmlns:p14="http://schemas.microsoft.com/office/powerpoint/2010/main" val="56165457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学習内容の構成は、説明ページ、事例ページ、理解度チェックページの</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種類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ずは、説明ページを中心に内容を理解いただきたいと思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事例ページでは、具体例をご説明しますので、より詳細な内容について確認いただければと思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理解度チェックもついておりますので、学習後に解いてみてください（理解度チェックを実施する時間を設定することも可）。</a:t>
            </a:r>
            <a:endParaRPr kumimoji="1" lang="en-US" altLang="ja-JP"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kumimoji="1" lang="ja-JP" altLang="en-US" smtClean="0"/>
              <a:t>4</a:t>
            </a:fld>
            <a:endParaRPr kumimoji="1" lang="ja-JP" altLang="en-US"/>
          </a:p>
        </p:txBody>
      </p:sp>
    </p:spTree>
    <p:extLst>
      <p:ext uri="{BB962C8B-B14F-4D97-AF65-F5344CB8AC3E}">
        <p14:creationId xmlns:p14="http://schemas.microsoft.com/office/powerpoint/2010/main" val="2353463285"/>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目に意識すべきポイントは、</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チェックリストを用いて判断しても騙される可能性があることを理解し、安易に拡散しない、拡散したいときはひと呼吸おく</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ことで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a:lnSpc>
                <a:spcPct val="150000"/>
              </a:lnSpc>
            </a:pPr>
            <a:r>
              <a:rPr kumimoji="1" lang="ja-JP" altLang="en-US" dirty="0">
                <a:latin typeface="Meiryo UI" panose="020B0604030504040204" pitchFamily="50" charset="-128"/>
                <a:ea typeface="Meiryo UI" panose="020B0604030504040204" pitchFamily="50" charset="-128"/>
              </a:rPr>
              <a:t>特に、内容が分からないもの、誰かを傷つける可能性のあるもの、医療や健康情報などは、安易に拡散しないよう気を付けてください。</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た、拡散したいときはひと呼吸おき、一旦手を止めて、「間違いかもしれない。違う情報が出ていないか」と確認することが大切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0</a:t>
            </a:fld>
            <a:endParaRPr lang="ja-JP" altLang="en-US" dirty="0"/>
          </a:p>
        </p:txBody>
      </p:sp>
    </p:spTree>
    <p:extLst>
      <p:ext uri="{BB962C8B-B14F-4D97-AF65-F5344CB8AC3E}">
        <p14:creationId xmlns:p14="http://schemas.microsoft.com/office/powerpoint/2010/main" val="2683534832"/>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では、ここまでの注意すべきポイント（情報の正確性）に関する理解を確認するため、問題を解いてみ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1</a:t>
            </a:fld>
            <a:endParaRPr lang="ja-JP" altLang="en-US" dirty="0"/>
          </a:p>
        </p:txBody>
      </p:sp>
    </p:spTree>
    <p:extLst>
      <p:ext uri="{BB962C8B-B14F-4D97-AF65-F5344CB8AC3E}">
        <p14:creationId xmlns:p14="http://schemas.microsoft.com/office/powerpoint/2010/main" val="251755444"/>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endParaRPr kumimoji="1" lang="ja-JP" altLang="en-US"/>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42</a:t>
            </a:fld>
            <a:endParaRPr lang="ja-JP" altLang="en-US" dirty="0"/>
          </a:p>
        </p:txBody>
      </p:sp>
    </p:spTree>
    <p:extLst>
      <p:ext uri="{BB962C8B-B14F-4D97-AF65-F5344CB8AC3E}">
        <p14:creationId xmlns:p14="http://schemas.microsoft.com/office/powerpoint/2010/main" val="1210349357"/>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43</a:t>
            </a:fld>
            <a:endParaRPr lang="ja-JP" altLang="en-US" dirty="0"/>
          </a:p>
        </p:txBody>
      </p:sp>
    </p:spTree>
    <p:extLst>
      <p:ext uri="{BB962C8B-B14F-4D97-AF65-F5344CB8AC3E}">
        <p14:creationId xmlns:p14="http://schemas.microsoft.com/office/powerpoint/2010/main" val="895362278"/>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44</a:t>
            </a:fld>
            <a:endParaRPr lang="ja-JP" altLang="en-US" dirty="0"/>
          </a:p>
        </p:txBody>
      </p:sp>
    </p:spTree>
    <p:extLst>
      <p:ext uri="{BB962C8B-B14F-4D97-AF65-F5344CB8AC3E}">
        <p14:creationId xmlns:p14="http://schemas.microsoft.com/office/powerpoint/2010/main" val="3323874572"/>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次に、情報流出に関することについて学習し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5</a:t>
            </a:fld>
            <a:endParaRPr lang="ja-JP" altLang="en-US" dirty="0"/>
          </a:p>
        </p:txBody>
      </p:sp>
    </p:spTree>
    <p:extLst>
      <p:ext uri="{BB962C8B-B14F-4D97-AF65-F5344CB8AC3E}">
        <p14:creationId xmlns:p14="http://schemas.microsoft.com/office/powerpoint/2010/main" val="4084828480"/>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個人情報や機密情報を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入力すると、情報流出のリスクがあります。</a:t>
            </a:r>
          </a:p>
          <a:p>
            <a:pPr>
              <a:lnSpc>
                <a:spcPct val="150000"/>
              </a:lnSpc>
            </a:pPr>
            <a:r>
              <a:rPr kumimoji="1" lang="ja-JP" altLang="en-US" dirty="0">
                <a:latin typeface="Meiryo UI" panose="020B0604030504040204" pitchFamily="50" charset="-128"/>
                <a:ea typeface="Meiryo UI" panose="020B0604030504040204" pitchFamily="50" charset="-128"/>
              </a:rPr>
              <a:t>なぜかと言うと、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仕組み上、利用者が入力したデータが学習データとして活用されることがあるためです。</a:t>
            </a:r>
          </a:p>
          <a:p>
            <a:pPr>
              <a:lnSpc>
                <a:spcPct val="150000"/>
              </a:lnSpc>
            </a:pPr>
            <a:r>
              <a:rPr kumimoji="1" lang="ja-JP" altLang="en-US" dirty="0">
                <a:latin typeface="Meiryo UI" panose="020B0604030504040204" pitchFamily="50" charset="-128"/>
                <a:ea typeface="Meiryo UI" panose="020B0604030504040204" pitchFamily="50" charset="-128"/>
              </a:rPr>
              <a:t>個人情報や社外秘の機密情報を入力すると、他人の質問への回答に使われ、情報が漏洩する可能性があるほか、</a:t>
            </a:r>
          </a:p>
          <a:p>
            <a:pPr>
              <a:lnSpc>
                <a:spcPct val="150000"/>
              </a:lnSpc>
            </a:pPr>
            <a:r>
              <a:rPr kumimoji="1" lang="ja-JP" altLang="en-US" dirty="0">
                <a:latin typeface="Meiryo UI" panose="020B0604030504040204" pitchFamily="50" charset="-128"/>
                <a:ea typeface="Meiryo UI" panose="020B0604030504040204" pitchFamily="50" charset="-128"/>
              </a:rPr>
              <a:t>漏洩した情報がサイバー犯罪などに悪用される恐れがあるため、注意が必要です。</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6</a:t>
            </a:fld>
            <a:endParaRPr lang="ja-JP" altLang="en-US" dirty="0"/>
          </a:p>
        </p:txBody>
      </p:sp>
    </p:spTree>
    <p:extLst>
      <p:ext uri="{BB962C8B-B14F-4D97-AF65-F5344CB8AC3E}">
        <p14:creationId xmlns:p14="http://schemas.microsoft.com/office/powerpoint/2010/main" val="3567409519"/>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ある海外企業では、社員が生成</a:t>
            </a:r>
            <a:r>
              <a:rPr kumimoji="1" lang="en-US" altLang="ja-JP"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の仕組みへの理解が不十分であったため、生成</a:t>
            </a:r>
            <a:r>
              <a:rPr kumimoji="1" lang="en-US" altLang="ja-JP"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に機密情報を入力してしまい、情報が流出するトラブルが発生しました。</a:t>
            </a: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ビジネスで利用する場合は、自社の機密情報の取扱いについて十分留意する必要があります。</a:t>
            </a: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47</a:t>
            </a:fld>
            <a:endParaRPr lang="ja-JP" altLang="en-US" dirty="0"/>
          </a:p>
        </p:txBody>
      </p:sp>
    </p:spTree>
    <p:extLst>
      <p:ext uri="{BB962C8B-B14F-4D97-AF65-F5344CB8AC3E}">
        <p14:creationId xmlns:p14="http://schemas.microsoft.com/office/powerpoint/2010/main" val="765175709"/>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情報流出を防ぐため、</a:t>
            </a:r>
            <a:r>
              <a:rPr kumimoji="1" lang="en-US" altLang="ja-JP" dirty="0">
                <a:latin typeface="Meiryo UI" panose="020B0604030504040204" pitchFamily="50" charset="-128"/>
                <a:ea typeface="Meiryo UI" panose="020B0604030504040204" pitchFamily="50" charset="-128"/>
              </a:rPr>
              <a:t>3</a:t>
            </a:r>
            <a:r>
              <a:rPr kumimoji="1" lang="ja-JP" altLang="en-US" dirty="0">
                <a:latin typeface="Meiryo UI" panose="020B0604030504040204" pitchFamily="50" charset="-128"/>
                <a:ea typeface="Meiryo UI" panose="020B0604030504040204" pitchFamily="50" charset="-128"/>
              </a:rPr>
              <a:t>つの行動を心がけることが大切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ずは、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の規約で、データの利用目的や範囲等を確認し、利用規約の変更時には変更箇所をチェックするようにしましょう。</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その上で、</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個人情報や機密情報の入力を必要最小限にするよう注意しましょう。</a:t>
            </a:r>
            <a:endParaRPr kumimoji="1"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また、利用する生成</a:t>
            </a:r>
            <a:r>
              <a:rPr kumimoji="1" lang="en-US" altLang="ja-JP" sz="1200"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サービスで設定が可能であれば、入力したデータを学習に使わせないように設定しましょう。</a:t>
            </a: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8</a:t>
            </a:fld>
            <a:endParaRPr lang="ja-JP" altLang="en-US" dirty="0"/>
          </a:p>
        </p:txBody>
      </p:sp>
    </p:spTree>
    <p:extLst>
      <p:ext uri="{BB962C8B-B14F-4D97-AF65-F5344CB8AC3E}">
        <p14:creationId xmlns:p14="http://schemas.microsoft.com/office/powerpoint/2010/main" val="3782408454"/>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では、ここまでの注意すべきポイント（情報流出）に関する理解を確認するため、問題を解いてみ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49</a:t>
            </a:fld>
            <a:endParaRPr lang="ja-JP" altLang="en-US" dirty="0"/>
          </a:p>
        </p:txBody>
      </p:sp>
    </p:spTree>
    <p:extLst>
      <p:ext uri="{BB962C8B-B14F-4D97-AF65-F5344CB8AC3E}">
        <p14:creationId xmlns:p14="http://schemas.microsoft.com/office/powerpoint/2010/main" val="303364824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はじめに、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とは何かについて学習し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a:t>
            </a:fld>
            <a:endParaRPr lang="ja-JP" altLang="en-US" dirty="0"/>
          </a:p>
        </p:txBody>
      </p:sp>
    </p:spTree>
    <p:extLst>
      <p:ext uri="{BB962C8B-B14F-4D97-AF65-F5344CB8AC3E}">
        <p14:creationId xmlns:p14="http://schemas.microsoft.com/office/powerpoint/2010/main" val="2453833161"/>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50</a:t>
            </a:fld>
            <a:endParaRPr lang="ja-JP" altLang="en-US" dirty="0"/>
          </a:p>
        </p:txBody>
      </p:sp>
    </p:spTree>
    <p:extLst>
      <p:ext uri="{BB962C8B-B14F-4D97-AF65-F5344CB8AC3E}">
        <p14:creationId xmlns:p14="http://schemas.microsoft.com/office/powerpoint/2010/main" val="2761720657"/>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51</a:t>
            </a:fld>
            <a:endParaRPr lang="ja-JP" altLang="en-US" dirty="0"/>
          </a:p>
        </p:txBody>
      </p:sp>
    </p:spTree>
    <p:extLst>
      <p:ext uri="{BB962C8B-B14F-4D97-AF65-F5344CB8AC3E}">
        <p14:creationId xmlns:p14="http://schemas.microsoft.com/office/powerpoint/2010/main" val="292312479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52</a:t>
            </a:fld>
            <a:endParaRPr lang="ja-JP" altLang="en-US" dirty="0"/>
          </a:p>
        </p:txBody>
      </p:sp>
    </p:spTree>
    <p:extLst>
      <p:ext uri="{BB962C8B-B14F-4D97-AF65-F5344CB8AC3E}">
        <p14:creationId xmlns:p14="http://schemas.microsoft.com/office/powerpoint/2010/main" val="3631488265"/>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次に、知的財産権の侵害について学習し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3</a:t>
            </a:fld>
            <a:endParaRPr lang="ja-JP" altLang="en-US" dirty="0"/>
          </a:p>
        </p:txBody>
      </p:sp>
    </p:spTree>
    <p:extLst>
      <p:ext uri="{BB962C8B-B14F-4D97-AF65-F5344CB8AC3E}">
        <p14:creationId xmlns:p14="http://schemas.microsoft.com/office/powerpoint/2010/main" val="76807634"/>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で作られたものを利用する時、他人の知的財産権やパブリシティ権を侵害する可能性があります。</a:t>
            </a:r>
            <a:endParaRPr kumimoji="1" lang="en-US" altLang="ja-JP" dirty="0">
              <a:latin typeface="Meiryo UI" panose="020B0604030504040204" pitchFamily="50" charset="-128"/>
              <a:ea typeface="Meiryo UI" panose="020B0604030504040204" pitchFamily="50" charset="-128"/>
            </a:endParaRPr>
          </a:p>
          <a:p>
            <a:pPr lvl="0">
              <a:lnSpc>
                <a:spcPct val="150000"/>
              </a:lnSpc>
              <a:tabLst>
                <a:tab pos="139700" algn="l"/>
              </a:tabLst>
              <a:defRPr/>
            </a:pPr>
            <a:r>
              <a:rPr kumimoji="1" lang="ja-JP" altLang="en-US" dirty="0">
                <a:latin typeface="Meiryo UI" panose="020B0604030504040204" pitchFamily="50" charset="-128"/>
                <a:ea typeface="Meiryo UI" panose="020B0604030504040204" pitchFamily="50" charset="-128"/>
              </a:rPr>
              <a:t>例えば、</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既存の著作物と類似している生成物をアップロードして公表したり、複製物を販売したりすると、著作権の侵害になりま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tab pos="139700" algn="l"/>
              </a:tabLst>
              <a:defRPr/>
            </a:pP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また、商標や意匠として登録されているロゴ・デザイン等と同一または類似している生成物を商用利用すると、商標権・意匠権の侵害になりま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tab pos="139700" algn="l"/>
              </a:tabLst>
              <a:defRPr/>
            </a:pP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さらに、生成</a:t>
            </a:r>
            <a:r>
              <a:rPr lang="en-US" altLang="ja-JP" sz="1200" dirty="0">
                <a:latin typeface="Meiryo UI" panose="020B0604030504040204" pitchFamily="50" charset="-128"/>
                <a:ea typeface="Meiryo UI" panose="020B0604030504040204" pitchFamily="50" charset="-128"/>
                <a:sym typeface="Trebuchet MS" panose="020B0603020202020204" pitchFamily="34" charset="0"/>
              </a:rPr>
              <a:t>AI</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を利用して生成された著名人の氏名、肖像等を商用利用すると、パブリシティ権の侵害になります。</a:t>
            </a:r>
            <a:endParaRPr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tab pos="139700" algn="l"/>
              </a:tabLst>
              <a:defRPr/>
            </a:pP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他人の知的財産権やパブリシティ権を侵害すると、差止請求・損害賠償請求等の民事訴訟や、刑事罰の対象となることもあるため、十分な対策が必要です。</a:t>
            </a: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4</a:t>
            </a:fld>
            <a:endParaRPr lang="ja-JP" altLang="en-US" dirty="0"/>
          </a:p>
        </p:txBody>
      </p:sp>
    </p:spTree>
    <p:extLst>
      <p:ext uri="{BB962C8B-B14F-4D97-AF65-F5344CB8AC3E}">
        <p14:creationId xmlns:p14="http://schemas.microsoft.com/office/powerpoint/2010/main" val="548136213"/>
      </p:ext>
    </p:extLst>
  </p:cSld>
  <p:clrMapOvr>
    <a:masterClrMapping/>
  </p:clrMapOvr>
</p:notes>
</file>

<file path=ppt/notesSlides/notesSlide5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海外では、アーティストが自分たちの作品が画像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学習に使われ、著作権が侵害されたとして、画像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開発元に対して訴訟を起こしました。</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著作権侵害の知識がないユーザーが生成した画像を外部に発信することで、著作権を侵害し、訴訟等に発展する可能性があります。</a:t>
            </a:r>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55</a:t>
            </a:fld>
            <a:endParaRPr lang="ja-JP" altLang="en-US" dirty="0"/>
          </a:p>
        </p:txBody>
      </p:sp>
    </p:spTree>
    <p:extLst>
      <p:ext uri="{BB962C8B-B14F-4D97-AF65-F5344CB8AC3E}">
        <p14:creationId xmlns:p14="http://schemas.microsoft.com/office/powerpoint/2010/main" val="3668959412"/>
      </p:ext>
    </p:extLst>
  </p:cSld>
  <p:clrMapOvr>
    <a:masterClrMapping/>
  </p:clrMapOvr>
</p:notes>
</file>

<file path=ppt/notesSlides/notesSlide5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他人の知的財産権等の侵害を防ぐため、まずは指示入力段階で、既存のものや実在の人物に類似しないよう注意することが大切です。</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具体的には、「</a:t>
            </a:r>
            <a:r>
              <a:rPr kumimoji="1" lang="en-US" altLang="ja-JP" sz="1200" dirty="0">
                <a:latin typeface="Meiryo UI" panose="020B0604030504040204" pitchFamily="50" charset="-128"/>
                <a:ea typeface="Meiryo UI" panose="020B0604030504040204" pitchFamily="50" charset="-128"/>
                <a:sym typeface="Trebuchet MS" panose="020B0603020202020204" pitchFamily="34" charset="0"/>
              </a:rPr>
              <a:t>xx</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に似ているロゴを考えて」、「</a:t>
            </a:r>
            <a:r>
              <a:rPr kumimoji="1" lang="en-US" altLang="ja-JP" sz="1200" dirty="0">
                <a:latin typeface="Meiryo UI" panose="020B0604030504040204" pitchFamily="50" charset="-128"/>
                <a:ea typeface="Meiryo UI" panose="020B0604030504040204" pitchFamily="50" charset="-128"/>
                <a:sym typeface="Trebuchet MS" panose="020B0603020202020204" pitchFamily="34" charset="0"/>
              </a:rPr>
              <a:t>xx</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のキャラクターを書いて」、「</a:t>
            </a:r>
            <a:r>
              <a:rPr lang="en-US" altLang="ja-JP" sz="1200" dirty="0">
                <a:effectLst/>
                <a:latin typeface="Meiryo UI" panose="020B0604030504040204" pitchFamily="50" charset="-128"/>
                <a:ea typeface="Meiryo UI" panose="020B0604030504040204" pitchFamily="50" charset="-128"/>
                <a:sym typeface="Trebuchet MS" panose="020B0603020202020204" pitchFamily="34" charset="0"/>
              </a:rPr>
              <a:t>xx</a:t>
            </a:r>
            <a:r>
              <a:rPr lang="ja-JP" altLang="en-US" sz="1200" dirty="0">
                <a:effectLst/>
                <a:latin typeface="Meiryo UI" panose="020B0604030504040204" pitchFamily="50" charset="-128"/>
                <a:ea typeface="Meiryo UI" panose="020B0604030504040204" pitchFamily="50" charset="-128"/>
                <a:sym typeface="Trebuchet MS" panose="020B0603020202020204" pitchFamily="34" charset="0"/>
              </a:rPr>
              <a:t>さんそっくりの写真を生成して</a:t>
            </a:r>
            <a:r>
              <a:rPr kumimoji="1" lang="ja-JP" altLang="en-US" sz="1200" dirty="0">
                <a:effectLst/>
                <a:latin typeface="Meiryo UI" panose="020B0604030504040204" pitchFamily="50" charset="-128"/>
                <a:ea typeface="Meiryo UI" panose="020B0604030504040204" pitchFamily="50" charset="-128"/>
                <a:sym typeface="Trebuchet MS" panose="020B0603020202020204" pitchFamily="34" charset="0"/>
              </a:rPr>
              <a:t>」といった指示は避けましょう。</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6</a:t>
            </a:fld>
            <a:endParaRPr lang="ja-JP" altLang="en-US" dirty="0"/>
          </a:p>
        </p:txBody>
      </p:sp>
    </p:spTree>
    <p:extLst>
      <p:ext uri="{BB962C8B-B14F-4D97-AF65-F5344CB8AC3E}">
        <p14:creationId xmlns:p14="http://schemas.microsoft.com/office/powerpoint/2010/main" val="1927085671"/>
      </p:ext>
    </p:extLst>
  </p:cSld>
  <p:clrMapOvr>
    <a:masterClrMapping/>
  </p:clrMapOvr>
</p:notes>
</file>

<file path=ppt/notesSlides/notesSlide5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その上で、生成物が既存のものや実在の人物に類似している場合、「利用をやめる」、「既存データの権利者から許諾を取得後、利用する」、「</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既存データと類似しないよう、大幅に手を加えて利用する」のいずれかの対応を行いましょう。</a:t>
            </a:r>
            <a:endParaRPr kumimoji="1" lang="en-US" altLang="ja-JP" sz="1200"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特にビジネスで利用するものは念入りにチェックが必要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7</a:t>
            </a:fld>
            <a:endParaRPr lang="ja-JP" altLang="en-US" dirty="0"/>
          </a:p>
        </p:txBody>
      </p:sp>
    </p:spTree>
    <p:extLst>
      <p:ext uri="{BB962C8B-B14F-4D97-AF65-F5344CB8AC3E}">
        <p14:creationId xmlns:p14="http://schemas.microsoft.com/office/powerpoint/2010/main" val="1821250711"/>
      </p:ext>
    </p:extLst>
  </p:cSld>
  <p:clrMapOvr>
    <a:masterClrMapping/>
  </p:clrMapOvr>
</p:notes>
</file>

<file path=ppt/notesSlides/notesSlide5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では、ここまでの注意すべきポイント（知的財産権の侵害）に関する理解を確認するため、問題を解いてみ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58</a:t>
            </a:fld>
            <a:endParaRPr lang="ja-JP" altLang="en-US" dirty="0"/>
          </a:p>
        </p:txBody>
      </p:sp>
    </p:spTree>
    <p:extLst>
      <p:ext uri="{BB962C8B-B14F-4D97-AF65-F5344CB8AC3E}">
        <p14:creationId xmlns:p14="http://schemas.microsoft.com/office/powerpoint/2010/main" val="1016568469"/>
      </p:ext>
    </p:extLst>
  </p:cSld>
  <p:clrMapOvr>
    <a:masterClrMapping/>
  </p:clrMapOvr>
</p:notes>
</file>

<file path=ppt/notesSlides/notesSlide5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59</a:t>
            </a:fld>
            <a:endParaRPr lang="ja-JP" altLang="en-US" dirty="0"/>
          </a:p>
        </p:txBody>
      </p:sp>
    </p:spTree>
    <p:extLst>
      <p:ext uri="{BB962C8B-B14F-4D97-AF65-F5344CB8AC3E}">
        <p14:creationId xmlns:p14="http://schemas.microsoft.com/office/powerpoint/2010/main" val="1963786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皆さんが指示を入力すると、インターネット上の文章などの大量のデータから文脈に沿った回答を出力するツール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この指示を、英語で「プロンプト」と言い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例えば、「雨の日の旅行のアイデアを考えて」と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指示すると、文脈に沿って、雨の日でも楽しめる旅行のアイデアが出力され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a:t>
            </a:fld>
            <a:endParaRPr lang="ja-JP" altLang="en-US" dirty="0"/>
          </a:p>
        </p:txBody>
      </p:sp>
    </p:spTree>
    <p:extLst>
      <p:ext uri="{BB962C8B-B14F-4D97-AF65-F5344CB8AC3E}">
        <p14:creationId xmlns:p14="http://schemas.microsoft.com/office/powerpoint/2010/main" val="4255367124"/>
      </p:ext>
    </p:extLst>
  </p:cSld>
  <p:clrMapOvr>
    <a:masterClrMapping/>
  </p:clrMapOvr>
</p:notes>
</file>

<file path=ppt/notesSlides/notesSlide6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60</a:t>
            </a:fld>
            <a:endParaRPr lang="ja-JP" altLang="en-US" dirty="0"/>
          </a:p>
        </p:txBody>
      </p:sp>
    </p:spTree>
    <p:extLst>
      <p:ext uri="{BB962C8B-B14F-4D97-AF65-F5344CB8AC3E}">
        <p14:creationId xmlns:p14="http://schemas.microsoft.com/office/powerpoint/2010/main" val="2257060536"/>
      </p:ext>
    </p:extLst>
  </p:cSld>
  <p:clrMapOvr>
    <a:masterClrMapping/>
  </p:clrMapOvr>
</p:notes>
</file>

<file path=ppt/notesSlides/notesSlide6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61</a:t>
            </a:fld>
            <a:endParaRPr lang="ja-JP" altLang="en-US" dirty="0"/>
          </a:p>
        </p:txBody>
      </p:sp>
    </p:spTree>
    <p:extLst>
      <p:ext uri="{BB962C8B-B14F-4D97-AF65-F5344CB8AC3E}">
        <p14:creationId xmlns:p14="http://schemas.microsoft.com/office/powerpoint/2010/main" val="662477814"/>
      </p:ext>
    </p:extLst>
  </p:cSld>
  <p:clrMapOvr>
    <a:masterClrMapping/>
  </p:clrMapOvr>
</p:notes>
</file>

<file path=ppt/notesSlides/notesSlide6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最後に、活用者としてのモラルについて学習します。</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2</a:t>
            </a:fld>
            <a:endParaRPr lang="ja-JP" altLang="en-US" dirty="0"/>
          </a:p>
        </p:txBody>
      </p:sp>
    </p:spTree>
    <p:extLst>
      <p:ext uri="{BB962C8B-B14F-4D97-AF65-F5344CB8AC3E}">
        <p14:creationId xmlns:p14="http://schemas.microsoft.com/office/powerpoint/2010/main" val="2851772751"/>
      </p:ext>
    </p:extLst>
  </p:cSld>
  <p:clrMapOvr>
    <a:masterClrMapping/>
  </p:clrMapOvr>
</p:notes>
</file>

<file path=ppt/notesSlides/notesSlide6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活用する際は、モラルを守った行動を心がけましょう。</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本来自分が行うべきことまで全て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任せにしない」、「</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生成</a:t>
            </a:r>
            <a:r>
              <a:rPr lang="en-US" altLang="ja-JP" sz="1200" dirty="0">
                <a:latin typeface="Meiryo UI" panose="020B0604030504040204" pitchFamily="50" charset="-128"/>
                <a:ea typeface="Meiryo UI" panose="020B0604030504040204" pitchFamily="50" charset="-128"/>
                <a:sym typeface="Trebuchet MS" panose="020B0603020202020204" pitchFamily="34" charset="0"/>
              </a:rPr>
              <a:t>AI</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が作った偏見のある回答を使用しない」、「生成</a:t>
            </a:r>
            <a:r>
              <a:rPr lang="en-US" altLang="ja-JP" sz="1200" dirty="0">
                <a:latin typeface="Meiryo UI" panose="020B0604030504040204" pitchFamily="50" charset="-128"/>
                <a:ea typeface="Meiryo UI" panose="020B0604030504040204" pitchFamily="50" charset="-128"/>
                <a:sym typeface="Trebuchet MS" panose="020B0603020202020204" pitchFamily="34" charset="0"/>
              </a:rPr>
              <a:t>AI</a:t>
            </a:r>
            <a:r>
              <a:rPr lang="ja-JP" altLang="en-US" sz="1200" dirty="0">
                <a:latin typeface="Meiryo UI" panose="020B0604030504040204" pitchFamily="50" charset="-128"/>
                <a:ea typeface="Meiryo UI" panose="020B0604030504040204" pitchFamily="50" charset="-128"/>
                <a:sym typeface="Trebuchet MS" panose="020B0603020202020204" pitchFamily="34" charset="0"/>
              </a:rPr>
              <a:t>を非倫理的な行為や犯罪に悪用しない」といった姿勢を忘れないようにしてください。</a:t>
            </a:r>
            <a:endParaRPr kumimoji="1" lang="ja-JP" altLang="en-US" dirty="0">
              <a:latin typeface="Meiryo UI" panose="020B0604030504040204" pitchFamily="50" charset="-128"/>
              <a:ea typeface="Meiryo UI" panose="020B0604030504040204" pitchFamily="50" charset="-128"/>
            </a:endParaRPr>
          </a:p>
        </p:txBody>
      </p:sp>
      <p:sp>
        <p:nvSpPr>
          <p:cNvPr id="4" name="スライド番号プレースホルダー 3"/>
          <p:cNvSpPr>
            <a:spLocks noGrp="1"/>
          </p:cNvSpPr>
          <p:nvPr>
            <p:ph type="sldNum" sz="quarter" idx="5"/>
          </p:nvPr>
        </p:nvSpPr>
        <p:spPr/>
        <p:txBody>
          <a:bodyPr/>
          <a:lstStyle/>
          <a:p>
            <a:fld id="{3A471941-587A-490A-86DD-E133D7522E9D}" type="slidenum">
              <a:rPr kumimoji="1" lang="ja-JP" altLang="en-US" smtClean="0"/>
              <a:t>63</a:t>
            </a:fld>
            <a:endParaRPr kumimoji="1" lang="ja-JP" altLang="en-US"/>
          </a:p>
        </p:txBody>
      </p:sp>
    </p:spTree>
    <p:extLst>
      <p:ext uri="{BB962C8B-B14F-4D97-AF65-F5344CB8AC3E}">
        <p14:creationId xmlns:p14="http://schemas.microsoft.com/office/powerpoint/2010/main" val="597795897"/>
      </p:ext>
    </p:extLst>
  </p:cSld>
  <p:clrMapOvr>
    <a:masterClrMapping/>
  </p:clrMapOvr>
</p:notes>
</file>

<file path=ppt/notesSlides/notesSlide6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例えば、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読書感想文を書くよう指示すると、もっともらしい文章が出力されますが、課題を通じた学びを得られず、自分のためになりません。</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4</a:t>
            </a:fld>
            <a:endParaRPr lang="ja-JP" altLang="en-US" dirty="0"/>
          </a:p>
        </p:txBody>
      </p:sp>
    </p:spTree>
    <p:extLst>
      <p:ext uri="{BB962C8B-B14F-4D97-AF65-F5344CB8AC3E}">
        <p14:creationId xmlns:p14="http://schemas.microsoft.com/office/powerpoint/2010/main" val="1438825859"/>
      </p:ext>
    </p:extLst>
  </p:cSld>
  <p:clrMapOvr>
    <a:masterClrMapping/>
  </p:clrMapOvr>
</p:notes>
</file>

<file path=ppt/notesSlides/notesSlide6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また、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人種や性別に偏りのある回答を生成することがありますが、そのまま使用すると偏見の助長につながる可能性があります。</a:t>
            </a:r>
            <a:endParaRPr kumimoji="1" lang="en-US" altLang="ja-JP" dirty="0">
              <a:latin typeface="Meiryo UI" panose="020B0604030504040204" pitchFamily="50" charset="-128"/>
              <a:ea typeface="Meiryo UI" panose="020B0604030504040204" pitchFamily="50" charset="-128"/>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lang="ja-JP" altLang="en-US" sz="1200" dirty="0">
                <a:latin typeface="Meiryo UI" panose="020B0604030504040204" pitchFamily="50" charset="-128"/>
                <a:ea typeface="Meiryo UI" panose="020B0604030504040204" pitchFamily="50" charset="-128"/>
                <a:cs typeface="Arial" pitchFamily="34" charset="0"/>
                <a:sym typeface="Trebuchet MS" panose="020B0603020202020204" pitchFamily="34" charset="0"/>
              </a:rPr>
              <a:t>偏りのある回答を予防するため、具体的な指示を出す、複数の視点からの回答を求めるといった工夫が必要です。</a:t>
            </a:r>
            <a:endParaRPr lang="en-US" altLang="ja-JP" sz="1200" dirty="0">
              <a:latin typeface="Meiryo UI" panose="020B0604030504040204" pitchFamily="50" charset="-128"/>
              <a:ea typeface="Meiryo UI" panose="020B0604030504040204" pitchFamily="50" charset="-128"/>
              <a:cs typeface="Arial" pitchFamily="34" charset="0"/>
              <a:sym typeface="Trebuchet MS" panose="020B0603020202020204" pitchFamily="34" charset="0"/>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5</a:t>
            </a:fld>
            <a:endParaRPr lang="ja-JP" altLang="en-US" dirty="0"/>
          </a:p>
        </p:txBody>
      </p:sp>
    </p:spTree>
    <p:extLst>
      <p:ext uri="{BB962C8B-B14F-4D97-AF65-F5344CB8AC3E}">
        <p14:creationId xmlns:p14="http://schemas.microsoft.com/office/powerpoint/2010/main" val="1272682297"/>
      </p:ext>
    </p:extLst>
  </p:cSld>
  <p:clrMapOvr>
    <a:masterClrMapping/>
  </p:clrMapOvr>
</p:notes>
</file>

<file path=ppt/notesSlides/notesSlide6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中国では、生成</a:t>
            </a:r>
            <a:r>
              <a:rPr kumimoji="1" lang="en-US" altLang="ja-JP"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dirty="0">
                <a:latin typeface="Meiryo UI" panose="020B0604030504040204" pitchFamily="50" charset="-128"/>
                <a:ea typeface="Meiryo UI" panose="020B0604030504040204" pitchFamily="50" charset="-128"/>
                <a:sym typeface="Trebuchet MS" panose="020B0603020202020204" pitchFamily="34" charset="0"/>
              </a:rPr>
              <a:t>で他人の顔を生成し、金銭をだまし取る詐欺が発生しました。</a:t>
            </a:r>
            <a:endParaRPr kumimoji="1" lang="en-US" altLang="ja-JP" dirty="0">
              <a:latin typeface="Meiryo UI" panose="020B0604030504040204" pitchFamily="50" charset="-128"/>
              <a:ea typeface="Meiryo UI" panose="020B0604030504040204" pitchFamily="50" charset="-128"/>
              <a:sym typeface="Trebuchet MS" panose="020B0603020202020204" pitchFamily="34" charset="0"/>
            </a:endParaRPr>
          </a:p>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生成</a:t>
            </a:r>
            <a:r>
              <a:rPr kumimoji="1" lang="en-US" altLang="ja-JP" sz="1200" dirty="0">
                <a:latin typeface="Meiryo UI" panose="020B0604030504040204" pitchFamily="50" charset="-128"/>
                <a:ea typeface="Meiryo UI" panose="020B0604030504040204" pitchFamily="50" charset="-128"/>
                <a:sym typeface="Trebuchet MS" panose="020B0603020202020204" pitchFamily="34" charset="0"/>
              </a:rPr>
              <a:t>AI</a:t>
            </a:r>
            <a:r>
              <a:rPr kumimoji="1" lang="ja-JP" altLang="en-US" sz="1200" dirty="0">
                <a:latin typeface="Meiryo UI" panose="020B0604030504040204" pitchFamily="50" charset="-128"/>
                <a:ea typeface="Meiryo UI" panose="020B0604030504040204" pitchFamily="50" charset="-128"/>
                <a:sym typeface="Trebuchet MS" panose="020B0603020202020204" pitchFamily="34" charset="0"/>
              </a:rPr>
              <a:t>を非倫理的な行為や犯罪に悪用しないようにしてください。</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6</a:t>
            </a:fld>
            <a:endParaRPr lang="ja-JP" altLang="en-US" dirty="0"/>
          </a:p>
        </p:txBody>
      </p:sp>
    </p:spTree>
    <p:extLst>
      <p:ext uri="{BB962C8B-B14F-4D97-AF65-F5344CB8AC3E}">
        <p14:creationId xmlns:p14="http://schemas.microsoft.com/office/powerpoint/2010/main" val="4202608244"/>
      </p:ext>
    </p:extLst>
  </p:cSld>
  <p:clrMapOvr>
    <a:masterClrMapping/>
  </p:clrMapOvr>
</p:notes>
</file>

<file path=ppt/notesSlides/notesSlide6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600"/>
              </a:spcAft>
              <a:buClrTx/>
              <a:buSzTx/>
              <a:buFont typeface="Arial" panose="020B0604020202020204" pitchFamily="34" charset="0"/>
              <a:buChar char="​"/>
              <a:tabLst/>
              <a:defRPr/>
            </a:pPr>
            <a:r>
              <a:rPr kumimoji="1" lang="ja-JP" altLang="en-US" dirty="0">
                <a:latin typeface="Meiryo UI" panose="020B0604030504040204" pitchFamily="50" charset="-128"/>
                <a:ea typeface="Meiryo UI" panose="020B0604030504040204" pitchFamily="50" charset="-128"/>
              </a:rPr>
              <a:t>では、ここまでの注意すべきポイント（活用者としてのモラル）に関する理解を確認するため、問題を解いてみ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67</a:t>
            </a:fld>
            <a:endParaRPr lang="ja-JP" altLang="en-US" dirty="0"/>
          </a:p>
        </p:txBody>
      </p:sp>
    </p:spTree>
    <p:extLst>
      <p:ext uri="{BB962C8B-B14F-4D97-AF65-F5344CB8AC3E}">
        <p14:creationId xmlns:p14="http://schemas.microsoft.com/office/powerpoint/2010/main" val="3728231253"/>
      </p:ext>
    </p:extLst>
  </p:cSld>
  <p:clrMapOvr>
    <a:masterClrMapping/>
  </p:clrMapOvr>
</p:notes>
</file>

<file path=ppt/notesSlides/notesSlide6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68</a:t>
            </a:fld>
            <a:endParaRPr lang="ja-JP" altLang="en-US" dirty="0"/>
          </a:p>
        </p:txBody>
      </p:sp>
    </p:spTree>
    <p:extLst>
      <p:ext uri="{BB962C8B-B14F-4D97-AF65-F5344CB8AC3E}">
        <p14:creationId xmlns:p14="http://schemas.microsoft.com/office/powerpoint/2010/main" val="2319272131"/>
      </p:ext>
    </p:extLst>
  </p:cSld>
  <p:clrMapOvr>
    <a:masterClrMapping/>
  </p:clrMapOvr>
</p:notes>
</file>

<file path=ppt/notesSlides/notesSlide6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69</a:t>
            </a:fld>
            <a:endParaRPr lang="ja-JP" altLang="en-US" dirty="0"/>
          </a:p>
        </p:txBody>
      </p:sp>
    </p:spTree>
    <p:extLst>
      <p:ext uri="{BB962C8B-B14F-4D97-AF65-F5344CB8AC3E}">
        <p14:creationId xmlns:p14="http://schemas.microsoft.com/office/powerpoint/2010/main" val="4894438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はいくつかの特徴があり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先ほどの例では、「雨の日の旅行のアイデア」について文章を出力しましたが、そのほかにも、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種類によって、画像や動画など、幅広い形式で生成する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た、指示の文脈を理解した回答や、人間が思いつかない回答を生成することも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への指示には高度な技術は必要なく、誰でも簡単に使うことが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また、指示は文章だけでなく、画像、音声、グラフなどを入力しても、回答を得ることができ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7</a:t>
            </a:fld>
            <a:endParaRPr lang="ja-JP" altLang="en-US" dirty="0"/>
          </a:p>
        </p:txBody>
      </p:sp>
    </p:spTree>
    <p:extLst>
      <p:ext uri="{BB962C8B-B14F-4D97-AF65-F5344CB8AC3E}">
        <p14:creationId xmlns:p14="http://schemas.microsoft.com/office/powerpoint/2010/main" val="1886806852"/>
      </p:ext>
    </p:extLst>
  </p:cSld>
  <p:clrMapOvr>
    <a:masterClrMapping/>
  </p:clrMapOvr>
</p:notes>
</file>

<file path=ppt/notesSlides/notesSlide7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スライド イメージ プレースホルダー 1"/>
          <p:cNvSpPr>
            <a:spLocks noGrp="1" noRot="1" noChangeAspect="1"/>
          </p:cNvSpPr>
          <p:nvPr>
            <p:ph type="sldImg"/>
          </p:nvPr>
        </p:nvSpPr>
        <p:spPr/>
      </p:sp>
      <p:sp>
        <p:nvSpPr>
          <p:cNvPr id="3" name="ノート プレースホルダー 2"/>
          <p:cNvSpPr>
            <a:spLocks noGrp="1"/>
          </p:cNvSpPr>
          <p:nvPr>
            <p:ph type="body" idx="1"/>
          </p:nvPr>
        </p:nvSpPr>
        <p:spPr/>
        <p:txBody>
          <a:bodyPr/>
          <a:lstStyle/>
          <a:p>
            <a:r>
              <a:rPr kumimoji="1" lang="en-US" altLang="ja-JP" dirty="0"/>
              <a:t> </a:t>
            </a:r>
            <a:endParaRPr kumimoji="1" lang="ja-JP" altLang="en-US" dirty="0"/>
          </a:p>
        </p:txBody>
      </p:sp>
      <p:sp>
        <p:nvSpPr>
          <p:cNvPr id="4" name="スライド番号プレースホルダー 3"/>
          <p:cNvSpPr>
            <a:spLocks noGrp="1"/>
          </p:cNvSpPr>
          <p:nvPr>
            <p:ph type="sldNum" sz="quarter" idx="5"/>
          </p:nvPr>
        </p:nvSpPr>
        <p:spPr/>
        <p:txBody>
          <a:bodyPr/>
          <a:lstStyle/>
          <a:p>
            <a:fld id="{3A471941-587A-490A-86DD-E133D7522E9D}" type="slidenum">
              <a:rPr lang="ja-JP" altLang="en-US" smtClean="0"/>
              <a:pPr/>
              <a:t>70</a:t>
            </a:fld>
            <a:endParaRPr lang="ja-JP" altLang="en-US" dirty="0"/>
          </a:p>
        </p:txBody>
      </p:sp>
    </p:spTree>
    <p:extLst>
      <p:ext uri="{BB962C8B-B14F-4D97-AF65-F5344CB8AC3E}">
        <p14:creationId xmlns:p14="http://schemas.microsoft.com/office/powerpoint/2010/main" val="4023911490"/>
      </p:ext>
    </p:extLst>
  </p:cSld>
  <p:clrMapOvr>
    <a:masterClrMapping/>
  </p:clrMapOvr>
</p:notes>
</file>

<file path=ppt/notesSlides/notesSlide7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最後に、今回の学習内容を振り返り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71</a:t>
            </a:fld>
            <a:endParaRPr lang="ja-JP" altLang="en-US" dirty="0"/>
          </a:p>
        </p:txBody>
      </p:sp>
    </p:spTree>
    <p:extLst>
      <p:ext uri="{BB962C8B-B14F-4D97-AF65-F5344CB8AC3E}">
        <p14:creationId xmlns:p14="http://schemas.microsoft.com/office/powerpoint/2010/main" val="1589642451"/>
      </p:ext>
    </p:extLst>
  </p:cSld>
  <p:clrMapOvr>
    <a:masterClrMapping/>
  </p:clrMapOvr>
</p:notes>
</file>

<file path=ppt/notesSlides/notesSlide7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文章・画像・音声など様々なアウトプット形式で回答を生成できるツール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への指示入力にはご覧のような工夫が必要で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72</a:t>
            </a:fld>
            <a:endParaRPr lang="ja-JP" altLang="en-US" dirty="0"/>
          </a:p>
        </p:txBody>
      </p:sp>
    </p:spTree>
    <p:extLst>
      <p:ext uri="{BB962C8B-B14F-4D97-AF65-F5344CB8AC3E}">
        <p14:creationId xmlns:p14="http://schemas.microsoft.com/office/powerpoint/2010/main" val="2146138298"/>
      </p:ext>
    </p:extLst>
  </p:cSld>
  <p:clrMapOvr>
    <a:masterClrMapping/>
  </p:clrMapOvr>
</p:notes>
</file>

<file path=ppt/notesSlides/notesSlide7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活用にあたっては、情報の正確性、情報流出、知的財産権の侵害、活用者としてのモラル、それぞれについて、今回学習した内容を心がけましょう。</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73</a:t>
            </a:fld>
            <a:endParaRPr lang="ja-JP" altLang="en-US" dirty="0"/>
          </a:p>
        </p:txBody>
      </p:sp>
    </p:spTree>
    <p:extLst>
      <p:ext uri="{BB962C8B-B14F-4D97-AF65-F5344CB8AC3E}">
        <p14:creationId xmlns:p14="http://schemas.microsoft.com/office/powerpoint/2010/main" val="2219094732"/>
      </p:ext>
    </p:extLst>
  </p:cSld>
  <p:clrMapOvr>
    <a:masterClrMapping/>
  </p:clrMapOvr>
</p:notes>
</file>

<file path=ppt/notesSlides/notesSlide7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今回の学習を通して、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使い方と注意すべきポイントを理解いただけましたでしょうか？</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さまざまな場面・目的で利用可能な便利なツールです。</a:t>
            </a:r>
          </a:p>
          <a:p>
            <a:pPr>
              <a:lnSpc>
                <a:spcPct val="150000"/>
              </a:lnSpc>
            </a:pPr>
            <a:r>
              <a:rPr kumimoji="1" lang="ja-JP" altLang="en-US" dirty="0">
                <a:latin typeface="Meiryo UI" panose="020B0604030504040204" pitchFamily="50" charset="-128"/>
                <a:ea typeface="Meiryo UI" panose="020B0604030504040204" pitchFamily="50" charset="-128"/>
              </a:rPr>
              <a:t>このコンテンツで学んだことを踏まえて、ぜひ使いこなせるようになってください。</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75</a:t>
            </a:fld>
            <a:endParaRPr lang="ja-JP" altLang="en-US" dirty="0"/>
          </a:p>
        </p:txBody>
      </p:sp>
    </p:spTree>
    <p:extLst>
      <p:ext uri="{BB962C8B-B14F-4D97-AF65-F5344CB8AC3E}">
        <p14:creationId xmlns:p14="http://schemas.microsoft.com/office/powerpoint/2010/main" val="3636616454"/>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a:lnSpc>
                <a:spcPct val="150000"/>
              </a:lnSpc>
            </a:pPr>
            <a:r>
              <a:rPr kumimoji="1" lang="ja-JP" altLang="en-US" dirty="0">
                <a:latin typeface="Meiryo UI" panose="020B0604030504040204" pitchFamily="50" charset="-128"/>
                <a:ea typeface="Meiryo UI" panose="020B0604030504040204" pitchFamily="50" charset="-128"/>
              </a:rPr>
              <a:t>こちらは、「</a:t>
            </a:r>
            <a:r>
              <a:rPr kumimoji="1" lang="en-US" altLang="ja-JP" dirty="0">
                <a:latin typeface="Meiryo UI" panose="020B0604030504040204" pitchFamily="50" charset="-128"/>
                <a:ea typeface="Meiryo UI" panose="020B0604030504040204" pitchFamily="50" charset="-128"/>
              </a:rPr>
              <a:t>ChatGPT</a:t>
            </a:r>
            <a:r>
              <a:rPr kumimoji="1" lang="ja-JP" altLang="en-US" dirty="0">
                <a:latin typeface="Meiryo UI" panose="020B0604030504040204" pitchFamily="50" charset="-128"/>
                <a:ea typeface="Meiryo UI" panose="020B0604030504040204" pitchFamily="50" charset="-128"/>
              </a:rPr>
              <a:t>（チャットジーピーティー）」という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サービスに、「</a:t>
            </a:r>
            <a:r>
              <a:rPr kumimoji="1" lang="en-US" altLang="ja-JP" dirty="0">
                <a:latin typeface="Meiryo UI" panose="020B0604030504040204" pitchFamily="50" charset="-128"/>
                <a:ea typeface="Meiryo UI" panose="020B0604030504040204" pitchFamily="50" charset="-128"/>
              </a:rPr>
              <a:t>10</a:t>
            </a:r>
            <a:r>
              <a:rPr kumimoji="1" lang="ja-JP" altLang="en-US" dirty="0">
                <a:latin typeface="Meiryo UI" panose="020B0604030504040204" pitchFamily="50" charset="-128"/>
                <a:ea typeface="Meiryo UI" panose="020B0604030504040204" pitchFamily="50" charset="-128"/>
              </a:rPr>
              <a:t>歳向けに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の説明をして」と指示したところ、出力された内容で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小学生向けに分かりやすい言葉で説明されています。</a:t>
            </a:r>
            <a:endParaRPr kumimoji="1" lang="en-US" altLang="ja-JP" dirty="0">
              <a:latin typeface="Meiryo UI" panose="020B0604030504040204" pitchFamily="50" charset="-128"/>
              <a:ea typeface="Meiryo UI" panose="020B0604030504040204" pitchFamily="50" charset="-128"/>
            </a:endParaRPr>
          </a:p>
          <a:p>
            <a:pPr>
              <a:lnSpc>
                <a:spcPct val="150000"/>
              </a:lnSpc>
            </a:pP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ご覧のとおり、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コンピューターで大量の文章や絵、音楽などを学習し、それをもとに新しいものを生成できます。</a:t>
            </a:r>
            <a:endParaRPr kumimoji="1" lang="en-US" altLang="ja-JP" dirty="0">
              <a:latin typeface="Meiryo UI" panose="020B0604030504040204" pitchFamily="50" charset="-128"/>
              <a:ea typeface="Meiryo UI" panose="020B0604030504040204" pitchFamily="50" charset="-128"/>
            </a:endParaRPr>
          </a:p>
          <a:p>
            <a:pPr>
              <a:lnSpc>
                <a:spcPct val="150000"/>
              </a:lnSpc>
            </a:pPr>
            <a:r>
              <a:rPr kumimoji="1" lang="ja-JP" altLang="en-US" dirty="0">
                <a:latin typeface="Meiryo UI" panose="020B0604030504040204" pitchFamily="50" charset="-128"/>
                <a:ea typeface="Meiryo UI" panose="020B0604030504040204" pitchFamily="50" charset="-128"/>
              </a:rPr>
              <a:t>ただし、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は単なるツールであり、気を付けなければいけないポイントもあります。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を安全にうまく使いこなすことが大切です。</a:t>
            </a:r>
            <a:endParaRPr kumimoji="1" lang="en-US"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8</a:t>
            </a:fld>
            <a:endParaRPr lang="ja-JP" altLang="en-US" dirty="0"/>
          </a:p>
        </p:txBody>
      </p:sp>
    </p:spTree>
    <p:extLst>
      <p:ext uri="{BB962C8B-B14F-4D97-AF65-F5344CB8AC3E}">
        <p14:creationId xmlns:p14="http://schemas.microsoft.com/office/powerpoint/2010/main" val="304855738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50000"/>
              </a:lnSpc>
              <a:spcBef>
                <a:spcPts val="0"/>
              </a:spcBef>
              <a:spcAft>
                <a:spcPts val="0"/>
              </a:spcAft>
              <a:buClrTx/>
              <a:buSzTx/>
              <a:buFontTx/>
              <a:buNone/>
              <a:tabLst/>
              <a:defRPr/>
            </a:pPr>
            <a:r>
              <a:rPr kumimoji="1" lang="ja-JP" altLang="en-US" dirty="0">
                <a:latin typeface="Meiryo UI" panose="020B0604030504040204" pitchFamily="50" charset="-128"/>
                <a:ea typeface="Meiryo UI" panose="020B0604030504040204" pitchFamily="50" charset="-128"/>
              </a:rPr>
              <a:t>次に、生成</a:t>
            </a:r>
            <a:r>
              <a:rPr kumimoji="1" lang="en-US" altLang="ja-JP" dirty="0">
                <a:latin typeface="Meiryo UI" panose="020B0604030504040204" pitchFamily="50" charset="-128"/>
                <a:ea typeface="Meiryo UI" panose="020B0604030504040204" pitchFamily="50" charset="-128"/>
              </a:rPr>
              <a:t>AI</a:t>
            </a:r>
            <a:r>
              <a:rPr kumimoji="1" lang="ja-JP" altLang="en-US" dirty="0">
                <a:latin typeface="Meiryo UI" panose="020B0604030504040204" pitchFamily="50" charset="-128"/>
                <a:ea typeface="Meiryo UI" panose="020B0604030504040204" pitchFamily="50" charset="-128"/>
              </a:rPr>
              <a:t>による変化について学習します。</a:t>
            </a:r>
            <a:endParaRPr kumimoji="1" lang="en-US" altLang="ja-JP" dirty="0">
              <a:latin typeface="Meiryo UI" panose="020B0604030504040204" pitchFamily="50" charset="-128"/>
              <a:ea typeface="Meiryo UI" panose="020B0604030504040204" pitchFamily="50" charset="-128"/>
            </a:endParaRPr>
          </a:p>
        </p:txBody>
      </p:sp>
      <p:sp>
        <p:nvSpPr>
          <p:cNvPr id="4" name="Slide Number Placeholder 3"/>
          <p:cNvSpPr>
            <a:spLocks noGrp="1"/>
          </p:cNvSpPr>
          <p:nvPr>
            <p:ph type="sldNum" sz="quarter" idx="5"/>
          </p:nvPr>
        </p:nvSpPr>
        <p:spPr/>
        <p:txBody>
          <a:bodyPr/>
          <a:lstStyle/>
          <a:p>
            <a:fld id="{3A471941-587A-490A-86DD-E133D7522E9D}" type="slidenum">
              <a:rPr lang="ja-JP" altLang="en-US" smtClean="0"/>
              <a:pPr/>
              <a:t>9</a:t>
            </a:fld>
            <a:endParaRPr lang="ja-JP" altLang="en-US" dirty="0"/>
          </a:p>
        </p:txBody>
      </p:sp>
    </p:spTree>
    <p:extLst>
      <p:ext uri="{BB962C8B-B14F-4D97-AF65-F5344CB8AC3E}">
        <p14:creationId xmlns:p14="http://schemas.microsoft.com/office/powerpoint/2010/main" val="3077387797"/>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3.sv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表紙">
    <p:bg>
      <p:bgPr>
        <a:blipFill dpi="0" rotWithShape="1">
          <a:blip r:embed="rId2">
            <a:lum/>
            <a:extLst>
              <a:ext uri="{96DAC541-7B7A-43D3-8B79-37D633B846F1}">
                <asvg:svgBlip xmlns:asvg="http://schemas.microsoft.com/office/drawing/2016/SVG/main" r:embed="rId3"/>
              </a:ext>
            </a:extLst>
          </a:blip>
          <a:srcRect/>
          <a:stretch>
            <a:fillRect/>
          </a:stretch>
        </a:blipFill>
        <a:effectLst/>
      </p:bgPr>
    </p:bg>
    <p:spTree>
      <p:nvGrpSpPr>
        <p:cNvPr id="1" name=""/>
        <p:cNvGrpSpPr/>
        <p:nvPr/>
      </p:nvGrpSpPr>
      <p:grpSpPr>
        <a:xfrm>
          <a:off x="0" y="0"/>
          <a:ext cx="0" cy="0"/>
          <a:chOff x="0" y="0"/>
          <a:chExt cx="0" cy="0"/>
        </a:xfrm>
      </p:grpSpPr>
    </p:spTree>
    <p:extLst>
      <p:ext uri="{BB962C8B-B14F-4D97-AF65-F5344CB8AC3E}">
        <p14:creationId xmlns:p14="http://schemas.microsoft.com/office/powerpoint/2010/main" val="2673506206"/>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blank">
    <p:bg>
      <p:bgPr>
        <a:solidFill>
          <a:srgbClr val="DEF4FE"/>
        </a:solidFill>
        <a:effectLst/>
      </p:bgPr>
    </p:bg>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spTree>
    <p:extLst>
      <p:ext uri="{BB962C8B-B14F-4D97-AF65-F5344CB8AC3E}">
        <p14:creationId xmlns:p14="http://schemas.microsoft.com/office/powerpoint/2010/main" val="390982816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コンテンツ">
    <p:bg>
      <p:bgPr>
        <a:solidFill>
          <a:srgbClr val="DEF4FE"/>
        </a:solidFill>
        <a:effectLst/>
      </p:bgPr>
    </p:bg>
    <p:spTree>
      <p:nvGrpSpPr>
        <p:cNvPr id="1" name=""/>
        <p:cNvGrpSpPr/>
        <p:nvPr/>
      </p:nvGrpSpPr>
      <p:grpSpPr>
        <a:xfrm>
          <a:off x="0" y="0"/>
          <a:ext cx="0" cy="0"/>
          <a:chOff x="0" y="0"/>
          <a:chExt cx="0" cy="0"/>
        </a:xfrm>
      </p:grpSpPr>
      <p:sp>
        <p:nvSpPr>
          <p:cNvPr id="2" name="四角形: 上の 2 つの角を丸める 1">
            <a:extLst>
              <a:ext uri="{FF2B5EF4-FFF2-40B4-BE49-F238E27FC236}">
                <a16:creationId xmlns:a16="http://schemas.microsoft.com/office/drawing/2014/main" id="{0986CE2D-F644-DB58-2C45-19AA9FF3B9E4}"/>
              </a:ext>
            </a:extLst>
          </p:cNvPr>
          <p:cNvSpPr/>
          <p:nvPr userDrawn="1"/>
        </p:nvSpPr>
        <p:spPr>
          <a:xfrm rot="5400000">
            <a:off x="29682" y="393292"/>
            <a:ext cx="615553" cy="674917"/>
          </a:xfrm>
          <a:prstGeom prst="round2SameRect">
            <a:avLst>
              <a:gd name="adj1" fmla="val 50000"/>
              <a:gd name="adj2" fmla="val 0"/>
            </a:avLst>
          </a:prstGeom>
          <a:gradFill flip="none" rotWithShape="1">
            <a:gsLst>
              <a:gs pos="0">
                <a:srgbClr val="00ABDF"/>
              </a:gs>
              <a:gs pos="100000">
                <a:srgbClr val="006DF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sp>
        <p:nvSpPr>
          <p:cNvPr id="5" name="タイトル 4">
            <a:extLst>
              <a:ext uri="{FF2B5EF4-FFF2-40B4-BE49-F238E27FC236}">
                <a16:creationId xmlns:a16="http://schemas.microsoft.com/office/drawing/2014/main" id="{2F3D8060-8C47-ED4A-8A3C-94810828F946}"/>
              </a:ext>
            </a:extLst>
          </p:cNvPr>
          <p:cNvSpPr>
            <a:spLocks noGrp="1"/>
          </p:cNvSpPr>
          <p:nvPr>
            <p:ph type="title" hasCustomPrompt="1"/>
          </p:nvPr>
        </p:nvSpPr>
        <p:spPr>
          <a:xfrm>
            <a:off x="891741" y="506301"/>
            <a:ext cx="3385542" cy="492443"/>
          </a:xfrm>
        </p:spPr>
        <p:txBody>
          <a:bodyPr wrap="none" anchor="t"/>
          <a:lstStyle>
            <a:lvl1pPr>
              <a:lnSpc>
                <a:spcPct val="100000"/>
              </a:lnSpc>
              <a:defRPr sz="3200" strike="noStrike" spc="100" baseline="0"/>
            </a:lvl1pPr>
          </a:lstStyle>
          <a:p>
            <a:r>
              <a:rPr kumimoji="1" lang="ja-JP" altLang="en-US" dirty="0"/>
              <a:t>スライドタイトル</a:t>
            </a:r>
          </a:p>
        </p:txBody>
      </p:sp>
    </p:spTree>
    <p:extLst>
      <p:ext uri="{BB962C8B-B14F-4D97-AF65-F5344CB8AC3E}">
        <p14:creationId xmlns:p14="http://schemas.microsoft.com/office/powerpoint/2010/main" val="2589018141"/>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目次">
    <p:bg>
      <p:bgPr>
        <a:solidFill>
          <a:srgbClr val="DEF4FE"/>
        </a:solidFill>
        <a:effectLst/>
      </p:bgPr>
    </p:bg>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sp>
        <p:nvSpPr>
          <p:cNvPr id="2" name="四角形: 上の 2 つの角を丸める 1">
            <a:extLst>
              <a:ext uri="{FF2B5EF4-FFF2-40B4-BE49-F238E27FC236}">
                <a16:creationId xmlns:a16="http://schemas.microsoft.com/office/drawing/2014/main" id="{52DC4559-1E83-2999-6EDC-F2D776AD9E9F}"/>
              </a:ext>
            </a:extLst>
          </p:cNvPr>
          <p:cNvSpPr/>
          <p:nvPr userDrawn="1"/>
        </p:nvSpPr>
        <p:spPr>
          <a:xfrm rot="5400000">
            <a:off x="29682" y="393292"/>
            <a:ext cx="615553" cy="674917"/>
          </a:xfrm>
          <a:prstGeom prst="round2SameRect">
            <a:avLst>
              <a:gd name="adj1" fmla="val 50000"/>
              <a:gd name="adj2" fmla="val 0"/>
            </a:avLst>
          </a:prstGeom>
          <a:gradFill flip="none" rotWithShape="1">
            <a:gsLst>
              <a:gs pos="0">
                <a:srgbClr val="00ABDF"/>
              </a:gs>
              <a:gs pos="100000">
                <a:srgbClr val="006DFB"/>
              </a:gs>
            </a:gsLst>
            <a:lin ang="5400000" scaled="1"/>
            <a:tileRect/>
          </a:gra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2" name="テキスト ボックス 61">
            <a:extLst>
              <a:ext uri="{FF2B5EF4-FFF2-40B4-BE49-F238E27FC236}">
                <a16:creationId xmlns:a16="http://schemas.microsoft.com/office/drawing/2014/main" id="{7E23E11A-2B09-9F9F-909B-F04DEBE58C1D}"/>
              </a:ext>
            </a:extLst>
          </p:cNvPr>
          <p:cNvSpPr txBox="1"/>
          <p:nvPr userDrawn="1"/>
        </p:nvSpPr>
        <p:spPr>
          <a:xfrm>
            <a:off x="891741" y="506301"/>
            <a:ext cx="820738" cy="492443"/>
          </a:xfrm>
          <a:prstGeom prst="rect">
            <a:avLst/>
          </a:prstGeom>
          <a:noFill/>
        </p:spPr>
        <p:txBody>
          <a:bodyPr wrap="none" lIns="0" tIns="0" rIns="0" bIns="0" rtlCol="0" anchor="ctr">
            <a:spAutoFit/>
          </a:bodyPr>
          <a:lstStyle/>
          <a:p>
            <a:r>
              <a:rPr kumimoji="1" lang="ja-JP" altLang="en-US" sz="3200" dirty="0">
                <a:latin typeface="+mj-ea"/>
                <a:ea typeface="+mj-ea"/>
              </a:rPr>
              <a:t>目次</a:t>
            </a:r>
          </a:p>
        </p:txBody>
      </p:sp>
    </p:spTree>
    <p:extLst>
      <p:ext uri="{BB962C8B-B14F-4D97-AF65-F5344CB8AC3E}">
        <p14:creationId xmlns:p14="http://schemas.microsoft.com/office/powerpoint/2010/main" val="2762021741"/>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事例">
    <p:bg>
      <p:bgPr>
        <a:solidFill>
          <a:srgbClr val="DEF4FE"/>
        </a:solidFill>
        <a:effectLst/>
      </p:bgPr>
    </p:bg>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sp>
        <p:nvSpPr>
          <p:cNvPr id="16" name="四角形: 角を丸くする 15">
            <a:extLst>
              <a:ext uri="{FF2B5EF4-FFF2-40B4-BE49-F238E27FC236}">
                <a16:creationId xmlns:a16="http://schemas.microsoft.com/office/drawing/2014/main" id="{A1DF8F68-DD6D-CDCB-0E73-0B0676F288C6}"/>
              </a:ext>
            </a:extLst>
          </p:cNvPr>
          <p:cNvSpPr/>
          <p:nvPr userDrawn="1"/>
        </p:nvSpPr>
        <p:spPr>
          <a:xfrm>
            <a:off x="701276" y="594944"/>
            <a:ext cx="16794599" cy="1307026"/>
          </a:xfrm>
          <a:prstGeom prst="roundRect">
            <a:avLst>
              <a:gd name="adj" fmla="val 50000"/>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2" name="グループ化 1">
            <a:extLst>
              <a:ext uri="{FF2B5EF4-FFF2-40B4-BE49-F238E27FC236}">
                <a16:creationId xmlns:a16="http://schemas.microsoft.com/office/drawing/2014/main" id="{37270F74-3185-53EE-C205-605691A9D544}"/>
              </a:ext>
            </a:extLst>
          </p:cNvPr>
          <p:cNvGrpSpPr/>
          <p:nvPr userDrawn="1"/>
        </p:nvGrpSpPr>
        <p:grpSpPr>
          <a:xfrm>
            <a:off x="510185" y="361229"/>
            <a:ext cx="1654310" cy="1743010"/>
            <a:chOff x="510185" y="361229"/>
            <a:chExt cx="1654310" cy="1743010"/>
          </a:xfrm>
        </p:grpSpPr>
        <p:sp>
          <p:nvSpPr>
            <p:cNvPr id="18" name="正方形/長方形 17">
              <a:extLst>
                <a:ext uri="{FF2B5EF4-FFF2-40B4-BE49-F238E27FC236}">
                  <a16:creationId xmlns:a16="http://schemas.microsoft.com/office/drawing/2014/main" id="{20DD3B19-4D1F-16D2-C00A-A753FFDCAA0F}"/>
                </a:ext>
              </a:extLst>
            </p:cNvPr>
            <p:cNvSpPr/>
            <p:nvPr userDrawn="1"/>
          </p:nvSpPr>
          <p:spPr>
            <a:xfrm>
              <a:off x="792124" y="361229"/>
              <a:ext cx="1119433" cy="1743010"/>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a:extLst>
                <a:ext uri="{FF2B5EF4-FFF2-40B4-BE49-F238E27FC236}">
                  <a16:creationId xmlns:a16="http://schemas.microsoft.com/office/drawing/2014/main" id="{977E3244-1080-2975-F414-B820DDB1763B}"/>
                </a:ext>
              </a:extLst>
            </p:cNvPr>
            <p:cNvSpPr>
              <a:spLocks noChangeAspect="1"/>
            </p:cNvSpPr>
            <p:nvPr userDrawn="1"/>
          </p:nvSpPr>
          <p:spPr>
            <a:xfrm>
              <a:off x="510185" y="420457"/>
              <a:ext cx="1654310" cy="1656000"/>
            </a:xfrm>
            <a:prstGeom prst="ellipse">
              <a:avLst/>
            </a:prstGeom>
            <a:gradFill flip="none" rotWithShape="1">
              <a:gsLst>
                <a:gs pos="0">
                  <a:srgbClr val="00ABDF"/>
                </a:gs>
                <a:gs pos="100000">
                  <a:srgbClr val="006DFB"/>
                </a:gs>
              </a:gsLst>
              <a:lin ang="13500000" scaled="1"/>
              <a:tileRect/>
            </a:gra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72000" tIns="0" rIns="0" bIns="0" rtlCol="0" anchor="ctr">
              <a:noAutofit/>
            </a:bodyPr>
            <a:lstStyle/>
            <a:p>
              <a:pPr algn="ctr"/>
              <a:r>
                <a:rPr kumimoji="1" lang="ja-JP" altLang="en-US" sz="3600" spc="600" dirty="0">
                  <a:solidFill>
                    <a:schemeClr val="bg1"/>
                  </a:solidFill>
                  <a:latin typeface="+mj-ea"/>
                  <a:ea typeface="+mj-ea"/>
                </a:rPr>
                <a:t>事例</a:t>
              </a:r>
            </a:p>
          </p:txBody>
        </p:sp>
      </p:grpSp>
    </p:spTree>
    <p:extLst>
      <p:ext uri="{BB962C8B-B14F-4D97-AF65-F5344CB8AC3E}">
        <p14:creationId xmlns:p14="http://schemas.microsoft.com/office/powerpoint/2010/main" val="207067241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理解度チェック_基本">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grpSp>
        <p:nvGrpSpPr>
          <p:cNvPr id="25" name="グループ化 24">
            <a:extLst>
              <a:ext uri="{FF2B5EF4-FFF2-40B4-BE49-F238E27FC236}">
                <a16:creationId xmlns:a16="http://schemas.microsoft.com/office/drawing/2014/main" id="{2884885C-E1BE-840C-B7FB-BFFE092F2475}"/>
              </a:ext>
            </a:extLst>
          </p:cNvPr>
          <p:cNvGrpSpPr/>
          <p:nvPr userDrawn="1"/>
        </p:nvGrpSpPr>
        <p:grpSpPr>
          <a:xfrm>
            <a:off x="0" y="0"/>
            <a:ext cx="7353300" cy="10285413"/>
            <a:chOff x="0" y="0"/>
            <a:chExt cx="7353300" cy="10285413"/>
          </a:xfrm>
        </p:grpSpPr>
        <p:sp>
          <p:nvSpPr>
            <p:cNvPr id="23" name="正方形/長方形 22">
              <a:extLst>
                <a:ext uri="{FF2B5EF4-FFF2-40B4-BE49-F238E27FC236}">
                  <a16:creationId xmlns:a16="http://schemas.microsoft.com/office/drawing/2014/main" id="{A578699D-968B-CD9B-E41F-C7853B2AC874}"/>
                </a:ext>
              </a:extLst>
            </p:cNvPr>
            <p:cNvSpPr/>
            <p:nvPr/>
          </p:nvSpPr>
          <p:spPr>
            <a:xfrm>
              <a:off x="0" y="0"/>
              <a:ext cx="7353300" cy="10285413"/>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図形 21">
              <a:extLst>
                <a:ext uri="{FF2B5EF4-FFF2-40B4-BE49-F238E27FC236}">
                  <a16:creationId xmlns:a16="http://schemas.microsoft.com/office/drawing/2014/main" id="{78367ACB-B988-9427-076F-FAB73E6A6F44}"/>
                </a:ext>
              </a:extLst>
            </p:cNvPr>
            <p:cNvSpPr/>
            <p:nvPr/>
          </p:nvSpPr>
          <p:spPr>
            <a:xfrm>
              <a:off x="3490179" y="6546317"/>
              <a:ext cx="3122964" cy="3339174"/>
            </a:xfrm>
            <a:custGeom>
              <a:avLst/>
              <a:gdLst>
                <a:gd name="connsiteX0" fmla="*/ 1556175 w 2968024"/>
                <a:gd name="connsiteY0" fmla="*/ 0 h 3173508"/>
                <a:gd name="connsiteX1" fmla="*/ 2578595 w 2968024"/>
                <a:gd name="connsiteY1" fmla="*/ 386137 h 3173508"/>
                <a:gd name="connsiteX2" fmla="*/ 2968024 w 2968024"/>
                <a:gd name="connsiteY2" fmla="*/ 1398728 h 3173508"/>
                <a:gd name="connsiteX3" fmla="*/ 2849539 w 2968024"/>
                <a:gd name="connsiteY3" fmla="*/ 2048678 h 3173508"/>
                <a:gd name="connsiteX4" fmla="*/ 2491896 w 2968024"/>
                <a:gd name="connsiteY4" fmla="*/ 2596816 h 3173508"/>
                <a:gd name="connsiteX5" fmla="*/ 2810772 w 2968024"/>
                <a:gd name="connsiteY5" fmla="*/ 3007394 h 3173508"/>
                <a:gd name="connsiteX6" fmla="*/ 2347747 w 2968024"/>
                <a:gd name="connsiteY6" fmla="*/ 3173508 h 3173508"/>
                <a:gd name="connsiteX7" fmla="*/ 2115967 w 2968024"/>
                <a:gd name="connsiteY7" fmla="*/ 2871990 h 3173508"/>
                <a:gd name="connsiteX8" fmla="*/ 1779217 w 2968024"/>
                <a:gd name="connsiteY8" fmla="*/ 2991560 h 3173508"/>
                <a:gd name="connsiteX9" fmla="*/ 1416226 w 2968024"/>
                <a:gd name="connsiteY9" fmla="*/ 3029232 h 3173508"/>
                <a:gd name="connsiteX10" fmla="*/ 391614 w 2968024"/>
                <a:gd name="connsiteY10" fmla="*/ 2638729 h 3173508"/>
                <a:gd name="connsiteX11" fmla="*/ 0 w 2968024"/>
                <a:gd name="connsiteY11" fmla="*/ 1621764 h 3173508"/>
                <a:gd name="connsiteX12" fmla="*/ 203249 w 2968024"/>
                <a:gd name="connsiteY12" fmla="*/ 783419 h 3173508"/>
                <a:gd name="connsiteX13" fmla="*/ 752315 w 2968024"/>
                <a:gd name="connsiteY13" fmla="*/ 211514 h 3173508"/>
                <a:gd name="connsiteX14" fmla="*/ 1556175 w 2968024"/>
                <a:gd name="connsiteY14" fmla="*/ 0 h 3173508"/>
                <a:gd name="connsiteX15" fmla="*/ 1569295 w 2968024"/>
                <a:gd name="connsiteY15" fmla="*/ 580926 h 3173508"/>
                <a:gd name="connsiteX16" fmla="*/ 891968 w 2968024"/>
                <a:gd name="connsiteY16" fmla="*/ 874483 h 3173508"/>
                <a:gd name="connsiteX17" fmla="*/ 624646 w 2968024"/>
                <a:gd name="connsiteY17" fmla="*/ 1617390 h 3173508"/>
                <a:gd name="connsiteX18" fmla="*/ 850968 w 2968024"/>
                <a:gd name="connsiteY18" fmla="*/ 2219804 h 3173508"/>
                <a:gd name="connsiteX19" fmla="*/ 1451214 w 2968024"/>
                <a:gd name="connsiteY19" fmla="*/ 2448306 h 3173508"/>
                <a:gd name="connsiteX20" fmla="*/ 1601002 w 2968024"/>
                <a:gd name="connsiteY20" fmla="*/ 2436826 h 3173508"/>
                <a:gd name="connsiteX21" fmla="*/ 1744230 w 2968024"/>
                <a:gd name="connsiteY21" fmla="*/ 2395828 h 3173508"/>
                <a:gd name="connsiteX22" fmla="*/ 1429347 w 2968024"/>
                <a:gd name="connsiteY22" fmla="*/ 1989116 h 3173508"/>
                <a:gd name="connsiteX23" fmla="*/ 1888551 w 2968024"/>
                <a:gd name="connsiteY23" fmla="*/ 1822932 h 3173508"/>
                <a:gd name="connsiteX24" fmla="*/ 2111593 w 2968024"/>
                <a:gd name="connsiteY24" fmla="*/ 2111567 h 3173508"/>
                <a:gd name="connsiteX25" fmla="*/ 2286526 w 2968024"/>
                <a:gd name="connsiteY25" fmla="*/ 1781933 h 3173508"/>
                <a:gd name="connsiteX26" fmla="*/ 2343378 w 2968024"/>
                <a:gd name="connsiteY26" fmla="*/ 1416221 h 3173508"/>
                <a:gd name="connsiteX27" fmla="*/ 2130178 w 2968024"/>
                <a:gd name="connsiteY27" fmla="*/ 811618 h 3173508"/>
                <a:gd name="connsiteX28" fmla="*/ 1569295 w 2968024"/>
                <a:gd name="connsiteY28" fmla="*/ 580926 h 317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68024" h="3173508">
                  <a:moveTo>
                    <a:pt x="1556175" y="0"/>
                  </a:moveTo>
                  <a:cubicBezTo>
                    <a:pt x="1984247" y="6076"/>
                    <a:pt x="2325054" y="134788"/>
                    <a:pt x="2578595" y="386137"/>
                  </a:cubicBezTo>
                  <a:cubicBezTo>
                    <a:pt x="2832137" y="637485"/>
                    <a:pt x="2961946" y="975016"/>
                    <a:pt x="2968024" y="1398728"/>
                  </a:cubicBezTo>
                  <a:cubicBezTo>
                    <a:pt x="2968115" y="1632609"/>
                    <a:pt x="2928620" y="1849260"/>
                    <a:pt x="2849539" y="2048678"/>
                  </a:cubicBezTo>
                  <a:cubicBezTo>
                    <a:pt x="2770458" y="2248098"/>
                    <a:pt x="2651243" y="2430810"/>
                    <a:pt x="2491896" y="2596816"/>
                  </a:cubicBezTo>
                  <a:lnTo>
                    <a:pt x="2810772" y="3007394"/>
                  </a:lnTo>
                  <a:lnTo>
                    <a:pt x="2347747" y="3173508"/>
                  </a:lnTo>
                  <a:lnTo>
                    <a:pt x="2115967" y="2871990"/>
                  </a:lnTo>
                  <a:cubicBezTo>
                    <a:pt x="2003717" y="2926315"/>
                    <a:pt x="1891467" y="2966172"/>
                    <a:pt x="1779217" y="2991560"/>
                  </a:cubicBezTo>
                  <a:cubicBezTo>
                    <a:pt x="1666967" y="3016948"/>
                    <a:pt x="1545970" y="3029506"/>
                    <a:pt x="1416226" y="3029232"/>
                  </a:cubicBezTo>
                  <a:cubicBezTo>
                    <a:pt x="987969" y="3022793"/>
                    <a:pt x="646432" y="2892625"/>
                    <a:pt x="391614" y="2638729"/>
                  </a:cubicBezTo>
                  <a:cubicBezTo>
                    <a:pt x="136798" y="2384832"/>
                    <a:pt x="6259" y="2045844"/>
                    <a:pt x="0" y="1621764"/>
                  </a:cubicBezTo>
                  <a:cubicBezTo>
                    <a:pt x="2528" y="1305738"/>
                    <a:pt x="70278" y="1026290"/>
                    <a:pt x="203249" y="783419"/>
                  </a:cubicBezTo>
                  <a:cubicBezTo>
                    <a:pt x="336220" y="540548"/>
                    <a:pt x="519242" y="349912"/>
                    <a:pt x="752315" y="211514"/>
                  </a:cubicBezTo>
                  <a:cubicBezTo>
                    <a:pt x="985388" y="73114"/>
                    <a:pt x="1253341" y="2610"/>
                    <a:pt x="1556175" y="0"/>
                  </a:cubicBezTo>
                  <a:close/>
                  <a:moveTo>
                    <a:pt x="1569295" y="580926"/>
                  </a:moveTo>
                  <a:cubicBezTo>
                    <a:pt x="1290765" y="586666"/>
                    <a:pt x="1064990" y="684518"/>
                    <a:pt x="891968" y="874483"/>
                  </a:cubicBezTo>
                  <a:cubicBezTo>
                    <a:pt x="718947" y="1064447"/>
                    <a:pt x="629839" y="1312083"/>
                    <a:pt x="624646" y="1617390"/>
                  </a:cubicBezTo>
                  <a:cubicBezTo>
                    <a:pt x="627926" y="1870127"/>
                    <a:pt x="703366" y="2070932"/>
                    <a:pt x="850968" y="2219804"/>
                  </a:cubicBezTo>
                  <a:cubicBezTo>
                    <a:pt x="998569" y="2368677"/>
                    <a:pt x="1198651" y="2444844"/>
                    <a:pt x="1451214" y="2448306"/>
                  </a:cubicBezTo>
                  <a:cubicBezTo>
                    <a:pt x="1508250" y="2448580"/>
                    <a:pt x="1558179" y="2444753"/>
                    <a:pt x="1601002" y="2436826"/>
                  </a:cubicBezTo>
                  <a:cubicBezTo>
                    <a:pt x="1643824" y="2428900"/>
                    <a:pt x="1691567" y="2415234"/>
                    <a:pt x="1744230" y="2395828"/>
                  </a:cubicBezTo>
                  <a:lnTo>
                    <a:pt x="1429347" y="1989116"/>
                  </a:lnTo>
                  <a:lnTo>
                    <a:pt x="1888551" y="1822932"/>
                  </a:lnTo>
                  <a:lnTo>
                    <a:pt x="2111593" y="2111567"/>
                  </a:lnTo>
                  <a:cubicBezTo>
                    <a:pt x="2190132" y="2006882"/>
                    <a:pt x="2248443" y="1897004"/>
                    <a:pt x="2286526" y="1781933"/>
                  </a:cubicBezTo>
                  <a:cubicBezTo>
                    <a:pt x="2324610" y="1666862"/>
                    <a:pt x="2343561" y="1544958"/>
                    <a:pt x="2343378" y="1416221"/>
                  </a:cubicBezTo>
                  <a:cubicBezTo>
                    <a:pt x="2340098" y="1163302"/>
                    <a:pt x="2269032" y="961767"/>
                    <a:pt x="2130178" y="811618"/>
                  </a:cubicBezTo>
                  <a:cubicBezTo>
                    <a:pt x="1991325" y="661468"/>
                    <a:pt x="1804364" y="584571"/>
                    <a:pt x="1569295" y="580926"/>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grpSp>
      <p:grpSp>
        <p:nvGrpSpPr>
          <p:cNvPr id="51" name="グループ化 50">
            <a:extLst>
              <a:ext uri="{FF2B5EF4-FFF2-40B4-BE49-F238E27FC236}">
                <a16:creationId xmlns:a16="http://schemas.microsoft.com/office/drawing/2014/main" id="{12C057BE-E514-65B4-7845-8584DCECD984}"/>
              </a:ext>
            </a:extLst>
          </p:cNvPr>
          <p:cNvGrpSpPr/>
          <p:nvPr userDrawn="1"/>
        </p:nvGrpSpPr>
        <p:grpSpPr>
          <a:xfrm>
            <a:off x="510185" y="361229"/>
            <a:ext cx="6262819" cy="1743010"/>
            <a:chOff x="510185" y="361229"/>
            <a:chExt cx="6262819" cy="1743010"/>
          </a:xfrm>
        </p:grpSpPr>
        <p:grpSp>
          <p:nvGrpSpPr>
            <p:cNvPr id="45" name="グループ化 44">
              <a:extLst>
                <a:ext uri="{FF2B5EF4-FFF2-40B4-BE49-F238E27FC236}">
                  <a16:creationId xmlns:a16="http://schemas.microsoft.com/office/drawing/2014/main" id="{B1621D64-8301-EAF1-A91B-5B9E4181AE6B}"/>
                </a:ext>
              </a:extLst>
            </p:cNvPr>
            <p:cNvGrpSpPr/>
            <p:nvPr/>
          </p:nvGrpSpPr>
          <p:grpSpPr>
            <a:xfrm>
              <a:off x="701276" y="602191"/>
              <a:ext cx="6071728" cy="1307026"/>
              <a:chOff x="701276" y="594944"/>
              <a:chExt cx="6071728" cy="1307026"/>
            </a:xfrm>
          </p:grpSpPr>
          <p:sp>
            <p:nvSpPr>
              <p:cNvPr id="48" name="四角形: 角を丸くする 47">
                <a:extLst>
                  <a:ext uri="{FF2B5EF4-FFF2-40B4-BE49-F238E27FC236}">
                    <a16:creationId xmlns:a16="http://schemas.microsoft.com/office/drawing/2014/main" id="{FD316890-5E03-F6FB-AB13-F7BB0C604A58}"/>
                  </a:ext>
                </a:extLst>
              </p:cNvPr>
              <p:cNvSpPr/>
              <p:nvPr/>
            </p:nvSpPr>
            <p:spPr>
              <a:xfrm>
                <a:off x="701276" y="594944"/>
                <a:ext cx="6071728" cy="1307026"/>
              </a:xfrm>
              <a:prstGeom prst="roundRect">
                <a:avLst>
                  <a:gd name="adj" fmla="val 50000"/>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テキスト ボックス 48">
                <a:extLst>
                  <a:ext uri="{FF2B5EF4-FFF2-40B4-BE49-F238E27FC236}">
                    <a16:creationId xmlns:a16="http://schemas.microsoft.com/office/drawing/2014/main" id="{2F376F24-9062-88D0-6E56-398F9D9C4570}"/>
                  </a:ext>
                </a:extLst>
              </p:cNvPr>
              <p:cNvSpPr txBox="1"/>
              <p:nvPr/>
            </p:nvSpPr>
            <p:spPr>
              <a:xfrm>
                <a:off x="3282559" y="971458"/>
                <a:ext cx="1897955"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基本問題</a:t>
                </a:r>
              </a:p>
            </p:txBody>
          </p:sp>
        </p:grpSp>
        <p:sp>
          <p:nvSpPr>
            <p:cNvPr id="50" name="正方形/長方形 49">
              <a:extLst>
                <a:ext uri="{FF2B5EF4-FFF2-40B4-BE49-F238E27FC236}">
                  <a16:creationId xmlns:a16="http://schemas.microsoft.com/office/drawing/2014/main" id="{EE0F4794-FA96-8A46-1192-9EF87113D3F2}"/>
                </a:ext>
              </a:extLst>
            </p:cNvPr>
            <p:cNvSpPr/>
            <p:nvPr/>
          </p:nvSpPr>
          <p:spPr>
            <a:xfrm>
              <a:off x="792124" y="361229"/>
              <a:ext cx="1119433" cy="1743010"/>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楕円 46">
              <a:extLst>
                <a:ext uri="{FF2B5EF4-FFF2-40B4-BE49-F238E27FC236}">
                  <a16:creationId xmlns:a16="http://schemas.microsoft.com/office/drawing/2014/main" id="{C6B12A91-F939-8167-622E-88CD02ECA83B}"/>
                </a:ext>
              </a:extLst>
            </p:cNvPr>
            <p:cNvSpPr>
              <a:spLocks noChangeAspect="1"/>
            </p:cNvSpPr>
            <p:nvPr/>
          </p:nvSpPr>
          <p:spPr>
            <a:xfrm>
              <a:off x="510185" y="427704"/>
              <a:ext cx="1654310" cy="1656000"/>
            </a:xfrm>
            <a:prstGeom prst="ellipse">
              <a:avLst/>
            </a:prstGeom>
            <a:gradFill flip="none" rotWithShape="1">
              <a:gsLst>
                <a:gs pos="0">
                  <a:srgbClr val="00ABDF"/>
                </a:gs>
                <a:gs pos="100000">
                  <a:srgbClr val="006DFB"/>
                </a:gs>
              </a:gsLst>
              <a:lin ang="13500000" scaled="1"/>
              <a:tileRect/>
            </a:gra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72000" tIns="0" rIns="0" bIns="0" rtlCol="0" anchor="ctr">
              <a:noAutofit/>
            </a:bodyPr>
            <a:lstStyle/>
            <a:p>
              <a:pPr algn="ctr"/>
              <a:r>
                <a:rPr kumimoji="1" lang="ja-JP" altLang="en-US" sz="2600" spc="100" dirty="0">
                  <a:latin typeface="+mj-ea"/>
                  <a:ea typeface="+mj-ea"/>
                </a:rPr>
                <a:t>理解度</a:t>
              </a:r>
              <a:br>
                <a:rPr kumimoji="1" lang="en-US" altLang="ja-JP" sz="2600" spc="100" dirty="0">
                  <a:latin typeface="+mj-ea"/>
                  <a:ea typeface="+mj-ea"/>
                </a:rPr>
              </a:br>
              <a:r>
                <a:rPr kumimoji="1" lang="ja-JP" altLang="en-US" sz="2600" spc="100" dirty="0">
                  <a:latin typeface="+mj-ea"/>
                  <a:ea typeface="+mj-ea"/>
                </a:rPr>
                <a:t>チェック</a:t>
              </a:r>
            </a:p>
          </p:txBody>
        </p:sp>
      </p:grpSp>
      <p:cxnSp>
        <p:nvCxnSpPr>
          <p:cNvPr id="2" name="直線コネクタ 1">
            <a:extLst>
              <a:ext uri="{FF2B5EF4-FFF2-40B4-BE49-F238E27FC236}">
                <a16:creationId xmlns:a16="http://schemas.microsoft.com/office/drawing/2014/main" id="{EC551E35-934F-29A4-73F4-77111ACBE613}"/>
              </a:ext>
            </a:extLst>
          </p:cNvPr>
          <p:cNvCxnSpPr>
            <a:cxnSpLocks/>
          </p:cNvCxnSpPr>
          <p:nvPr userDrawn="1"/>
        </p:nvCxnSpPr>
        <p:spPr>
          <a:xfrm>
            <a:off x="7868492" y="2796971"/>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F885D695-E473-C602-6D13-D07A9BF43DF3}"/>
              </a:ext>
            </a:extLst>
          </p:cNvPr>
          <p:cNvCxnSpPr>
            <a:cxnSpLocks/>
          </p:cNvCxnSpPr>
          <p:nvPr userDrawn="1"/>
        </p:nvCxnSpPr>
        <p:spPr>
          <a:xfrm>
            <a:off x="7868492" y="5142707"/>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FADC5023-5BD2-A7C4-8AFF-689EBD87FA78}"/>
              </a:ext>
            </a:extLst>
          </p:cNvPr>
          <p:cNvCxnSpPr>
            <a:cxnSpLocks/>
          </p:cNvCxnSpPr>
          <p:nvPr userDrawn="1"/>
        </p:nvCxnSpPr>
        <p:spPr>
          <a:xfrm>
            <a:off x="7868492" y="7488443"/>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34727496"/>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理解度チェック_応用">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grpSp>
        <p:nvGrpSpPr>
          <p:cNvPr id="25" name="グループ化 24">
            <a:extLst>
              <a:ext uri="{FF2B5EF4-FFF2-40B4-BE49-F238E27FC236}">
                <a16:creationId xmlns:a16="http://schemas.microsoft.com/office/drawing/2014/main" id="{2884885C-E1BE-840C-B7FB-BFFE092F2475}"/>
              </a:ext>
            </a:extLst>
          </p:cNvPr>
          <p:cNvGrpSpPr/>
          <p:nvPr userDrawn="1"/>
        </p:nvGrpSpPr>
        <p:grpSpPr>
          <a:xfrm>
            <a:off x="0" y="0"/>
            <a:ext cx="7353300" cy="10285413"/>
            <a:chOff x="0" y="0"/>
            <a:chExt cx="7353300" cy="10285413"/>
          </a:xfrm>
        </p:grpSpPr>
        <p:sp>
          <p:nvSpPr>
            <p:cNvPr id="23" name="正方形/長方形 22">
              <a:extLst>
                <a:ext uri="{FF2B5EF4-FFF2-40B4-BE49-F238E27FC236}">
                  <a16:creationId xmlns:a16="http://schemas.microsoft.com/office/drawing/2014/main" id="{A578699D-968B-CD9B-E41F-C7853B2AC874}"/>
                </a:ext>
              </a:extLst>
            </p:cNvPr>
            <p:cNvSpPr/>
            <p:nvPr/>
          </p:nvSpPr>
          <p:spPr>
            <a:xfrm>
              <a:off x="0" y="0"/>
              <a:ext cx="7353300" cy="10285413"/>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フリーフォーム: 図形 21">
              <a:extLst>
                <a:ext uri="{FF2B5EF4-FFF2-40B4-BE49-F238E27FC236}">
                  <a16:creationId xmlns:a16="http://schemas.microsoft.com/office/drawing/2014/main" id="{78367ACB-B988-9427-076F-FAB73E6A6F44}"/>
                </a:ext>
              </a:extLst>
            </p:cNvPr>
            <p:cNvSpPr/>
            <p:nvPr/>
          </p:nvSpPr>
          <p:spPr>
            <a:xfrm>
              <a:off x="3490179" y="6546317"/>
              <a:ext cx="3122964" cy="3339174"/>
            </a:xfrm>
            <a:custGeom>
              <a:avLst/>
              <a:gdLst>
                <a:gd name="connsiteX0" fmla="*/ 1556175 w 2968024"/>
                <a:gd name="connsiteY0" fmla="*/ 0 h 3173508"/>
                <a:gd name="connsiteX1" fmla="*/ 2578595 w 2968024"/>
                <a:gd name="connsiteY1" fmla="*/ 386137 h 3173508"/>
                <a:gd name="connsiteX2" fmla="*/ 2968024 w 2968024"/>
                <a:gd name="connsiteY2" fmla="*/ 1398728 h 3173508"/>
                <a:gd name="connsiteX3" fmla="*/ 2849539 w 2968024"/>
                <a:gd name="connsiteY3" fmla="*/ 2048678 h 3173508"/>
                <a:gd name="connsiteX4" fmla="*/ 2491896 w 2968024"/>
                <a:gd name="connsiteY4" fmla="*/ 2596816 h 3173508"/>
                <a:gd name="connsiteX5" fmla="*/ 2810772 w 2968024"/>
                <a:gd name="connsiteY5" fmla="*/ 3007394 h 3173508"/>
                <a:gd name="connsiteX6" fmla="*/ 2347747 w 2968024"/>
                <a:gd name="connsiteY6" fmla="*/ 3173508 h 3173508"/>
                <a:gd name="connsiteX7" fmla="*/ 2115967 w 2968024"/>
                <a:gd name="connsiteY7" fmla="*/ 2871990 h 3173508"/>
                <a:gd name="connsiteX8" fmla="*/ 1779217 w 2968024"/>
                <a:gd name="connsiteY8" fmla="*/ 2991560 h 3173508"/>
                <a:gd name="connsiteX9" fmla="*/ 1416226 w 2968024"/>
                <a:gd name="connsiteY9" fmla="*/ 3029232 h 3173508"/>
                <a:gd name="connsiteX10" fmla="*/ 391614 w 2968024"/>
                <a:gd name="connsiteY10" fmla="*/ 2638729 h 3173508"/>
                <a:gd name="connsiteX11" fmla="*/ 0 w 2968024"/>
                <a:gd name="connsiteY11" fmla="*/ 1621764 h 3173508"/>
                <a:gd name="connsiteX12" fmla="*/ 203249 w 2968024"/>
                <a:gd name="connsiteY12" fmla="*/ 783419 h 3173508"/>
                <a:gd name="connsiteX13" fmla="*/ 752315 w 2968024"/>
                <a:gd name="connsiteY13" fmla="*/ 211514 h 3173508"/>
                <a:gd name="connsiteX14" fmla="*/ 1556175 w 2968024"/>
                <a:gd name="connsiteY14" fmla="*/ 0 h 3173508"/>
                <a:gd name="connsiteX15" fmla="*/ 1569295 w 2968024"/>
                <a:gd name="connsiteY15" fmla="*/ 580926 h 3173508"/>
                <a:gd name="connsiteX16" fmla="*/ 891968 w 2968024"/>
                <a:gd name="connsiteY16" fmla="*/ 874483 h 3173508"/>
                <a:gd name="connsiteX17" fmla="*/ 624646 w 2968024"/>
                <a:gd name="connsiteY17" fmla="*/ 1617390 h 3173508"/>
                <a:gd name="connsiteX18" fmla="*/ 850968 w 2968024"/>
                <a:gd name="connsiteY18" fmla="*/ 2219804 h 3173508"/>
                <a:gd name="connsiteX19" fmla="*/ 1451214 w 2968024"/>
                <a:gd name="connsiteY19" fmla="*/ 2448306 h 3173508"/>
                <a:gd name="connsiteX20" fmla="*/ 1601002 w 2968024"/>
                <a:gd name="connsiteY20" fmla="*/ 2436826 h 3173508"/>
                <a:gd name="connsiteX21" fmla="*/ 1744230 w 2968024"/>
                <a:gd name="connsiteY21" fmla="*/ 2395828 h 3173508"/>
                <a:gd name="connsiteX22" fmla="*/ 1429347 w 2968024"/>
                <a:gd name="connsiteY22" fmla="*/ 1989116 h 3173508"/>
                <a:gd name="connsiteX23" fmla="*/ 1888551 w 2968024"/>
                <a:gd name="connsiteY23" fmla="*/ 1822932 h 3173508"/>
                <a:gd name="connsiteX24" fmla="*/ 2111593 w 2968024"/>
                <a:gd name="connsiteY24" fmla="*/ 2111567 h 3173508"/>
                <a:gd name="connsiteX25" fmla="*/ 2286526 w 2968024"/>
                <a:gd name="connsiteY25" fmla="*/ 1781933 h 3173508"/>
                <a:gd name="connsiteX26" fmla="*/ 2343378 w 2968024"/>
                <a:gd name="connsiteY26" fmla="*/ 1416221 h 3173508"/>
                <a:gd name="connsiteX27" fmla="*/ 2130178 w 2968024"/>
                <a:gd name="connsiteY27" fmla="*/ 811618 h 3173508"/>
                <a:gd name="connsiteX28" fmla="*/ 1569295 w 2968024"/>
                <a:gd name="connsiteY28" fmla="*/ 580926 h 31735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968024" h="3173508">
                  <a:moveTo>
                    <a:pt x="1556175" y="0"/>
                  </a:moveTo>
                  <a:cubicBezTo>
                    <a:pt x="1984247" y="6076"/>
                    <a:pt x="2325054" y="134788"/>
                    <a:pt x="2578595" y="386137"/>
                  </a:cubicBezTo>
                  <a:cubicBezTo>
                    <a:pt x="2832137" y="637485"/>
                    <a:pt x="2961946" y="975016"/>
                    <a:pt x="2968024" y="1398728"/>
                  </a:cubicBezTo>
                  <a:cubicBezTo>
                    <a:pt x="2968115" y="1632609"/>
                    <a:pt x="2928620" y="1849260"/>
                    <a:pt x="2849539" y="2048678"/>
                  </a:cubicBezTo>
                  <a:cubicBezTo>
                    <a:pt x="2770458" y="2248098"/>
                    <a:pt x="2651243" y="2430810"/>
                    <a:pt x="2491896" y="2596816"/>
                  </a:cubicBezTo>
                  <a:lnTo>
                    <a:pt x="2810772" y="3007394"/>
                  </a:lnTo>
                  <a:lnTo>
                    <a:pt x="2347747" y="3173508"/>
                  </a:lnTo>
                  <a:lnTo>
                    <a:pt x="2115967" y="2871990"/>
                  </a:lnTo>
                  <a:cubicBezTo>
                    <a:pt x="2003717" y="2926315"/>
                    <a:pt x="1891467" y="2966172"/>
                    <a:pt x="1779217" y="2991560"/>
                  </a:cubicBezTo>
                  <a:cubicBezTo>
                    <a:pt x="1666967" y="3016948"/>
                    <a:pt x="1545970" y="3029506"/>
                    <a:pt x="1416226" y="3029232"/>
                  </a:cubicBezTo>
                  <a:cubicBezTo>
                    <a:pt x="987969" y="3022793"/>
                    <a:pt x="646432" y="2892625"/>
                    <a:pt x="391614" y="2638729"/>
                  </a:cubicBezTo>
                  <a:cubicBezTo>
                    <a:pt x="136798" y="2384832"/>
                    <a:pt x="6259" y="2045844"/>
                    <a:pt x="0" y="1621764"/>
                  </a:cubicBezTo>
                  <a:cubicBezTo>
                    <a:pt x="2528" y="1305738"/>
                    <a:pt x="70278" y="1026290"/>
                    <a:pt x="203249" y="783419"/>
                  </a:cubicBezTo>
                  <a:cubicBezTo>
                    <a:pt x="336220" y="540548"/>
                    <a:pt x="519242" y="349912"/>
                    <a:pt x="752315" y="211514"/>
                  </a:cubicBezTo>
                  <a:cubicBezTo>
                    <a:pt x="985388" y="73114"/>
                    <a:pt x="1253341" y="2610"/>
                    <a:pt x="1556175" y="0"/>
                  </a:cubicBezTo>
                  <a:close/>
                  <a:moveTo>
                    <a:pt x="1569295" y="580926"/>
                  </a:moveTo>
                  <a:cubicBezTo>
                    <a:pt x="1290765" y="586666"/>
                    <a:pt x="1064990" y="684518"/>
                    <a:pt x="891968" y="874483"/>
                  </a:cubicBezTo>
                  <a:cubicBezTo>
                    <a:pt x="718947" y="1064447"/>
                    <a:pt x="629839" y="1312083"/>
                    <a:pt x="624646" y="1617390"/>
                  </a:cubicBezTo>
                  <a:cubicBezTo>
                    <a:pt x="627926" y="1870127"/>
                    <a:pt x="703366" y="2070932"/>
                    <a:pt x="850968" y="2219804"/>
                  </a:cubicBezTo>
                  <a:cubicBezTo>
                    <a:pt x="998569" y="2368677"/>
                    <a:pt x="1198651" y="2444844"/>
                    <a:pt x="1451214" y="2448306"/>
                  </a:cubicBezTo>
                  <a:cubicBezTo>
                    <a:pt x="1508250" y="2448580"/>
                    <a:pt x="1558179" y="2444753"/>
                    <a:pt x="1601002" y="2436826"/>
                  </a:cubicBezTo>
                  <a:cubicBezTo>
                    <a:pt x="1643824" y="2428900"/>
                    <a:pt x="1691567" y="2415234"/>
                    <a:pt x="1744230" y="2395828"/>
                  </a:cubicBezTo>
                  <a:lnTo>
                    <a:pt x="1429347" y="1989116"/>
                  </a:lnTo>
                  <a:lnTo>
                    <a:pt x="1888551" y="1822932"/>
                  </a:lnTo>
                  <a:lnTo>
                    <a:pt x="2111593" y="2111567"/>
                  </a:lnTo>
                  <a:cubicBezTo>
                    <a:pt x="2190132" y="2006882"/>
                    <a:pt x="2248443" y="1897004"/>
                    <a:pt x="2286526" y="1781933"/>
                  </a:cubicBezTo>
                  <a:cubicBezTo>
                    <a:pt x="2324610" y="1666862"/>
                    <a:pt x="2343561" y="1544958"/>
                    <a:pt x="2343378" y="1416221"/>
                  </a:cubicBezTo>
                  <a:cubicBezTo>
                    <a:pt x="2340098" y="1163302"/>
                    <a:pt x="2269032" y="961767"/>
                    <a:pt x="2130178" y="811618"/>
                  </a:cubicBezTo>
                  <a:cubicBezTo>
                    <a:pt x="1991325" y="661468"/>
                    <a:pt x="1804364" y="584571"/>
                    <a:pt x="1569295" y="580926"/>
                  </a:cubicBez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grpSp>
      <p:grpSp>
        <p:nvGrpSpPr>
          <p:cNvPr id="51" name="グループ化 50">
            <a:extLst>
              <a:ext uri="{FF2B5EF4-FFF2-40B4-BE49-F238E27FC236}">
                <a16:creationId xmlns:a16="http://schemas.microsoft.com/office/drawing/2014/main" id="{12C057BE-E514-65B4-7845-8584DCECD984}"/>
              </a:ext>
            </a:extLst>
          </p:cNvPr>
          <p:cNvGrpSpPr/>
          <p:nvPr userDrawn="1"/>
        </p:nvGrpSpPr>
        <p:grpSpPr>
          <a:xfrm>
            <a:off x="510185" y="361229"/>
            <a:ext cx="6262819" cy="1743010"/>
            <a:chOff x="510185" y="361229"/>
            <a:chExt cx="6262819" cy="1743010"/>
          </a:xfrm>
        </p:grpSpPr>
        <p:grpSp>
          <p:nvGrpSpPr>
            <p:cNvPr id="45" name="グループ化 44">
              <a:extLst>
                <a:ext uri="{FF2B5EF4-FFF2-40B4-BE49-F238E27FC236}">
                  <a16:creationId xmlns:a16="http://schemas.microsoft.com/office/drawing/2014/main" id="{B1621D64-8301-EAF1-A91B-5B9E4181AE6B}"/>
                </a:ext>
              </a:extLst>
            </p:cNvPr>
            <p:cNvGrpSpPr/>
            <p:nvPr/>
          </p:nvGrpSpPr>
          <p:grpSpPr>
            <a:xfrm>
              <a:off x="701276" y="602191"/>
              <a:ext cx="6071728" cy="1307026"/>
              <a:chOff x="701276" y="594944"/>
              <a:chExt cx="6071728" cy="1307026"/>
            </a:xfrm>
          </p:grpSpPr>
          <p:sp>
            <p:nvSpPr>
              <p:cNvPr id="48" name="四角形: 角を丸くする 47">
                <a:extLst>
                  <a:ext uri="{FF2B5EF4-FFF2-40B4-BE49-F238E27FC236}">
                    <a16:creationId xmlns:a16="http://schemas.microsoft.com/office/drawing/2014/main" id="{FD316890-5E03-F6FB-AB13-F7BB0C604A58}"/>
                  </a:ext>
                </a:extLst>
              </p:cNvPr>
              <p:cNvSpPr/>
              <p:nvPr/>
            </p:nvSpPr>
            <p:spPr>
              <a:xfrm>
                <a:off x="701276" y="594944"/>
                <a:ext cx="6071728" cy="1307026"/>
              </a:xfrm>
              <a:prstGeom prst="roundRect">
                <a:avLst>
                  <a:gd name="adj" fmla="val 50000"/>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テキスト ボックス 48">
                <a:extLst>
                  <a:ext uri="{FF2B5EF4-FFF2-40B4-BE49-F238E27FC236}">
                    <a16:creationId xmlns:a16="http://schemas.microsoft.com/office/drawing/2014/main" id="{2F376F24-9062-88D0-6E56-398F9D9C4570}"/>
                  </a:ext>
                </a:extLst>
              </p:cNvPr>
              <p:cNvSpPr txBox="1"/>
              <p:nvPr/>
            </p:nvSpPr>
            <p:spPr>
              <a:xfrm>
                <a:off x="3282559" y="971458"/>
                <a:ext cx="1897955"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応用問題</a:t>
                </a:r>
              </a:p>
            </p:txBody>
          </p:sp>
        </p:grpSp>
        <p:sp>
          <p:nvSpPr>
            <p:cNvPr id="50" name="正方形/長方形 49">
              <a:extLst>
                <a:ext uri="{FF2B5EF4-FFF2-40B4-BE49-F238E27FC236}">
                  <a16:creationId xmlns:a16="http://schemas.microsoft.com/office/drawing/2014/main" id="{EE0F4794-FA96-8A46-1192-9EF87113D3F2}"/>
                </a:ext>
              </a:extLst>
            </p:cNvPr>
            <p:cNvSpPr/>
            <p:nvPr/>
          </p:nvSpPr>
          <p:spPr>
            <a:xfrm>
              <a:off x="792124" y="361229"/>
              <a:ext cx="1119433" cy="1743010"/>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楕円 46">
              <a:extLst>
                <a:ext uri="{FF2B5EF4-FFF2-40B4-BE49-F238E27FC236}">
                  <a16:creationId xmlns:a16="http://schemas.microsoft.com/office/drawing/2014/main" id="{C6B12A91-F939-8167-622E-88CD02ECA83B}"/>
                </a:ext>
              </a:extLst>
            </p:cNvPr>
            <p:cNvSpPr>
              <a:spLocks noChangeAspect="1"/>
            </p:cNvSpPr>
            <p:nvPr/>
          </p:nvSpPr>
          <p:spPr>
            <a:xfrm>
              <a:off x="510185" y="427704"/>
              <a:ext cx="1654310" cy="1656000"/>
            </a:xfrm>
            <a:prstGeom prst="ellipse">
              <a:avLst/>
            </a:prstGeom>
            <a:gradFill flip="none" rotWithShape="1">
              <a:gsLst>
                <a:gs pos="0">
                  <a:srgbClr val="00ABDF"/>
                </a:gs>
                <a:gs pos="100000">
                  <a:srgbClr val="006DFB"/>
                </a:gs>
              </a:gsLst>
              <a:lin ang="13500000" scaled="1"/>
              <a:tileRect/>
            </a:gra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72000" tIns="0" rIns="0" bIns="0" rtlCol="0" anchor="ctr">
              <a:noAutofit/>
            </a:bodyPr>
            <a:lstStyle/>
            <a:p>
              <a:pPr algn="ctr"/>
              <a:r>
                <a:rPr kumimoji="1" lang="ja-JP" altLang="en-US" sz="2600" spc="100" dirty="0">
                  <a:latin typeface="+mj-ea"/>
                  <a:ea typeface="+mj-ea"/>
                </a:rPr>
                <a:t>理解度</a:t>
              </a:r>
              <a:br>
                <a:rPr kumimoji="1" lang="en-US" altLang="ja-JP" sz="2600" spc="100" dirty="0">
                  <a:latin typeface="+mj-ea"/>
                  <a:ea typeface="+mj-ea"/>
                </a:rPr>
              </a:br>
              <a:r>
                <a:rPr kumimoji="1" lang="ja-JP" altLang="en-US" sz="2600" spc="100" dirty="0">
                  <a:latin typeface="+mj-ea"/>
                  <a:ea typeface="+mj-ea"/>
                </a:rPr>
                <a:t>チェック</a:t>
              </a:r>
            </a:p>
          </p:txBody>
        </p:sp>
      </p:grpSp>
      <p:cxnSp>
        <p:nvCxnSpPr>
          <p:cNvPr id="2" name="直線コネクタ 1">
            <a:extLst>
              <a:ext uri="{FF2B5EF4-FFF2-40B4-BE49-F238E27FC236}">
                <a16:creationId xmlns:a16="http://schemas.microsoft.com/office/drawing/2014/main" id="{EC551E35-934F-29A4-73F4-77111ACBE613}"/>
              </a:ext>
            </a:extLst>
          </p:cNvPr>
          <p:cNvCxnSpPr>
            <a:cxnSpLocks/>
          </p:cNvCxnSpPr>
          <p:nvPr userDrawn="1"/>
        </p:nvCxnSpPr>
        <p:spPr>
          <a:xfrm>
            <a:off x="7868492" y="2796971"/>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3" name="直線コネクタ 2">
            <a:extLst>
              <a:ext uri="{FF2B5EF4-FFF2-40B4-BE49-F238E27FC236}">
                <a16:creationId xmlns:a16="http://schemas.microsoft.com/office/drawing/2014/main" id="{F885D695-E473-C602-6D13-D07A9BF43DF3}"/>
              </a:ext>
            </a:extLst>
          </p:cNvPr>
          <p:cNvCxnSpPr>
            <a:cxnSpLocks/>
          </p:cNvCxnSpPr>
          <p:nvPr userDrawn="1"/>
        </p:nvCxnSpPr>
        <p:spPr>
          <a:xfrm>
            <a:off x="7868492" y="5142707"/>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5" name="直線コネクタ 4">
            <a:extLst>
              <a:ext uri="{FF2B5EF4-FFF2-40B4-BE49-F238E27FC236}">
                <a16:creationId xmlns:a16="http://schemas.microsoft.com/office/drawing/2014/main" id="{FADC5023-5BD2-A7C4-8AFF-689EBD87FA78}"/>
              </a:ext>
            </a:extLst>
          </p:cNvPr>
          <p:cNvCxnSpPr>
            <a:cxnSpLocks/>
          </p:cNvCxnSpPr>
          <p:nvPr userDrawn="1"/>
        </p:nvCxnSpPr>
        <p:spPr>
          <a:xfrm>
            <a:off x="7868492" y="7488443"/>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61515066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理解度チェック_解答">
    <p:spTree>
      <p:nvGrpSpPr>
        <p:cNvPr id="1" name=""/>
        <p:cNvGrpSpPr/>
        <p:nvPr/>
      </p:nvGrpSpPr>
      <p:grpSpPr>
        <a:xfrm>
          <a:off x="0" y="0"/>
          <a:ext cx="0" cy="0"/>
          <a:chOff x="0" y="0"/>
          <a:chExt cx="0" cy="0"/>
        </a:xfrm>
      </p:grpSpPr>
      <p:sp>
        <p:nvSpPr>
          <p:cNvPr id="4" name="スライド番号プレースホルダー 3">
            <a:extLst>
              <a:ext uri="{FF2B5EF4-FFF2-40B4-BE49-F238E27FC236}">
                <a16:creationId xmlns:a16="http://schemas.microsoft.com/office/drawing/2014/main" id="{EDED0587-1CC6-6959-501B-3B35FAC560AE}"/>
              </a:ext>
            </a:extLst>
          </p:cNvPr>
          <p:cNvSpPr>
            <a:spLocks noGrp="1"/>
          </p:cNvSpPr>
          <p:nvPr>
            <p:ph type="sldNum" sz="quarter" idx="11"/>
          </p:nvPr>
        </p:nvSpPr>
        <p:spPr/>
        <p:txBody>
          <a:bodyPr/>
          <a:lstStyle/>
          <a:p>
            <a:fld id="{75EEF097-E23E-44DF-B033-E758A731DE21}" type="slidenum">
              <a:rPr lang="ja-JP" altLang="en-US" smtClean="0"/>
              <a:pPr/>
              <a:t>‹#›</a:t>
            </a:fld>
            <a:endParaRPr lang="ja-JP" altLang="en-US" dirty="0"/>
          </a:p>
        </p:txBody>
      </p:sp>
      <p:grpSp>
        <p:nvGrpSpPr>
          <p:cNvPr id="1133" name="グループ化 1132">
            <a:extLst>
              <a:ext uri="{FF2B5EF4-FFF2-40B4-BE49-F238E27FC236}">
                <a16:creationId xmlns:a16="http://schemas.microsoft.com/office/drawing/2014/main" id="{32AC608F-847C-BF38-6D7C-53C39E5443B3}"/>
              </a:ext>
            </a:extLst>
          </p:cNvPr>
          <p:cNvGrpSpPr/>
          <p:nvPr userDrawn="1"/>
        </p:nvGrpSpPr>
        <p:grpSpPr>
          <a:xfrm>
            <a:off x="-1" y="0"/>
            <a:ext cx="7353300" cy="10285413"/>
            <a:chOff x="-1" y="0"/>
            <a:chExt cx="7353300" cy="10285413"/>
          </a:xfrm>
        </p:grpSpPr>
        <p:sp>
          <p:nvSpPr>
            <p:cNvPr id="23" name="正方形/長方形 22">
              <a:extLst>
                <a:ext uri="{FF2B5EF4-FFF2-40B4-BE49-F238E27FC236}">
                  <a16:creationId xmlns:a16="http://schemas.microsoft.com/office/drawing/2014/main" id="{A578699D-968B-CD9B-E41F-C7853B2AC874}"/>
                </a:ext>
              </a:extLst>
            </p:cNvPr>
            <p:cNvSpPr/>
            <p:nvPr/>
          </p:nvSpPr>
          <p:spPr>
            <a:xfrm>
              <a:off x="-1" y="0"/>
              <a:ext cx="7353300" cy="10285413"/>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フリーフォーム: 図形 2">
              <a:extLst>
                <a:ext uri="{FF2B5EF4-FFF2-40B4-BE49-F238E27FC236}">
                  <a16:creationId xmlns:a16="http://schemas.microsoft.com/office/drawing/2014/main" id="{AB1471D3-2E51-1B49-F89C-AC672DD2D42D}"/>
                </a:ext>
              </a:extLst>
            </p:cNvPr>
            <p:cNvSpPr/>
            <p:nvPr/>
          </p:nvSpPr>
          <p:spPr>
            <a:xfrm>
              <a:off x="3667027" y="6623890"/>
              <a:ext cx="2875288" cy="3158907"/>
            </a:xfrm>
            <a:custGeom>
              <a:avLst/>
              <a:gdLst>
                <a:gd name="connsiteX0" fmla="*/ 1468984 w 2653789"/>
                <a:gd name="connsiteY0" fmla="*/ 0 h 2915560"/>
                <a:gd name="connsiteX1" fmla="*/ 2032968 w 2653789"/>
                <a:gd name="connsiteY1" fmla="*/ 0 h 2915560"/>
                <a:gd name="connsiteX2" fmla="*/ 2653789 w 2653789"/>
                <a:gd name="connsiteY2" fmla="*/ 2915560 h 2915560"/>
                <a:gd name="connsiteX3" fmla="*/ 2050456 w 2653789"/>
                <a:gd name="connsiteY3" fmla="*/ 2915560 h 2915560"/>
                <a:gd name="connsiteX4" fmla="*/ 1954273 w 2653789"/>
                <a:gd name="connsiteY4" fmla="*/ 2439016 h 2915560"/>
                <a:gd name="connsiteX5" fmla="*/ 878767 w 2653789"/>
                <a:gd name="connsiteY5" fmla="*/ 2439016 h 2915560"/>
                <a:gd name="connsiteX6" fmla="*/ 642681 w 2653789"/>
                <a:gd name="connsiteY6" fmla="*/ 2915560 h 2915560"/>
                <a:gd name="connsiteX7" fmla="*/ 0 w 2653789"/>
                <a:gd name="connsiteY7" fmla="*/ 2915560 h 2915560"/>
                <a:gd name="connsiteX8" fmla="*/ 1468984 w 2653789"/>
                <a:gd name="connsiteY8" fmla="*/ 0 h 2915560"/>
                <a:gd name="connsiteX9" fmla="*/ 1635119 w 2653789"/>
                <a:gd name="connsiteY9" fmla="*/ 703522 h 2915560"/>
                <a:gd name="connsiteX10" fmla="*/ 1571725 w 2653789"/>
                <a:gd name="connsiteY10" fmla="*/ 931481 h 2915560"/>
                <a:gd name="connsiteX11" fmla="*/ 1442752 w 2653789"/>
                <a:gd name="connsiteY11" fmla="*/ 1228320 h 2915560"/>
                <a:gd name="connsiteX12" fmla="*/ 1119226 w 2653789"/>
                <a:gd name="connsiteY12" fmla="*/ 1901809 h 2915560"/>
                <a:gd name="connsiteX13" fmla="*/ 1849346 w 2653789"/>
                <a:gd name="connsiteY13" fmla="*/ 1901809 h 2915560"/>
                <a:gd name="connsiteX14" fmla="*/ 1705070 w 2653789"/>
                <a:gd name="connsiteY14" fmla="*/ 1175840 h 2915560"/>
                <a:gd name="connsiteX15" fmla="*/ 1673920 w 2653789"/>
                <a:gd name="connsiteY15" fmla="*/ 999814 h 2915560"/>
                <a:gd name="connsiteX16" fmla="*/ 1665723 w 2653789"/>
                <a:gd name="connsiteY16" fmla="*/ 856588 h 2915560"/>
                <a:gd name="connsiteX17" fmla="*/ 1666816 w 2653789"/>
                <a:gd name="connsiteY17" fmla="*/ 800282 h 2915560"/>
                <a:gd name="connsiteX18" fmla="*/ 1674466 w 2653789"/>
                <a:gd name="connsiteY18" fmla="*/ 707896 h 2915560"/>
                <a:gd name="connsiteX19" fmla="*/ 1635119 w 2653789"/>
                <a:gd name="connsiteY19" fmla="*/ 703522 h 29155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653789" h="2915560">
                  <a:moveTo>
                    <a:pt x="1468984" y="0"/>
                  </a:moveTo>
                  <a:lnTo>
                    <a:pt x="2032968" y="0"/>
                  </a:lnTo>
                  <a:lnTo>
                    <a:pt x="2653789" y="2915560"/>
                  </a:lnTo>
                  <a:lnTo>
                    <a:pt x="2050456" y="2915560"/>
                  </a:lnTo>
                  <a:lnTo>
                    <a:pt x="1954273" y="2439016"/>
                  </a:lnTo>
                  <a:lnTo>
                    <a:pt x="878767" y="2439016"/>
                  </a:lnTo>
                  <a:lnTo>
                    <a:pt x="642681" y="2915560"/>
                  </a:lnTo>
                  <a:lnTo>
                    <a:pt x="0" y="2915560"/>
                  </a:lnTo>
                  <a:lnTo>
                    <a:pt x="1468984" y="0"/>
                  </a:lnTo>
                  <a:close/>
                  <a:moveTo>
                    <a:pt x="1635119" y="703522"/>
                  </a:moveTo>
                  <a:cubicBezTo>
                    <a:pt x="1619452" y="783608"/>
                    <a:pt x="1598322" y="859595"/>
                    <a:pt x="1571725" y="931481"/>
                  </a:cubicBezTo>
                  <a:cubicBezTo>
                    <a:pt x="1545129" y="1003368"/>
                    <a:pt x="1502138" y="1102314"/>
                    <a:pt x="1442752" y="1228320"/>
                  </a:cubicBezTo>
                  <a:lnTo>
                    <a:pt x="1119226" y="1901809"/>
                  </a:lnTo>
                  <a:lnTo>
                    <a:pt x="1849346" y="1901809"/>
                  </a:lnTo>
                  <a:lnTo>
                    <a:pt x="1705070" y="1175840"/>
                  </a:lnTo>
                  <a:cubicBezTo>
                    <a:pt x="1690042" y="1108964"/>
                    <a:pt x="1679659" y="1050289"/>
                    <a:pt x="1673920" y="999814"/>
                  </a:cubicBezTo>
                  <a:cubicBezTo>
                    <a:pt x="1668182" y="949339"/>
                    <a:pt x="1665449" y="901597"/>
                    <a:pt x="1665723" y="856588"/>
                  </a:cubicBezTo>
                  <a:cubicBezTo>
                    <a:pt x="1665541" y="840279"/>
                    <a:pt x="1665905" y="821510"/>
                    <a:pt x="1666816" y="800282"/>
                  </a:cubicBezTo>
                  <a:cubicBezTo>
                    <a:pt x="1667727" y="779053"/>
                    <a:pt x="1670277" y="748258"/>
                    <a:pt x="1674466" y="707896"/>
                  </a:cubicBezTo>
                  <a:lnTo>
                    <a:pt x="1635119" y="703522"/>
                  </a:lnTo>
                  <a:close/>
                </a:path>
              </a:pathLst>
            </a:cu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grpSp>
      <p:grpSp>
        <p:nvGrpSpPr>
          <p:cNvPr id="51" name="グループ化 50">
            <a:extLst>
              <a:ext uri="{FF2B5EF4-FFF2-40B4-BE49-F238E27FC236}">
                <a16:creationId xmlns:a16="http://schemas.microsoft.com/office/drawing/2014/main" id="{12C057BE-E514-65B4-7845-8584DCECD984}"/>
              </a:ext>
            </a:extLst>
          </p:cNvPr>
          <p:cNvGrpSpPr/>
          <p:nvPr userDrawn="1"/>
        </p:nvGrpSpPr>
        <p:grpSpPr>
          <a:xfrm>
            <a:off x="510185" y="361229"/>
            <a:ext cx="6262819" cy="1743010"/>
            <a:chOff x="510185" y="361229"/>
            <a:chExt cx="6262819" cy="1743010"/>
          </a:xfrm>
        </p:grpSpPr>
        <p:grpSp>
          <p:nvGrpSpPr>
            <p:cNvPr id="45" name="グループ化 44">
              <a:extLst>
                <a:ext uri="{FF2B5EF4-FFF2-40B4-BE49-F238E27FC236}">
                  <a16:creationId xmlns:a16="http://schemas.microsoft.com/office/drawing/2014/main" id="{B1621D64-8301-EAF1-A91B-5B9E4181AE6B}"/>
                </a:ext>
              </a:extLst>
            </p:cNvPr>
            <p:cNvGrpSpPr/>
            <p:nvPr/>
          </p:nvGrpSpPr>
          <p:grpSpPr>
            <a:xfrm>
              <a:off x="701276" y="602191"/>
              <a:ext cx="6071728" cy="1307026"/>
              <a:chOff x="701276" y="594944"/>
              <a:chExt cx="6071728" cy="1307026"/>
            </a:xfrm>
          </p:grpSpPr>
          <p:sp>
            <p:nvSpPr>
              <p:cNvPr id="48" name="四角形: 角を丸くする 47">
                <a:extLst>
                  <a:ext uri="{FF2B5EF4-FFF2-40B4-BE49-F238E27FC236}">
                    <a16:creationId xmlns:a16="http://schemas.microsoft.com/office/drawing/2014/main" id="{FD316890-5E03-F6FB-AB13-F7BB0C604A58}"/>
                  </a:ext>
                </a:extLst>
              </p:cNvPr>
              <p:cNvSpPr/>
              <p:nvPr/>
            </p:nvSpPr>
            <p:spPr>
              <a:xfrm>
                <a:off x="701276" y="594944"/>
                <a:ext cx="6071728" cy="1307026"/>
              </a:xfrm>
              <a:prstGeom prst="roundRect">
                <a:avLst>
                  <a:gd name="adj" fmla="val 50000"/>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49" name="テキスト ボックス 48">
                <a:extLst>
                  <a:ext uri="{FF2B5EF4-FFF2-40B4-BE49-F238E27FC236}">
                    <a16:creationId xmlns:a16="http://schemas.microsoft.com/office/drawing/2014/main" id="{2F376F24-9062-88D0-6E56-398F9D9C4570}"/>
                  </a:ext>
                </a:extLst>
              </p:cNvPr>
              <p:cNvSpPr txBox="1"/>
              <p:nvPr/>
            </p:nvSpPr>
            <p:spPr>
              <a:xfrm>
                <a:off x="3150313" y="971458"/>
                <a:ext cx="2162451" cy="553998"/>
              </a:xfrm>
              <a:prstGeom prst="rect">
                <a:avLst/>
              </a:prstGeom>
              <a:noFill/>
            </p:spPr>
            <p:txBody>
              <a:bodyPr wrap="none" lIns="0" tIns="0" rIns="0" bIns="0" rtlCol="0" anchor="ctr">
                <a:spAutoFit/>
              </a:bodyPr>
              <a:lstStyle/>
              <a:p>
                <a:pPr algn="ctr"/>
                <a:r>
                  <a:rPr lang="ja-JP" altLang="en-US" sz="3600" spc="100" dirty="0">
                    <a:latin typeface="+mj-ea"/>
                    <a:ea typeface="+mj-ea"/>
                  </a:rPr>
                  <a:t>解答</a:t>
                </a:r>
                <a:r>
                  <a:rPr lang="en-US" altLang="ja-JP" sz="3600" spc="100" dirty="0">
                    <a:latin typeface="+mj-ea"/>
                    <a:ea typeface="+mj-ea"/>
                  </a:rPr>
                  <a:t>/</a:t>
                </a:r>
                <a:r>
                  <a:rPr lang="ja-JP" altLang="en-US" sz="3600" spc="100" dirty="0">
                    <a:latin typeface="+mj-ea"/>
                    <a:ea typeface="+mj-ea"/>
                  </a:rPr>
                  <a:t>解説</a:t>
                </a:r>
                <a:endParaRPr kumimoji="1" lang="ja-JP" altLang="en-US" sz="3600" spc="100" dirty="0">
                  <a:latin typeface="+mj-ea"/>
                  <a:ea typeface="+mj-ea"/>
                </a:endParaRPr>
              </a:p>
            </p:txBody>
          </p:sp>
        </p:grpSp>
        <p:sp>
          <p:nvSpPr>
            <p:cNvPr id="50" name="正方形/長方形 49">
              <a:extLst>
                <a:ext uri="{FF2B5EF4-FFF2-40B4-BE49-F238E27FC236}">
                  <a16:creationId xmlns:a16="http://schemas.microsoft.com/office/drawing/2014/main" id="{EE0F4794-FA96-8A46-1192-9EF87113D3F2}"/>
                </a:ext>
              </a:extLst>
            </p:cNvPr>
            <p:cNvSpPr/>
            <p:nvPr/>
          </p:nvSpPr>
          <p:spPr>
            <a:xfrm>
              <a:off x="792124" y="361229"/>
              <a:ext cx="1119433" cy="1743010"/>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7" name="楕円 46">
              <a:extLst>
                <a:ext uri="{FF2B5EF4-FFF2-40B4-BE49-F238E27FC236}">
                  <a16:creationId xmlns:a16="http://schemas.microsoft.com/office/drawing/2014/main" id="{C6B12A91-F939-8167-622E-88CD02ECA83B}"/>
                </a:ext>
              </a:extLst>
            </p:cNvPr>
            <p:cNvSpPr>
              <a:spLocks noChangeAspect="1"/>
            </p:cNvSpPr>
            <p:nvPr/>
          </p:nvSpPr>
          <p:spPr>
            <a:xfrm>
              <a:off x="510185" y="427704"/>
              <a:ext cx="1654310" cy="1656000"/>
            </a:xfrm>
            <a:prstGeom prst="ellipse">
              <a:avLst/>
            </a:prstGeom>
            <a:solidFill>
              <a:schemeClr val="accent3"/>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72000" tIns="0" rIns="0" bIns="0" rtlCol="0" anchor="ctr">
              <a:noAutofit/>
            </a:bodyPr>
            <a:lstStyle/>
            <a:p>
              <a:pPr algn="ctr"/>
              <a:r>
                <a:rPr kumimoji="1" lang="ja-JP" altLang="en-US" sz="2600" spc="100" dirty="0">
                  <a:latin typeface="+mj-ea"/>
                  <a:ea typeface="+mj-ea"/>
                </a:rPr>
                <a:t>理解度</a:t>
              </a:r>
              <a:br>
                <a:rPr kumimoji="1" lang="en-US" altLang="ja-JP" sz="2600" spc="100" dirty="0">
                  <a:latin typeface="+mj-ea"/>
                  <a:ea typeface="+mj-ea"/>
                </a:rPr>
              </a:br>
              <a:r>
                <a:rPr kumimoji="1" lang="ja-JP" altLang="en-US" sz="2600" spc="100" dirty="0">
                  <a:latin typeface="+mj-ea"/>
                  <a:ea typeface="+mj-ea"/>
                </a:rPr>
                <a:t>チェック</a:t>
              </a:r>
            </a:p>
          </p:txBody>
        </p:sp>
      </p:grpSp>
      <p:cxnSp>
        <p:nvCxnSpPr>
          <p:cNvPr id="20" name="直線コネクタ 19">
            <a:extLst>
              <a:ext uri="{FF2B5EF4-FFF2-40B4-BE49-F238E27FC236}">
                <a16:creationId xmlns:a16="http://schemas.microsoft.com/office/drawing/2014/main" id="{D9F1DBB0-1ACE-A946-5FC2-C798BCAAE405}"/>
              </a:ext>
            </a:extLst>
          </p:cNvPr>
          <p:cNvCxnSpPr>
            <a:cxnSpLocks/>
          </p:cNvCxnSpPr>
          <p:nvPr userDrawn="1"/>
        </p:nvCxnSpPr>
        <p:spPr>
          <a:xfrm>
            <a:off x="690785" y="4217421"/>
            <a:ext cx="5971728"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6" name="直線コネクタ 15">
            <a:extLst>
              <a:ext uri="{FF2B5EF4-FFF2-40B4-BE49-F238E27FC236}">
                <a16:creationId xmlns:a16="http://schemas.microsoft.com/office/drawing/2014/main" id="{0F34BEA6-2760-0123-0A91-297B6F9AA0B8}"/>
              </a:ext>
            </a:extLst>
          </p:cNvPr>
          <p:cNvCxnSpPr>
            <a:cxnSpLocks/>
          </p:cNvCxnSpPr>
          <p:nvPr userDrawn="1"/>
        </p:nvCxnSpPr>
        <p:spPr>
          <a:xfrm>
            <a:off x="7868492" y="2796971"/>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7" name="直線コネクタ 16">
            <a:extLst>
              <a:ext uri="{FF2B5EF4-FFF2-40B4-BE49-F238E27FC236}">
                <a16:creationId xmlns:a16="http://schemas.microsoft.com/office/drawing/2014/main" id="{DBBAFF27-5FD1-CADF-5559-F88350B58B5C}"/>
              </a:ext>
            </a:extLst>
          </p:cNvPr>
          <p:cNvCxnSpPr>
            <a:cxnSpLocks/>
          </p:cNvCxnSpPr>
          <p:nvPr userDrawn="1"/>
        </p:nvCxnSpPr>
        <p:spPr>
          <a:xfrm>
            <a:off x="7868492" y="5142707"/>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cxnSp>
        <p:nvCxnSpPr>
          <p:cNvPr id="18" name="直線コネクタ 17">
            <a:extLst>
              <a:ext uri="{FF2B5EF4-FFF2-40B4-BE49-F238E27FC236}">
                <a16:creationId xmlns:a16="http://schemas.microsoft.com/office/drawing/2014/main" id="{B8CD648C-06F4-EDA0-7AFF-0DED445AA592}"/>
              </a:ext>
            </a:extLst>
          </p:cNvPr>
          <p:cNvCxnSpPr>
            <a:cxnSpLocks/>
          </p:cNvCxnSpPr>
          <p:nvPr userDrawn="1"/>
        </p:nvCxnSpPr>
        <p:spPr>
          <a:xfrm>
            <a:off x="7868492" y="7488443"/>
            <a:ext cx="9427030" cy="0"/>
          </a:xfrm>
          <a:prstGeom prst="line">
            <a:avLst/>
          </a:prstGeom>
          <a:ln w="44450" cap="rnd">
            <a:solidFill>
              <a:schemeClr val="bg2">
                <a:lumMod val="90000"/>
              </a:schemeClr>
            </a:solidFill>
            <a:prstDash val="sysDot"/>
            <a:headEnd type="diamond" w="med" len="med"/>
            <a:tailEnd type="diamond" w="med" len="me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4840701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oleObject" Target="../embeddings/oleObject1.bin"/><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ags" Target="../tags/tag2.xml"/><Relationship Id="rId5" Type="http://schemas.openxmlformats.org/officeDocument/2006/relationships/slideLayout" Target="../slideLayouts/slideLayout5.xml"/><Relationship Id="rId10" Type="http://schemas.openxmlformats.org/officeDocument/2006/relationships/vmlDrawing" Target="../drawings/vmlDrawing1.vml"/><Relationship Id="rId4" Type="http://schemas.openxmlformats.org/officeDocument/2006/relationships/slideLayout" Target="../slideLayouts/slideLayout4.xml"/><Relationship Id="rId9" Type="http://schemas.openxmlformats.org/officeDocument/2006/relationships/theme" Target="../theme/theme1.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ACB100F7-B280-7001-7E62-AFB7F1D672EB}"/>
              </a:ext>
            </a:extLst>
          </p:cNvPr>
          <p:cNvGraphicFramePr>
            <a:graphicFrameLocks noChangeAspect="1"/>
          </p:cNvGraphicFramePr>
          <p:nvPr userDrawn="1">
            <p:custDataLst>
              <p:tags r:id="rId11"/>
            </p:custDataLst>
            <p:extLst>
              <p:ext uri="{D42A27DB-BD31-4B8C-83A1-F6EECF244321}">
                <p14:modId xmlns:p14="http://schemas.microsoft.com/office/powerpoint/2010/main" val="332856200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33" name="think-cell Slide" r:id="rId12" imgW="606" imgH="608" progId="TCLayout.ActiveDocument.1">
                  <p:embed/>
                </p:oleObj>
              </mc:Choice>
              <mc:Fallback>
                <p:oleObj name="think-cell Slide" r:id="rId12" imgW="606" imgH="608" progId="TCLayout.ActiveDocument.1">
                  <p:embed/>
                  <p:pic>
                    <p:nvPicPr>
                      <p:cNvPr id="7" name="think-cell data - do not delete" hidden="1">
                        <a:extLst>
                          <a:ext uri="{FF2B5EF4-FFF2-40B4-BE49-F238E27FC236}">
                            <a16:creationId xmlns:a16="http://schemas.microsoft.com/office/drawing/2014/main" id="{ACB100F7-B280-7001-7E62-AFB7F1D672EB}"/>
                          </a:ext>
                        </a:extLst>
                      </p:cNvPr>
                      <p:cNvPicPr/>
                      <p:nvPr/>
                    </p:nvPicPr>
                    <p:blipFill>
                      <a:blip r:embed="rId13"/>
                      <a:stretch>
                        <a:fillRect/>
                      </a:stretch>
                    </p:blipFill>
                    <p:spPr>
                      <a:xfrm>
                        <a:off x="1588" y="1588"/>
                        <a:ext cx="1588" cy="1588"/>
                      </a:xfrm>
                      <a:prstGeom prst="rect">
                        <a:avLst/>
                      </a:prstGeom>
                    </p:spPr>
                  </p:pic>
                </p:oleObj>
              </mc:Fallback>
            </mc:AlternateContent>
          </a:graphicData>
        </a:graphic>
      </p:graphicFrame>
      <p:sp>
        <p:nvSpPr>
          <p:cNvPr id="2" name="タイトル プレースホルダー 1">
            <a:extLst>
              <a:ext uri="{FF2B5EF4-FFF2-40B4-BE49-F238E27FC236}">
                <a16:creationId xmlns:a16="http://schemas.microsoft.com/office/drawing/2014/main" id="{9C578407-FAC7-4FE8-A10F-2A6AD74C6647}"/>
              </a:ext>
            </a:extLst>
          </p:cNvPr>
          <p:cNvSpPr>
            <a:spLocks noGrp="1"/>
          </p:cNvSpPr>
          <p:nvPr>
            <p:ph type="title"/>
          </p:nvPr>
        </p:nvSpPr>
        <p:spPr>
          <a:xfrm>
            <a:off x="1114491" y="737931"/>
            <a:ext cx="16059086" cy="664797"/>
          </a:xfrm>
          <a:prstGeom prst="rect">
            <a:avLst/>
          </a:prstGeom>
        </p:spPr>
        <p:txBody>
          <a:bodyPr vert="horz" wrap="square" lIns="0" tIns="0" rIns="0" bIns="0" rtlCol="0" anchor="ctr">
            <a:spAutoFit/>
          </a:bodyPr>
          <a:lstStyle/>
          <a:p>
            <a:r>
              <a:rPr kumimoji="1" lang="ja-JP" altLang="en-US" dirty="0"/>
              <a:t>マスター タイトルの書式設定</a:t>
            </a:r>
          </a:p>
        </p:txBody>
      </p:sp>
      <p:sp>
        <p:nvSpPr>
          <p:cNvPr id="3" name="テキスト プレースホルダー 2">
            <a:extLst>
              <a:ext uri="{FF2B5EF4-FFF2-40B4-BE49-F238E27FC236}">
                <a16:creationId xmlns:a16="http://schemas.microsoft.com/office/drawing/2014/main" id="{E839F340-960B-4B16-9001-CCE8F344B1E4}"/>
              </a:ext>
            </a:extLst>
          </p:cNvPr>
          <p:cNvSpPr>
            <a:spLocks noGrp="1"/>
          </p:cNvSpPr>
          <p:nvPr>
            <p:ph type="body" idx="1"/>
          </p:nvPr>
        </p:nvSpPr>
        <p:spPr>
          <a:xfrm>
            <a:off x="1114491" y="1956987"/>
            <a:ext cx="16059084" cy="7511753"/>
          </a:xfrm>
          <a:prstGeom prst="rect">
            <a:avLst/>
          </a:prstGeom>
        </p:spPr>
        <p:txBody>
          <a:bodyPr vert="horz" wrap="square" lIns="0" tIns="0" rIns="0" bIns="0" rtlCol="0">
            <a:noAutofit/>
          </a:bodyPr>
          <a:lstStyle/>
          <a:p>
            <a:pPr lvl="0"/>
            <a:r>
              <a:rPr kumimoji="1" lang="ja-JP" altLang="en-US" dirty="0"/>
              <a:t>マスター テキストの書式設定</a:t>
            </a:r>
          </a:p>
          <a:p>
            <a:pPr lvl="1"/>
            <a:r>
              <a:rPr kumimoji="1" lang="ja-JP" altLang="en-US" dirty="0"/>
              <a:t>第 </a:t>
            </a:r>
            <a:r>
              <a:rPr kumimoji="1" lang="en-US" altLang="ja-JP" dirty="0"/>
              <a:t>2 </a:t>
            </a:r>
            <a:r>
              <a:rPr kumimoji="1" lang="ja-JP" altLang="en-US" dirty="0"/>
              <a:t>レベル</a:t>
            </a:r>
          </a:p>
          <a:p>
            <a:pPr lvl="2"/>
            <a:r>
              <a:rPr kumimoji="1" lang="ja-JP" altLang="en-US" dirty="0"/>
              <a:t>第 </a:t>
            </a:r>
            <a:r>
              <a:rPr kumimoji="1" lang="en-US" altLang="ja-JP" dirty="0"/>
              <a:t>3 </a:t>
            </a:r>
            <a:r>
              <a:rPr kumimoji="1" lang="ja-JP" altLang="en-US" dirty="0"/>
              <a:t>レベル</a:t>
            </a:r>
          </a:p>
          <a:p>
            <a:pPr lvl="3"/>
            <a:r>
              <a:rPr kumimoji="1" lang="ja-JP" altLang="en-US" dirty="0"/>
              <a:t>第 </a:t>
            </a:r>
            <a:r>
              <a:rPr kumimoji="1" lang="en-US" altLang="ja-JP" dirty="0"/>
              <a:t>4 </a:t>
            </a:r>
            <a:r>
              <a:rPr kumimoji="1" lang="ja-JP" altLang="en-US" dirty="0"/>
              <a:t>レベル</a:t>
            </a:r>
          </a:p>
          <a:p>
            <a:pPr lvl="4"/>
            <a:r>
              <a:rPr kumimoji="1" lang="ja-JP" altLang="en-US" dirty="0"/>
              <a:t>第 </a:t>
            </a:r>
            <a:r>
              <a:rPr kumimoji="1" lang="en-US" altLang="ja-JP" dirty="0"/>
              <a:t>5 </a:t>
            </a:r>
            <a:r>
              <a:rPr kumimoji="1" lang="ja-JP" altLang="en-US" dirty="0"/>
              <a:t>レベル</a:t>
            </a:r>
          </a:p>
        </p:txBody>
      </p:sp>
      <p:sp>
        <p:nvSpPr>
          <p:cNvPr id="5" name="フッター プレースホルダー 4">
            <a:extLst>
              <a:ext uri="{FF2B5EF4-FFF2-40B4-BE49-F238E27FC236}">
                <a16:creationId xmlns:a16="http://schemas.microsoft.com/office/drawing/2014/main" id="{CE8F54F3-CE7C-494A-9BC2-7F038693C214}"/>
              </a:ext>
            </a:extLst>
          </p:cNvPr>
          <p:cNvSpPr>
            <a:spLocks noGrp="1"/>
          </p:cNvSpPr>
          <p:nvPr>
            <p:ph type="ftr" sz="quarter" idx="3"/>
          </p:nvPr>
        </p:nvSpPr>
        <p:spPr>
          <a:xfrm>
            <a:off x="14583295" y="9833602"/>
            <a:ext cx="2984407" cy="215444"/>
          </a:xfrm>
          <a:prstGeom prst="rect">
            <a:avLst/>
          </a:prstGeom>
        </p:spPr>
        <p:txBody>
          <a:bodyPr vert="horz" wrap="none" lIns="0" tIns="0" rIns="0" bIns="0" rtlCol="0" anchor="ctr">
            <a:spAutoFit/>
          </a:bodyPr>
          <a:lstStyle>
            <a:lvl1pPr algn="r">
              <a:defRPr sz="1400">
                <a:solidFill>
                  <a:schemeClr val="tx1"/>
                </a:solidFill>
              </a:defRPr>
            </a:lvl1pPr>
          </a:lstStyle>
          <a:p>
            <a:endParaRPr lang="ja-JP" altLang="en-US" dirty="0"/>
          </a:p>
        </p:txBody>
      </p:sp>
      <p:sp>
        <p:nvSpPr>
          <p:cNvPr id="6" name="スライド番号プレースホルダー 5">
            <a:extLst>
              <a:ext uri="{FF2B5EF4-FFF2-40B4-BE49-F238E27FC236}">
                <a16:creationId xmlns:a16="http://schemas.microsoft.com/office/drawing/2014/main" id="{D6CAF14E-C4FA-48D8-BBD8-4ABD26543850}"/>
              </a:ext>
            </a:extLst>
          </p:cNvPr>
          <p:cNvSpPr>
            <a:spLocks noGrp="1"/>
          </p:cNvSpPr>
          <p:nvPr>
            <p:ph type="sldNum" sz="quarter" idx="4"/>
          </p:nvPr>
        </p:nvSpPr>
        <p:spPr>
          <a:xfrm>
            <a:off x="17681376" y="9786651"/>
            <a:ext cx="354264" cy="307777"/>
          </a:xfrm>
          <a:prstGeom prst="rect">
            <a:avLst/>
          </a:prstGeom>
        </p:spPr>
        <p:txBody>
          <a:bodyPr vert="horz" wrap="none" lIns="0" tIns="0" rIns="0" bIns="0" rtlCol="0" anchor="ctr">
            <a:spAutoFit/>
          </a:bodyPr>
          <a:lstStyle>
            <a:lvl1pPr algn="ctr">
              <a:defRPr sz="2000" b="1">
                <a:solidFill>
                  <a:schemeClr val="tx1"/>
                </a:solidFill>
                <a:latin typeface="+mj-lt"/>
              </a:defRPr>
            </a:lvl1pPr>
          </a:lstStyle>
          <a:p>
            <a:fld id="{75EEF097-E23E-44DF-B033-E758A731DE21}" type="slidenum">
              <a:rPr lang="ja-JP" altLang="en-US" smtClean="0"/>
              <a:pPr/>
              <a:t>‹#›</a:t>
            </a:fld>
            <a:endParaRPr lang="ja-JP" altLang="en-US" dirty="0"/>
          </a:p>
        </p:txBody>
      </p:sp>
    </p:spTree>
    <p:extLst>
      <p:ext uri="{BB962C8B-B14F-4D97-AF65-F5344CB8AC3E}">
        <p14:creationId xmlns:p14="http://schemas.microsoft.com/office/powerpoint/2010/main" val="1884869860"/>
      </p:ext>
    </p:extLst>
  </p:cSld>
  <p:clrMap bg1="lt1" tx1="dk1" bg2="lt2" tx2="dk2" accent1="accent1" accent2="accent2" accent3="accent3" accent4="accent4" accent5="accent5" accent6="accent6" hlink="hlink" folHlink="folHlink"/>
  <p:sldLayoutIdLst>
    <p:sldLayoutId id="2147483655" r:id="rId1"/>
    <p:sldLayoutId id="2147483660" r:id="rId2"/>
    <p:sldLayoutId id="2147483653" r:id="rId3"/>
    <p:sldLayoutId id="2147483657" r:id="rId4"/>
    <p:sldLayoutId id="2147483658" r:id="rId5"/>
    <p:sldLayoutId id="2147483654" r:id="rId6"/>
    <p:sldLayoutId id="2147483659" r:id="rId7"/>
    <p:sldLayoutId id="2147483656" r:id="rId8"/>
  </p:sldLayoutIdLst>
  <p:hf hdr="0" ftr="0" dt="0"/>
  <p:txStyles>
    <p:titleStyle>
      <a:lvl1pPr algn="l" defTabSz="1371417" rtl="0" eaLnBrk="1" latinLnBrk="0" hangingPunct="1">
        <a:lnSpc>
          <a:spcPct val="90000"/>
        </a:lnSpc>
        <a:spcBef>
          <a:spcPct val="0"/>
        </a:spcBef>
        <a:buNone/>
        <a:defRPr kumimoji="1" sz="4800" kern="1200">
          <a:solidFill>
            <a:schemeClr val="tx1"/>
          </a:solidFill>
          <a:latin typeface="+mj-lt"/>
          <a:ea typeface="+mj-ea"/>
          <a:cs typeface="+mj-cs"/>
        </a:defRPr>
      </a:lvl1pPr>
    </p:titleStyle>
    <p:bodyStyle>
      <a:lvl1pPr marL="432000" indent="-540000" algn="l" defTabSz="1371417" rtl="0" eaLnBrk="1" latinLnBrk="0" hangingPunct="1">
        <a:lnSpc>
          <a:spcPct val="130000"/>
        </a:lnSpc>
        <a:spcBef>
          <a:spcPts val="3520"/>
        </a:spcBef>
        <a:spcAft>
          <a:spcPts val="3520"/>
        </a:spcAft>
        <a:buClr>
          <a:schemeClr val="accent1"/>
        </a:buClr>
        <a:buFont typeface="Wingdings" panose="05000000000000000000" pitchFamily="2" charset="2"/>
        <a:buChar char="l"/>
        <a:defRPr kumimoji="1" sz="3600" kern="1200">
          <a:solidFill>
            <a:schemeClr val="tx2"/>
          </a:solidFill>
          <a:latin typeface="+mn-lt"/>
          <a:ea typeface="+mn-ea"/>
          <a:cs typeface="+mn-cs"/>
        </a:defRPr>
      </a:lvl1pPr>
      <a:lvl2pPr marL="1028563" indent="-432000" algn="l" defTabSz="1371417" rtl="0" eaLnBrk="1" latinLnBrk="0" hangingPunct="1">
        <a:lnSpc>
          <a:spcPct val="130000"/>
        </a:lnSpc>
        <a:spcBef>
          <a:spcPts val="0"/>
        </a:spcBef>
        <a:spcAft>
          <a:spcPts val="2560"/>
        </a:spcAft>
        <a:buClr>
          <a:schemeClr val="accent1"/>
        </a:buClr>
        <a:buFont typeface="Wingdings" panose="05000000000000000000" pitchFamily="2" charset="2"/>
        <a:buChar char="l"/>
        <a:defRPr kumimoji="1" sz="2400" kern="1200">
          <a:solidFill>
            <a:schemeClr val="tx2"/>
          </a:solidFill>
          <a:latin typeface="+mn-lt"/>
          <a:ea typeface="+mn-ea"/>
          <a:cs typeface="+mn-cs"/>
        </a:defRPr>
      </a:lvl2pPr>
      <a:lvl3pPr marL="1714271" indent="-432000" algn="l" defTabSz="1371417" rtl="0" eaLnBrk="1" latinLnBrk="0" hangingPunct="1">
        <a:lnSpc>
          <a:spcPct val="130000"/>
        </a:lnSpc>
        <a:spcBef>
          <a:spcPts val="0"/>
        </a:spcBef>
        <a:spcAft>
          <a:spcPts val="2560"/>
        </a:spcAft>
        <a:buClr>
          <a:schemeClr val="accent1"/>
        </a:buClr>
        <a:buFont typeface="Wingdings" panose="05000000000000000000" pitchFamily="2" charset="2"/>
        <a:buChar char="l"/>
        <a:defRPr kumimoji="1" sz="2400" kern="1200">
          <a:solidFill>
            <a:schemeClr val="tx2"/>
          </a:solidFill>
          <a:latin typeface="+mn-lt"/>
          <a:ea typeface="+mn-ea"/>
          <a:cs typeface="+mn-cs"/>
        </a:defRPr>
      </a:lvl3pPr>
      <a:lvl4pPr marL="2399980" indent="-432000" algn="l" defTabSz="1371417" rtl="0" eaLnBrk="1" latinLnBrk="0" hangingPunct="1">
        <a:lnSpc>
          <a:spcPct val="130000"/>
        </a:lnSpc>
        <a:spcBef>
          <a:spcPts val="0"/>
        </a:spcBef>
        <a:spcAft>
          <a:spcPts val="2560"/>
        </a:spcAft>
        <a:buClr>
          <a:schemeClr val="accent1"/>
        </a:buClr>
        <a:buFont typeface="Wingdings" panose="05000000000000000000" pitchFamily="2" charset="2"/>
        <a:buChar char="l"/>
        <a:defRPr kumimoji="1" sz="2400" kern="1200">
          <a:solidFill>
            <a:schemeClr val="tx2"/>
          </a:solidFill>
          <a:latin typeface="+mn-lt"/>
          <a:ea typeface="+mn-ea"/>
          <a:cs typeface="+mn-cs"/>
        </a:defRPr>
      </a:lvl4pPr>
      <a:lvl5pPr marL="3085689" indent="-432000" algn="l" defTabSz="1371417" rtl="0" eaLnBrk="1" latinLnBrk="0" hangingPunct="1">
        <a:lnSpc>
          <a:spcPct val="130000"/>
        </a:lnSpc>
        <a:spcBef>
          <a:spcPts val="0"/>
        </a:spcBef>
        <a:spcAft>
          <a:spcPts val="2560"/>
        </a:spcAft>
        <a:buClr>
          <a:schemeClr val="accent1"/>
        </a:buClr>
        <a:buFont typeface="Wingdings" panose="05000000000000000000" pitchFamily="2" charset="2"/>
        <a:buChar char="l"/>
        <a:defRPr kumimoji="1" sz="2400" kern="1200">
          <a:solidFill>
            <a:schemeClr val="tx2"/>
          </a:solidFill>
          <a:latin typeface="+mn-lt"/>
          <a:ea typeface="+mn-ea"/>
          <a:cs typeface="+mn-cs"/>
        </a:defRPr>
      </a:lvl5pPr>
      <a:lvl6pPr marL="3771397" indent="-342854" algn="l" defTabSz="1371417" rtl="0" eaLnBrk="1" latinLnBrk="0" hangingPunct="1">
        <a:lnSpc>
          <a:spcPct val="90000"/>
        </a:lnSpc>
        <a:spcBef>
          <a:spcPts val="750"/>
        </a:spcBef>
        <a:buFont typeface="Arial" panose="020B0604020202020204" pitchFamily="34" charset="0"/>
        <a:buChar char="•"/>
        <a:defRPr kumimoji="1" sz="2700" kern="1200">
          <a:solidFill>
            <a:schemeClr val="tx1"/>
          </a:solidFill>
          <a:latin typeface="+mn-lt"/>
          <a:ea typeface="+mn-ea"/>
          <a:cs typeface="+mn-cs"/>
        </a:defRPr>
      </a:lvl6pPr>
      <a:lvl7pPr marL="4457106" indent="-342854" algn="l" defTabSz="1371417" rtl="0" eaLnBrk="1" latinLnBrk="0" hangingPunct="1">
        <a:lnSpc>
          <a:spcPct val="90000"/>
        </a:lnSpc>
        <a:spcBef>
          <a:spcPts val="750"/>
        </a:spcBef>
        <a:buFont typeface="Arial" panose="020B0604020202020204" pitchFamily="34" charset="0"/>
        <a:buChar char="•"/>
        <a:defRPr kumimoji="1" sz="2700" kern="1200">
          <a:solidFill>
            <a:schemeClr val="tx1"/>
          </a:solidFill>
          <a:latin typeface="+mn-lt"/>
          <a:ea typeface="+mn-ea"/>
          <a:cs typeface="+mn-cs"/>
        </a:defRPr>
      </a:lvl7pPr>
      <a:lvl8pPr marL="5142814" indent="-342854" algn="l" defTabSz="1371417" rtl="0" eaLnBrk="1" latinLnBrk="0" hangingPunct="1">
        <a:lnSpc>
          <a:spcPct val="90000"/>
        </a:lnSpc>
        <a:spcBef>
          <a:spcPts val="750"/>
        </a:spcBef>
        <a:buFont typeface="Arial" panose="020B0604020202020204" pitchFamily="34" charset="0"/>
        <a:buChar char="•"/>
        <a:defRPr kumimoji="1" sz="2700" kern="1200">
          <a:solidFill>
            <a:schemeClr val="tx1"/>
          </a:solidFill>
          <a:latin typeface="+mn-lt"/>
          <a:ea typeface="+mn-ea"/>
          <a:cs typeface="+mn-cs"/>
        </a:defRPr>
      </a:lvl8pPr>
      <a:lvl9pPr marL="5828523" indent="-342854" algn="l" defTabSz="1371417" rtl="0" eaLnBrk="1" latinLnBrk="0" hangingPunct="1">
        <a:lnSpc>
          <a:spcPct val="90000"/>
        </a:lnSpc>
        <a:spcBef>
          <a:spcPts val="750"/>
        </a:spcBef>
        <a:buFont typeface="Arial" panose="020B0604020202020204" pitchFamily="34" charset="0"/>
        <a:buChar char="•"/>
        <a:defRPr kumimoji="1" sz="2700" kern="1200">
          <a:solidFill>
            <a:schemeClr val="tx1"/>
          </a:solidFill>
          <a:latin typeface="+mn-lt"/>
          <a:ea typeface="+mn-ea"/>
          <a:cs typeface="+mn-cs"/>
        </a:defRPr>
      </a:lvl9pPr>
    </p:bodyStyle>
    <p:otherStyle>
      <a:defPPr>
        <a:defRPr lang="ja-JP"/>
      </a:defPPr>
      <a:lvl1pPr marL="0" algn="l" defTabSz="1371417" rtl="0" eaLnBrk="1" latinLnBrk="0" hangingPunct="1">
        <a:defRPr kumimoji="1" sz="2700" kern="1200">
          <a:solidFill>
            <a:schemeClr val="tx1"/>
          </a:solidFill>
          <a:latin typeface="+mn-lt"/>
          <a:ea typeface="+mn-ea"/>
          <a:cs typeface="+mn-cs"/>
        </a:defRPr>
      </a:lvl1pPr>
      <a:lvl2pPr marL="685709" algn="l" defTabSz="1371417" rtl="0" eaLnBrk="1" latinLnBrk="0" hangingPunct="1">
        <a:defRPr kumimoji="1" sz="2700" kern="1200">
          <a:solidFill>
            <a:schemeClr val="tx1"/>
          </a:solidFill>
          <a:latin typeface="+mn-lt"/>
          <a:ea typeface="+mn-ea"/>
          <a:cs typeface="+mn-cs"/>
        </a:defRPr>
      </a:lvl2pPr>
      <a:lvl3pPr marL="1371417" algn="l" defTabSz="1371417" rtl="0" eaLnBrk="1" latinLnBrk="0" hangingPunct="1">
        <a:defRPr kumimoji="1" sz="2700" kern="1200">
          <a:solidFill>
            <a:schemeClr val="tx1"/>
          </a:solidFill>
          <a:latin typeface="+mn-lt"/>
          <a:ea typeface="+mn-ea"/>
          <a:cs typeface="+mn-cs"/>
        </a:defRPr>
      </a:lvl3pPr>
      <a:lvl4pPr marL="2057126" algn="l" defTabSz="1371417" rtl="0" eaLnBrk="1" latinLnBrk="0" hangingPunct="1">
        <a:defRPr kumimoji="1" sz="2700" kern="1200">
          <a:solidFill>
            <a:schemeClr val="tx1"/>
          </a:solidFill>
          <a:latin typeface="+mn-lt"/>
          <a:ea typeface="+mn-ea"/>
          <a:cs typeface="+mn-cs"/>
        </a:defRPr>
      </a:lvl4pPr>
      <a:lvl5pPr marL="2742834" algn="l" defTabSz="1371417" rtl="0" eaLnBrk="1" latinLnBrk="0" hangingPunct="1">
        <a:defRPr kumimoji="1" sz="2700" kern="1200">
          <a:solidFill>
            <a:schemeClr val="tx1"/>
          </a:solidFill>
          <a:latin typeface="+mn-lt"/>
          <a:ea typeface="+mn-ea"/>
          <a:cs typeface="+mn-cs"/>
        </a:defRPr>
      </a:lvl5pPr>
      <a:lvl6pPr marL="3428543" algn="l" defTabSz="1371417" rtl="0" eaLnBrk="1" latinLnBrk="0" hangingPunct="1">
        <a:defRPr kumimoji="1" sz="2700" kern="1200">
          <a:solidFill>
            <a:schemeClr val="tx1"/>
          </a:solidFill>
          <a:latin typeface="+mn-lt"/>
          <a:ea typeface="+mn-ea"/>
          <a:cs typeface="+mn-cs"/>
        </a:defRPr>
      </a:lvl6pPr>
      <a:lvl7pPr marL="4114251" algn="l" defTabSz="1371417" rtl="0" eaLnBrk="1" latinLnBrk="0" hangingPunct="1">
        <a:defRPr kumimoji="1" sz="2700" kern="1200">
          <a:solidFill>
            <a:schemeClr val="tx1"/>
          </a:solidFill>
          <a:latin typeface="+mn-lt"/>
          <a:ea typeface="+mn-ea"/>
          <a:cs typeface="+mn-cs"/>
        </a:defRPr>
      </a:lvl7pPr>
      <a:lvl8pPr marL="4799960" algn="l" defTabSz="1371417" rtl="0" eaLnBrk="1" latinLnBrk="0" hangingPunct="1">
        <a:defRPr kumimoji="1" sz="2700" kern="1200">
          <a:solidFill>
            <a:schemeClr val="tx1"/>
          </a:solidFill>
          <a:latin typeface="+mn-lt"/>
          <a:ea typeface="+mn-ea"/>
          <a:cs typeface="+mn-cs"/>
        </a:defRPr>
      </a:lvl8pPr>
      <a:lvl9pPr marL="5485668" algn="l" defTabSz="1371417" rtl="0" eaLnBrk="1" latinLnBrk="0" hangingPunct="1">
        <a:defRPr kumimoji="1" sz="2700" kern="1200">
          <a:solidFill>
            <a:schemeClr val="tx1"/>
          </a:solidFill>
          <a:latin typeface="+mn-lt"/>
          <a:ea typeface="+mn-ea"/>
          <a:cs typeface="+mn-cs"/>
        </a:defRPr>
      </a:lvl9pPr>
    </p:otherStyle>
  </p:txStyles>
  <p:extLst>
    <p:ext uri="{27BBF7A9-308A-43DC-89C8-2F10F3537804}">
      <p15:sldGuideLst xmlns:p15="http://schemas.microsoft.com/office/powerpoint/2012/main">
        <p15:guide id="1" orient="horz" pos="3239" userDrawn="1">
          <p15:clr>
            <a:srgbClr val="F26B43"/>
          </p15:clr>
        </p15:guide>
        <p15:guide id="2" pos="5760" userDrawn="1">
          <p15:clr>
            <a:srgbClr val="F26B43"/>
          </p15:clr>
        </p15:guide>
        <p15:guide id="3" pos="702" userDrawn="1">
          <p15:clr>
            <a:srgbClr val="F26B43"/>
          </p15:clr>
        </p15:guide>
        <p15:guide id="4" pos="10818" userDrawn="1">
          <p15:clr>
            <a:srgbClr val="F26B43"/>
          </p15:clr>
        </p15:guide>
        <p15:guide id="5" orient="horz" pos="450" userDrawn="1">
          <p15:clr>
            <a:srgbClr val="F26B43"/>
          </p15:clr>
        </p15:guide>
        <p15:guide id="6" orient="horz" pos="6074" userDrawn="1">
          <p15:clr>
            <a:srgbClr val="F26B43"/>
          </p15:clr>
        </p15:guide>
      </p15:sldGuideLst>
    </p:ext>
  </p:extLst>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3.xml"/></Relationships>
</file>

<file path=ppt/slides/_rels/slide11.xml.rels><?xml version="1.0" encoding="UTF-8" standalone="yes"?>
<Relationships xmlns="http://schemas.openxmlformats.org/package/2006/relationships"><Relationship Id="rId3" Type="http://schemas.openxmlformats.org/officeDocument/2006/relationships/image" Target="../media/image22.png"/><Relationship Id="rId2" Type="http://schemas.openxmlformats.org/officeDocument/2006/relationships/notesSlide" Target="../notesSlides/notesSlide11.xml"/><Relationship Id="rId1" Type="http://schemas.openxmlformats.org/officeDocument/2006/relationships/slideLayout" Target="../slideLayouts/slideLayout3.xml"/><Relationship Id="rId5" Type="http://schemas.openxmlformats.org/officeDocument/2006/relationships/image" Target="../media/image24.png"/><Relationship Id="rId4" Type="http://schemas.openxmlformats.org/officeDocument/2006/relationships/image" Target="../media/image23.png"/></Relationships>
</file>

<file path=ppt/slides/_rels/slide1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2.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8" Type="http://schemas.openxmlformats.org/officeDocument/2006/relationships/image" Target="../media/image30.png"/><Relationship Id="rId3" Type="http://schemas.openxmlformats.org/officeDocument/2006/relationships/image" Target="../media/image25.png"/><Relationship Id="rId7" Type="http://schemas.openxmlformats.org/officeDocument/2006/relationships/image" Target="../media/image29.svg"/><Relationship Id="rId2" Type="http://schemas.openxmlformats.org/officeDocument/2006/relationships/notesSlide" Target="../notesSlides/notesSlide13.xml"/><Relationship Id="rId1" Type="http://schemas.openxmlformats.org/officeDocument/2006/relationships/slideLayout" Target="../slideLayouts/slideLayout3.xml"/><Relationship Id="rId6" Type="http://schemas.openxmlformats.org/officeDocument/2006/relationships/image" Target="../media/image28.png"/><Relationship Id="rId11" Type="http://schemas.openxmlformats.org/officeDocument/2006/relationships/image" Target="../media/image33.png"/><Relationship Id="rId5" Type="http://schemas.openxmlformats.org/officeDocument/2006/relationships/image" Target="../media/image27.png"/><Relationship Id="rId10" Type="http://schemas.openxmlformats.org/officeDocument/2006/relationships/image" Target="../media/image32.png"/><Relationship Id="rId4" Type="http://schemas.openxmlformats.org/officeDocument/2006/relationships/image" Target="../media/image26.png"/><Relationship Id="rId9" Type="http://schemas.openxmlformats.org/officeDocument/2006/relationships/image" Target="../media/image31.png"/></Relationships>
</file>

<file path=ppt/slides/_rels/slide14.xml.rels><?xml version="1.0" encoding="UTF-8" standalone="yes"?>
<Relationships xmlns="http://schemas.openxmlformats.org/package/2006/relationships"><Relationship Id="rId8" Type="http://schemas.openxmlformats.org/officeDocument/2006/relationships/image" Target="../media/image35.png"/><Relationship Id="rId3" Type="http://schemas.openxmlformats.org/officeDocument/2006/relationships/slideLayout" Target="../slideLayouts/slideLayout5.xml"/><Relationship Id="rId7" Type="http://schemas.openxmlformats.org/officeDocument/2006/relationships/image" Target="../media/image34.png"/><Relationship Id="rId2" Type="http://schemas.openxmlformats.org/officeDocument/2006/relationships/tags" Target="../tags/tag3.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4.xml"/></Relationships>
</file>

<file path=ppt/slides/_rels/slide15.xml.rels><?xml version="1.0" encoding="UTF-8" standalone="yes"?>
<Relationships xmlns="http://schemas.openxmlformats.org/package/2006/relationships"><Relationship Id="rId3" Type="http://schemas.openxmlformats.org/officeDocument/2006/relationships/image" Target="../media/image35.png"/><Relationship Id="rId2" Type="http://schemas.openxmlformats.org/officeDocument/2006/relationships/notesSlide" Target="../notesSlides/notesSlide15.xml"/><Relationship Id="rId1" Type="http://schemas.openxmlformats.org/officeDocument/2006/relationships/slideLayout" Target="../slideLayouts/slideLayout5.xml"/><Relationship Id="rId4" Type="http://schemas.openxmlformats.org/officeDocument/2006/relationships/image" Target="../media/image36.png"/></Relationships>
</file>

<file path=ppt/slides/_rels/slide1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16.xml"/><Relationship Id="rId1" Type="http://schemas.openxmlformats.org/officeDocument/2006/relationships/slideLayout" Target="../slideLayouts/slideLayout5.xml"/><Relationship Id="rId5" Type="http://schemas.openxmlformats.org/officeDocument/2006/relationships/image" Target="../media/image35.png"/><Relationship Id="rId4" Type="http://schemas.openxmlformats.org/officeDocument/2006/relationships/image" Target="../media/image15.svg"/></Relationships>
</file>

<file path=ppt/slides/_rels/slide17.xml.rels><?xml version="1.0" encoding="UTF-8" standalone="yes"?>
<Relationships xmlns="http://schemas.openxmlformats.org/package/2006/relationships"><Relationship Id="rId3" Type="http://schemas.openxmlformats.org/officeDocument/2006/relationships/image" Target="../media/image37.png"/><Relationship Id="rId2" Type="http://schemas.openxmlformats.org/officeDocument/2006/relationships/notesSlide" Target="../notesSlides/notesSlide17.xml"/><Relationship Id="rId1" Type="http://schemas.openxmlformats.org/officeDocument/2006/relationships/slideLayout" Target="../slideLayouts/slideLayout5.xml"/><Relationship Id="rId6" Type="http://schemas.openxmlformats.org/officeDocument/2006/relationships/image" Target="../media/image36.png"/><Relationship Id="rId5" Type="http://schemas.openxmlformats.org/officeDocument/2006/relationships/image" Target="../media/image35.png"/><Relationship Id="rId4" Type="http://schemas.openxmlformats.org/officeDocument/2006/relationships/image" Target="../media/image38.svg"/></Relationships>
</file>

<file path=ppt/slides/_rels/slide18.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18.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19.xml"/><Relationship Id="rId1" Type="http://schemas.openxmlformats.org/officeDocument/2006/relationships/slideLayout" Target="../slideLayouts/slideLayout3.xml"/><Relationship Id="rId6" Type="http://schemas.openxmlformats.org/officeDocument/2006/relationships/image" Target="../media/image42.png"/><Relationship Id="rId5" Type="http://schemas.openxmlformats.org/officeDocument/2006/relationships/image" Target="../media/image41.png"/><Relationship Id="rId4" Type="http://schemas.openxmlformats.org/officeDocument/2006/relationships/image" Target="../media/image40.pn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3.xml"/><Relationship Id="rId4" Type="http://schemas.openxmlformats.org/officeDocument/2006/relationships/image" Target="../media/image5.png"/></Relationships>
</file>

<file path=ppt/slides/_rels/slide20.xml.rels><?xml version="1.0" encoding="UTF-8" standalone="yes"?>
<Relationships xmlns="http://schemas.openxmlformats.org/package/2006/relationships"><Relationship Id="rId3" Type="http://schemas.openxmlformats.org/officeDocument/2006/relationships/image" Target="../media/image44.png"/><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1.xml.rels><?xml version="1.0" encoding="UTF-8" standalone="yes"?>
<Relationships xmlns="http://schemas.openxmlformats.org/package/2006/relationships"><Relationship Id="rId3" Type="http://schemas.openxmlformats.org/officeDocument/2006/relationships/image" Target="../media/image45.png"/><Relationship Id="rId2" Type="http://schemas.openxmlformats.org/officeDocument/2006/relationships/notesSlide" Target="../notesSlides/notesSlide21.xml"/><Relationship Id="rId1" Type="http://schemas.openxmlformats.org/officeDocument/2006/relationships/slideLayout" Target="../slideLayouts/slideLayout3.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3.xml"/></Relationships>
</file>

<file path=ppt/slides/_rels/slide23.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3.xml"/><Relationship Id="rId1" Type="http://schemas.openxmlformats.org/officeDocument/2006/relationships/slideLayout" Target="../slideLayouts/slideLayout5.xml"/><Relationship Id="rId4" Type="http://schemas.openxmlformats.org/officeDocument/2006/relationships/image" Target="../media/image46.png"/></Relationships>
</file>

<file path=ppt/slides/_rels/slide24.xml.rels><?xml version="1.0" encoding="UTF-8" standalone="yes"?>
<Relationships xmlns="http://schemas.openxmlformats.org/package/2006/relationships"><Relationship Id="rId3" Type="http://schemas.openxmlformats.org/officeDocument/2006/relationships/image" Target="../media/image36.png"/><Relationship Id="rId2" Type="http://schemas.openxmlformats.org/officeDocument/2006/relationships/notesSlide" Target="../notesSlides/notesSlide24.xml"/><Relationship Id="rId1" Type="http://schemas.openxmlformats.org/officeDocument/2006/relationships/slideLayout" Target="../slideLayouts/slideLayout5.xml"/><Relationship Id="rId4" Type="http://schemas.openxmlformats.org/officeDocument/2006/relationships/image" Target="../media/image47.png"/></Relationships>
</file>

<file path=ppt/slides/_rels/slide25.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5.xml"/><Relationship Id="rId1" Type="http://schemas.openxmlformats.org/officeDocument/2006/relationships/slideLayout" Target="../slideLayouts/slideLayout5.xml"/><Relationship Id="rId5" Type="http://schemas.openxmlformats.org/officeDocument/2006/relationships/image" Target="../media/image46.png"/><Relationship Id="rId4" Type="http://schemas.openxmlformats.org/officeDocument/2006/relationships/image" Target="../media/image15.svg"/></Relationships>
</file>

<file path=ppt/slides/_rels/slide2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26.xml"/><Relationship Id="rId1" Type="http://schemas.openxmlformats.org/officeDocument/2006/relationships/slideLayout" Target="../slideLayouts/slideLayout5.xml"/><Relationship Id="rId5" Type="http://schemas.openxmlformats.org/officeDocument/2006/relationships/image" Target="../media/image47.png"/><Relationship Id="rId4" Type="http://schemas.openxmlformats.org/officeDocument/2006/relationships/image" Target="../media/image15.svg"/></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6.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8.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3.xml"/><Relationship Id="rId1" Type="http://schemas.openxmlformats.org/officeDocument/2006/relationships/slideLayout" Target="../slideLayouts/slideLayout3.xml"/><Relationship Id="rId6" Type="http://schemas.openxmlformats.org/officeDocument/2006/relationships/image" Target="../media/image9.png"/><Relationship Id="rId5" Type="http://schemas.openxmlformats.org/officeDocument/2006/relationships/image" Target="../media/image8.png"/><Relationship Id="rId4" Type="http://schemas.openxmlformats.org/officeDocument/2006/relationships/image" Target="../media/image7.svg"/></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8.xml"/></Relationships>
</file>

<file path=ppt/slides/_rels/slide31.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1.xml"/><Relationship Id="rId1" Type="http://schemas.openxmlformats.org/officeDocument/2006/relationships/slideLayout" Target="../slideLayouts/slideLayout7.xml"/></Relationships>
</file>

<file path=ppt/slides/_rels/slide32.xml.rels><?xml version="1.0" encoding="UTF-8" standalone="yes"?>
<Relationships xmlns="http://schemas.openxmlformats.org/package/2006/relationships"><Relationship Id="rId3" Type="http://schemas.openxmlformats.org/officeDocument/2006/relationships/image" Target="../media/image48.png"/><Relationship Id="rId2" Type="http://schemas.openxmlformats.org/officeDocument/2006/relationships/notesSlide" Target="../notesSlides/notesSlide32.xml"/><Relationship Id="rId1" Type="http://schemas.openxmlformats.org/officeDocument/2006/relationships/slideLayout" Target="../slideLayouts/slideLayout8.xml"/></Relationships>
</file>

<file path=ppt/slides/_rels/slide3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3.xml"/><Relationship Id="rId1" Type="http://schemas.openxmlformats.org/officeDocument/2006/relationships/slideLayout" Target="../slideLayouts/slideLayout4.xml"/></Relationships>
</file>

<file path=ppt/slides/_rels/slide34.xml.rels><?xml version="1.0" encoding="UTF-8" standalone="yes"?>
<Relationships xmlns="http://schemas.openxmlformats.org/package/2006/relationships"><Relationship Id="rId3" Type="http://schemas.openxmlformats.org/officeDocument/2006/relationships/image" Target="../media/image49.png"/><Relationship Id="rId2" Type="http://schemas.openxmlformats.org/officeDocument/2006/relationships/notesSlide" Target="../notesSlides/notesSlide34.xml"/><Relationship Id="rId1" Type="http://schemas.openxmlformats.org/officeDocument/2006/relationships/slideLayout" Target="../slideLayouts/slideLayout3.xml"/><Relationship Id="rId4" Type="http://schemas.openxmlformats.org/officeDocument/2006/relationships/image" Target="../media/image50.png"/></Relationships>
</file>

<file path=ppt/slides/_rels/slide35.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5.xml"/><Relationship Id="rId1" Type="http://schemas.openxmlformats.org/officeDocument/2006/relationships/slideLayout" Target="../slideLayouts/slideLayout3.xml"/><Relationship Id="rId4" Type="http://schemas.openxmlformats.org/officeDocument/2006/relationships/image" Target="../media/image52.png"/></Relationships>
</file>

<file path=ppt/slides/_rels/slide36.xml.rels><?xml version="1.0" encoding="UTF-8" standalone="yes"?>
<Relationships xmlns="http://schemas.openxmlformats.org/package/2006/relationships"><Relationship Id="rId3" Type="http://schemas.openxmlformats.org/officeDocument/2006/relationships/image" Target="../media/image53.jpeg"/><Relationship Id="rId7" Type="http://schemas.openxmlformats.org/officeDocument/2006/relationships/image" Target="../media/image55.svg"/><Relationship Id="rId2" Type="http://schemas.openxmlformats.org/officeDocument/2006/relationships/notesSlide" Target="../notesSlides/notesSlide36.xml"/><Relationship Id="rId1" Type="http://schemas.openxmlformats.org/officeDocument/2006/relationships/slideLayout" Target="../slideLayouts/slideLayout5.xml"/><Relationship Id="rId6" Type="http://schemas.openxmlformats.org/officeDocument/2006/relationships/image" Target="../media/image54.png"/><Relationship Id="rId5" Type="http://schemas.openxmlformats.org/officeDocument/2006/relationships/image" Target="../media/image15.svg"/><Relationship Id="rId4" Type="http://schemas.openxmlformats.org/officeDocument/2006/relationships/image" Target="../media/image14.png"/></Relationships>
</file>

<file path=ppt/slides/_rels/slide37.xml.rels><?xml version="1.0" encoding="UTF-8" standalone="yes"?>
<Relationships xmlns="http://schemas.openxmlformats.org/package/2006/relationships"><Relationship Id="rId3" Type="http://schemas.openxmlformats.org/officeDocument/2006/relationships/image" Target="../media/image56.png"/><Relationship Id="rId2" Type="http://schemas.openxmlformats.org/officeDocument/2006/relationships/notesSlide" Target="../notesSlides/notesSlide37.xml"/><Relationship Id="rId1" Type="http://schemas.openxmlformats.org/officeDocument/2006/relationships/slideLayout" Target="../slideLayouts/slideLayout3.xml"/><Relationship Id="rId5" Type="http://schemas.openxmlformats.org/officeDocument/2006/relationships/image" Target="../media/image58.png"/><Relationship Id="rId4" Type="http://schemas.openxmlformats.org/officeDocument/2006/relationships/image" Target="../media/image57.png"/></Relationships>
</file>

<file path=ppt/slides/_rels/slide38.xml.rels><?xml version="1.0" encoding="UTF-8" standalone="yes"?>
<Relationships xmlns="http://schemas.openxmlformats.org/package/2006/relationships"><Relationship Id="rId3" Type="http://schemas.openxmlformats.org/officeDocument/2006/relationships/image" Target="../media/image51.png"/><Relationship Id="rId2" Type="http://schemas.openxmlformats.org/officeDocument/2006/relationships/notesSlide" Target="../notesSlides/notesSlide38.xml"/><Relationship Id="rId1" Type="http://schemas.openxmlformats.org/officeDocument/2006/relationships/slideLayout" Target="../slideLayouts/slideLayout3.xml"/><Relationship Id="rId4" Type="http://schemas.openxmlformats.org/officeDocument/2006/relationships/image" Target="../media/image60.png"/></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8" Type="http://schemas.openxmlformats.org/officeDocument/2006/relationships/image" Target="../media/image620.png"/><Relationship Id="rId3" Type="http://schemas.openxmlformats.org/officeDocument/2006/relationships/image" Target="../media/image10.png"/><Relationship Id="rId7" Type="http://schemas.openxmlformats.org/officeDocument/2006/relationships/slide" Target="slide6.xml"/><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11.png"/><Relationship Id="rId11" Type="http://schemas.openxmlformats.org/officeDocument/2006/relationships/image" Target="../media/image110.png"/><Relationship Id="rId5" Type="http://schemas.openxmlformats.org/officeDocument/2006/relationships/image" Target="../media/image59.png"/><Relationship Id="rId10" Type="http://schemas.openxmlformats.org/officeDocument/2006/relationships/slide" Target="slide27.xml"/><Relationship Id="rId4" Type="http://schemas.openxmlformats.org/officeDocument/2006/relationships/slide" Target="slide8.xml"/><Relationship Id="rId9" Type="http://schemas.openxmlformats.org/officeDocument/2006/relationships/image" Target="../media/image12.png"/></Relationships>
</file>

<file path=ppt/slides/_rels/slide40.xml.rels><?xml version="1.0" encoding="UTF-8" standalone="yes"?>
<Relationships xmlns="http://schemas.openxmlformats.org/package/2006/relationships"><Relationship Id="rId8" Type="http://schemas.openxmlformats.org/officeDocument/2006/relationships/image" Target="../media/image62.png"/><Relationship Id="rId3" Type="http://schemas.openxmlformats.org/officeDocument/2006/relationships/slideLayout" Target="../slideLayouts/slideLayout3.xml"/><Relationship Id="rId7" Type="http://schemas.openxmlformats.org/officeDocument/2006/relationships/image" Target="../media/image61.png"/><Relationship Id="rId12" Type="http://schemas.openxmlformats.org/officeDocument/2006/relationships/image" Target="../media/image66.png"/><Relationship Id="rId2" Type="http://schemas.openxmlformats.org/officeDocument/2006/relationships/tags" Target="../tags/tag4.xml"/><Relationship Id="rId1" Type="http://schemas.openxmlformats.org/officeDocument/2006/relationships/vmlDrawing" Target="../drawings/vmlDrawing3.vml"/><Relationship Id="rId6" Type="http://schemas.openxmlformats.org/officeDocument/2006/relationships/image" Target="../media/image1.emf"/><Relationship Id="rId11" Type="http://schemas.openxmlformats.org/officeDocument/2006/relationships/image" Target="../media/image65.svg"/><Relationship Id="rId5" Type="http://schemas.openxmlformats.org/officeDocument/2006/relationships/oleObject" Target="../embeddings/oleObject3.bin"/><Relationship Id="rId10" Type="http://schemas.openxmlformats.org/officeDocument/2006/relationships/image" Target="../media/image64.png"/><Relationship Id="rId4" Type="http://schemas.openxmlformats.org/officeDocument/2006/relationships/notesSlide" Target="../notesSlides/notesSlide40.xml"/><Relationship Id="rId9" Type="http://schemas.openxmlformats.org/officeDocument/2006/relationships/image" Target="../media/image63.svg"/></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6.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42.xml"/><Relationship Id="rId1" Type="http://schemas.openxmlformats.org/officeDocument/2006/relationships/slideLayout" Target="../slideLayouts/slideLayout8.xml"/></Relationships>
</file>

<file path=ppt/slides/_rels/slide43.xml.rels><?xml version="1.0" encoding="UTF-8" standalone="yes"?>
<Relationships xmlns="http://schemas.openxmlformats.org/package/2006/relationships"><Relationship Id="rId8" Type="http://schemas.openxmlformats.org/officeDocument/2006/relationships/image" Target="../media/image72.png"/><Relationship Id="rId3" Type="http://schemas.openxmlformats.org/officeDocument/2006/relationships/image" Target="../media/image67.jpeg"/><Relationship Id="rId7" Type="http://schemas.openxmlformats.org/officeDocument/2006/relationships/image" Target="../media/image71.svg"/><Relationship Id="rId2" Type="http://schemas.openxmlformats.org/officeDocument/2006/relationships/notesSlide" Target="../notesSlides/notesSlide43.xml"/><Relationship Id="rId1" Type="http://schemas.openxmlformats.org/officeDocument/2006/relationships/slideLayout" Target="../slideLayouts/slideLayout7.xml"/><Relationship Id="rId6" Type="http://schemas.openxmlformats.org/officeDocument/2006/relationships/image" Target="../media/image70.png"/><Relationship Id="rId5" Type="http://schemas.openxmlformats.org/officeDocument/2006/relationships/image" Target="../media/image69.svg"/><Relationship Id="rId4" Type="http://schemas.openxmlformats.org/officeDocument/2006/relationships/image" Target="../media/image68.png"/><Relationship Id="rId9" Type="http://schemas.openxmlformats.org/officeDocument/2006/relationships/image" Target="../media/image73.svg"/></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8.xml"/></Relationships>
</file>

<file path=ppt/slides/_rels/slide4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45.xml"/><Relationship Id="rId1" Type="http://schemas.openxmlformats.org/officeDocument/2006/relationships/slideLayout" Target="../slideLayouts/slideLayout4.xml"/></Relationships>
</file>

<file path=ppt/slides/_rels/slide46.xml.rels><?xml version="1.0" encoding="UTF-8" standalone="yes"?>
<Relationships xmlns="http://schemas.openxmlformats.org/package/2006/relationships"><Relationship Id="rId3" Type="http://schemas.openxmlformats.org/officeDocument/2006/relationships/image" Target="../media/image39.png"/><Relationship Id="rId2" Type="http://schemas.openxmlformats.org/officeDocument/2006/relationships/notesSlide" Target="../notesSlides/notesSlide46.xml"/><Relationship Id="rId1" Type="http://schemas.openxmlformats.org/officeDocument/2006/relationships/slideLayout" Target="../slideLayouts/slideLayout3.xml"/><Relationship Id="rId5" Type="http://schemas.openxmlformats.org/officeDocument/2006/relationships/image" Target="../media/image75.png"/><Relationship Id="rId4" Type="http://schemas.openxmlformats.org/officeDocument/2006/relationships/image" Target="../media/image74.png"/></Relationships>
</file>

<file path=ppt/slides/_rels/slide47.xml.rels><?xml version="1.0" encoding="UTF-8" standalone="yes"?>
<Relationships xmlns="http://schemas.openxmlformats.org/package/2006/relationships"><Relationship Id="rId3" Type="http://schemas.openxmlformats.org/officeDocument/2006/relationships/image" Target="../media/image76.png"/><Relationship Id="rId7" Type="http://schemas.openxmlformats.org/officeDocument/2006/relationships/image" Target="../media/image80.png"/><Relationship Id="rId2" Type="http://schemas.openxmlformats.org/officeDocument/2006/relationships/notesSlide" Target="../notesSlides/notesSlide47.xml"/><Relationship Id="rId1" Type="http://schemas.openxmlformats.org/officeDocument/2006/relationships/slideLayout" Target="../slideLayouts/slideLayout5.xml"/><Relationship Id="rId6" Type="http://schemas.openxmlformats.org/officeDocument/2006/relationships/image" Target="../media/image79.svg"/><Relationship Id="rId5" Type="http://schemas.openxmlformats.org/officeDocument/2006/relationships/image" Target="../media/image78.png"/><Relationship Id="rId4" Type="http://schemas.openxmlformats.org/officeDocument/2006/relationships/image" Target="../media/image77.svg"/></Relationships>
</file>

<file path=ppt/slides/_rels/slide48.xml.rels><?xml version="1.0" encoding="UTF-8" standalone="yes"?>
<Relationships xmlns="http://schemas.openxmlformats.org/package/2006/relationships"><Relationship Id="rId3" Type="http://schemas.openxmlformats.org/officeDocument/2006/relationships/hyperlink" Target="https://www.ppc.go.jp/news/careful_information/230602_AI_utilize_alert/" TargetMode="External"/><Relationship Id="rId2" Type="http://schemas.openxmlformats.org/officeDocument/2006/relationships/notesSlide" Target="../notesSlides/notesSlide48.xml"/><Relationship Id="rId1" Type="http://schemas.openxmlformats.org/officeDocument/2006/relationships/slideLayout" Target="../slideLayouts/slideLayout3.xml"/><Relationship Id="rId6" Type="http://schemas.openxmlformats.org/officeDocument/2006/relationships/image" Target="../media/image83.png"/><Relationship Id="rId5" Type="http://schemas.openxmlformats.org/officeDocument/2006/relationships/image" Target="../media/image82.png"/><Relationship Id="rId4" Type="http://schemas.openxmlformats.org/officeDocument/2006/relationships/image" Target="../media/image81.png"/></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6.xml"/></Relationships>
</file>

<file path=ppt/slides/_rels/slide5.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xml"/><Relationship Id="rId1" Type="http://schemas.openxmlformats.org/officeDocument/2006/relationships/slideLayout" Target="../slideLayouts/slideLayout4.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8.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7.xml"/></Relationships>
</file>

<file path=ppt/slides/_rels/slide52.xml.rels><?xml version="1.0" encoding="UTF-8" standalone="yes"?>
<Relationships xmlns="http://schemas.openxmlformats.org/package/2006/relationships"><Relationship Id="rId2" Type="http://schemas.openxmlformats.org/officeDocument/2006/relationships/notesSlide" Target="../notesSlides/notesSlide52.xml"/><Relationship Id="rId1" Type="http://schemas.openxmlformats.org/officeDocument/2006/relationships/slideLayout" Target="../slideLayouts/slideLayout8.xml"/></Relationships>
</file>

<file path=ppt/slides/_rels/slide53.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53.xml"/><Relationship Id="rId1" Type="http://schemas.openxmlformats.org/officeDocument/2006/relationships/slideLayout" Target="../slideLayouts/slideLayout4.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3.xml"/></Relationships>
</file>

<file path=ppt/slides/_rels/slide55.xml.rels><?xml version="1.0" encoding="UTF-8" standalone="yes"?>
<Relationships xmlns="http://schemas.openxmlformats.org/package/2006/relationships"><Relationship Id="rId8" Type="http://schemas.openxmlformats.org/officeDocument/2006/relationships/image" Target="../media/image86.png"/><Relationship Id="rId3" Type="http://schemas.openxmlformats.org/officeDocument/2006/relationships/hyperlink" Target="https://www.nytimes.com/2023/02/13/technology/ai-art-generator-lensa-stable-diffusion.html" TargetMode="External"/><Relationship Id="rId7" Type="http://schemas.openxmlformats.org/officeDocument/2006/relationships/image" Target="../media/image85.png"/><Relationship Id="rId2" Type="http://schemas.openxmlformats.org/officeDocument/2006/relationships/notesSlide" Target="../notesSlides/notesSlide55.xml"/><Relationship Id="rId1" Type="http://schemas.openxmlformats.org/officeDocument/2006/relationships/slideLayout" Target="../slideLayouts/slideLayout5.xml"/><Relationship Id="rId6" Type="http://schemas.openxmlformats.org/officeDocument/2006/relationships/image" Target="../media/image84.png"/><Relationship Id="rId5" Type="http://schemas.openxmlformats.org/officeDocument/2006/relationships/image" Target="../media/image55.svg"/><Relationship Id="rId10" Type="http://schemas.openxmlformats.org/officeDocument/2006/relationships/image" Target="../media/image88.png"/><Relationship Id="rId4" Type="http://schemas.openxmlformats.org/officeDocument/2006/relationships/image" Target="../media/image54.png"/><Relationship Id="rId9" Type="http://schemas.openxmlformats.org/officeDocument/2006/relationships/image" Target="../media/image87.png"/></Relationships>
</file>

<file path=ppt/slides/_rels/slide56.xml.rels><?xml version="1.0" encoding="UTF-8" standalone="yes"?>
<Relationships xmlns="http://schemas.openxmlformats.org/package/2006/relationships"><Relationship Id="rId3" Type="http://schemas.openxmlformats.org/officeDocument/2006/relationships/image" Target="../media/image89.png"/><Relationship Id="rId2" Type="http://schemas.openxmlformats.org/officeDocument/2006/relationships/notesSlide" Target="../notesSlides/notesSlide56.xml"/><Relationship Id="rId1" Type="http://schemas.openxmlformats.org/officeDocument/2006/relationships/slideLayout" Target="../slideLayouts/slideLayout3.xml"/><Relationship Id="rId4" Type="http://schemas.openxmlformats.org/officeDocument/2006/relationships/image" Target="../media/image90.png"/></Relationships>
</file>

<file path=ppt/slides/_rels/slide57.xml.rels><?xml version="1.0" encoding="UTF-8" standalone="yes"?>
<Relationships xmlns="http://schemas.openxmlformats.org/package/2006/relationships"><Relationship Id="rId3" Type="http://schemas.openxmlformats.org/officeDocument/2006/relationships/image" Target="../media/image91.png"/><Relationship Id="rId2" Type="http://schemas.openxmlformats.org/officeDocument/2006/relationships/notesSlide" Target="../notesSlides/notesSlide57.xml"/><Relationship Id="rId1" Type="http://schemas.openxmlformats.org/officeDocument/2006/relationships/slideLayout" Target="../slideLayouts/slideLayout3.xml"/><Relationship Id="rId5" Type="http://schemas.openxmlformats.org/officeDocument/2006/relationships/image" Target="../media/image93.png"/><Relationship Id="rId4" Type="http://schemas.openxmlformats.org/officeDocument/2006/relationships/image" Target="../media/image92.png"/></Relationships>
</file>

<file path=ppt/slides/_rels/slide58.xml.rels><?xml version="1.0" encoding="UTF-8" standalone="yes"?>
<Relationships xmlns="http://schemas.openxmlformats.org/package/2006/relationships"><Relationship Id="rId2" Type="http://schemas.openxmlformats.org/officeDocument/2006/relationships/notesSlide" Target="../notesSlides/notesSlide58.xml"/><Relationship Id="rId1" Type="http://schemas.openxmlformats.org/officeDocument/2006/relationships/slideLayout" Target="../slideLayouts/slideLayout6.xml"/></Relationships>
</file>

<file path=ppt/slides/_rels/slide59.xml.rels><?xml version="1.0" encoding="UTF-8" standalone="yes"?>
<Relationships xmlns="http://schemas.openxmlformats.org/package/2006/relationships"><Relationship Id="rId2" Type="http://schemas.openxmlformats.org/officeDocument/2006/relationships/notesSlide" Target="../notesSlides/notesSlide59.xml"/><Relationship Id="rId1" Type="http://schemas.openxmlformats.org/officeDocument/2006/relationships/slideLayout" Target="../slideLayouts/slideLayout8.xml"/></Relationships>
</file>

<file path=ppt/slides/_rels/slide6.xml.rels><?xml version="1.0" encoding="UTF-8" standalone="yes"?>
<Relationships xmlns="http://schemas.openxmlformats.org/package/2006/relationships"><Relationship Id="rId3" Type="http://schemas.openxmlformats.org/officeDocument/2006/relationships/image" Target="../media/image14.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7.svg"/><Relationship Id="rId5" Type="http://schemas.openxmlformats.org/officeDocument/2006/relationships/image" Target="../media/image16.png"/><Relationship Id="rId4" Type="http://schemas.openxmlformats.org/officeDocument/2006/relationships/image" Target="../media/image15.svg"/></Relationships>
</file>

<file path=ppt/slides/_rels/slide60.xml.rels><?xml version="1.0" encoding="UTF-8" standalone="yes"?>
<Relationships xmlns="http://schemas.openxmlformats.org/package/2006/relationships"><Relationship Id="rId2" Type="http://schemas.openxmlformats.org/officeDocument/2006/relationships/notesSlide" Target="../notesSlides/notesSlide60.xml"/><Relationship Id="rId1" Type="http://schemas.openxmlformats.org/officeDocument/2006/relationships/slideLayout" Target="../slideLayouts/slideLayout7.xml"/></Relationships>
</file>

<file path=ppt/slides/_rels/slide61.xml.rels><?xml version="1.0" encoding="UTF-8" standalone="yes"?>
<Relationships xmlns="http://schemas.openxmlformats.org/package/2006/relationships"><Relationship Id="rId2" Type="http://schemas.openxmlformats.org/officeDocument/2006/relationships/notesSlide" Target="../notesSlides/notesSlide61.xml"/><Relationship Id="rId1" Type="http://schemas.openxmlformats.org/officeDocument/2006/relationships/slideLayout" Target="../slideLayouts/slideLayout8.xml"/></Relationships>
</file>

<file path=ppt/slides/_rels/slide62.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62.xml"/><Relationship Id="rId1" Type="http://schemas.openxmlformats.org/officeDocument/2006/relationships/slideLayout" Target="../slideLayouts/slideLayout4.xml"/></Relationships>
</file>

<file path=ppt/slides/_rels/slide63.xml.rels><?xml version="1.0" encoding="UTF-8" standalone="yes"?>
<Relationships xmlns="http://schemas.openxmlformats.org/package/2006/relationships"><Relationship Id="rId3" Type="http://schemas.openxmlformats.org/officeDocument/2006/relationships/image" Target="../media/image94.png"/><Relationship Id="rId2" Type="http://schemas.openxmlformats.org/officeDocument/2006/relationships/notesSlide" Target="../notesSlides/notesSlide63.xml"/><Relationship Id="rId1" Type="http://schemas.openxmlformats.org/officeDocument/2006/relationships/slideLayout" Target="../slideLayouts/slideLayout3.xml"/><Relationship Id="rId5" Type="http://schemas.openxmlformats.org/officeDocument/2006/relationships/image" Target="../media/image96.png"/><Relationship Id="rId4" Type="http://schemas.openxmlformats.org/officeDocument/2006/relationships/image" Target="../media/image95.png"/></Relationships>
</file>

<file path=ppt/slides/_rels/slide64.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64.xml"/><Relationship Id="rId1" Type="http://schemas.openxmlformats.org/officeDocument/2006/relationships/slideLayout" Target="../slideLayouts/slideLayout5.xml"/><Relationship Id="rId4" Type="http://schemas.openxmlformats.org/officeDocument/2006/relationships/image" Target="../media/image97.png"/></Relationships>
</file>

<file path=ppt/slides/_rels/slide65.xml.rels><?xml version="1.0" encoding="UTF-8" standalone="yes"?>
<Relationships xmlns="http://schemas.openxmlformats.org/package/2006/relationships"><Relationship Id="rId3" Type="http://schemas.openxmlformats.org/officeDocument/2006/relationships/image" Target="../media/image98.jpeg"/><Relationship Id="rId2" Type="http://schemas.openxmlformats.org/officeDocument/2006/relationships/notesSlide" Target="../notesSlides/notesSlide65.xml"/><Relationship Id="rId1" Type="http://schemas.openxmlformats.org/officeDocument/2006/relationships/slideLayout" Target="../slideLayouts/slideLayout5.xml"/><Relationship Id="rId4" Type="http://schemas.openxmlformats.org/officeDocument/2006/relationships/image" Target="../media/image99.jpeg"/></Relationships>
</file>

<file path=ppt/slides/_rels/slide66.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66.xml"/><Relationship Id="rId1" Type="http://schemas.openxmlformats.org/officeDocument/2006/relationships/slideLayout" Target="../slideLayouts/slideLayout5.xml"/><Relationship Id="rId4" Type="http://schemas.openxmlformats.org/officeDocument/2006/relationships/hyperlink" Target="https://newsdig.tbs.co.jp/articles/-/507779" TargetMode="External"/></Relationships>
</file>

<file path=ppt/slides/_rels/slide67.xml.rels><?xml version="1.0" encoding="UTF-8" standalone="yes"?>
<Relationships xmlns="http://schemas.openxmlformats.org/package/2006/relationships"><Relationship Id="rId2" Type="http://schemas.openxmlformats.org/officeDocument/2006/relationships/notesSlide" Target="../notesSlides/notesSlide67.xml"/><Relationship Id="rId1" Type="http://schemas.openxmlformats.org/officeDocument/2006/relationships/slideLayout" Target="../slideLayouts/slideLayout6.xml"/></Relationships>
</file>

<file path=ppt/slides/_rels/slide68.xml.rels><?xml version="1.0" encoding="UTF-8" standalone="yes"?>
<Relationships xmlns="http://schemas.openxmlformats.org/package/2006/relationships"><Relationship Id="rId2" Type="http://schemas.openxmlformats.org/officeDocument/2006/relationships/notesSlide" Target="../notesSlides/notesSlide68.xml"/><Relationship Id="rId1" Type="http://schemas.openxmlformats.org/officeDocument/2006/relationships/slideLayout" Target="../slideLayouts/slideLayout8.xml"/></Relationships>
</file>

<file path=ppt/slides/_rels/slide69.xml.rels><?xml version="1.0" encoding="UTF-8" standalone="yes"?>
<Relationships xmlns="http://schemas.openxmlformats.org/package/2006/relationships"><Relationship Id="rId3" Type="http://schemas.openxmlformats.org/officeDocument/2006/relationships/image" Target="../media/image101.jpeg"/><Relationship Id="rId2" Type="http://schemas.openxmlformats.org/officeDocument/2006/relationships/notesSlide" Target="../notesSlides/notesSlide69.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image" Target="../media/image19.png"/></Relationships>
</file>

<file path=ppt/slides/_rels/slide70.xml.rels><?xml version="1.0" encoding="UTF-8" standalone="yes"?>
<Relationships xmlns="http://schemas.openxmlformats.org/package/2006/relationships"><Relationship Id="rId2" Type="http://schemas.openxmlformats.org/officeDocument/2006/relationships/notesSlide" Target="../notesSlides/notesSlide70.xml"/><Relationship Id="rId1" Type="http://schemas.openxmlformats.org/officeDocument/2006/relationships/slideLayout" Target="../slideLayouts/slideLayout8.xml"/></Relationships>
</file>

<file path=ppt/slides/_rels/slide71.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71.xml"/><Relationship Id="rId1" Type="http://schemas.openxmlformats.org/officeDocument/2006/relationships/slideLayout" Target="../slideLayouts/slideLayout4.xml"/></Relationships>
</file>

<file path=ppt/slides/_rels/slide72.xml.rels><?xml version="1.0" encoding="UTF-8" standalone="yes"?>
<Relationships xmlns="http://schemas.openxmlformats.org/package/2006/relationships"><Relationship Id="rId3" Type="http://schemas.openxmlformats.org/officeDocument/2006/relationships/image" Target="../media/image102.png"/><Relationship Id="rId2" Type="http://schemas.openxmlformats.org/officeDocument/2006/relationships/notesSlide" Target="../notesSlides/notesSlide72.xml"/><Relationship Id="rId1" Type="http://schemas.openxmlformats.org/officeDocument/2006/relationships/slideLayout" Target="../slideLayouts/slideLayout3.xml"/><Relationship Id="rId6" Type="http://schemas.openxmlformats.org/officeDocument/2006/relationships/image" Target="../media/image105.png"/><Relationship Id="rId5" Type="http://schemas.openxmlformats.org/officeDocument/2006/relationships/image" Target="../media/image104.png"/><Relationship Id="rId4" Type="http://schemas.openxmlformats.org/officeDocument/2006/relationships/image" Target="../media/image103.png"/></Relationships>
</file>

<file path=ppt/slides/_rels/slide73.xml.rels><?xml version="1.0" encoding="UTF-8" standalone="yes"?>
<Relationships xmlns="http://schemas.openxmlformats.org/package/2006/relationships"><Relationship Id="rId2" Type="http://schemas.openxmlformats.org/officeDocument/2006/relationships/notesSlide" Target="../notesSlides/notesSlide73.xml"/><Relationship Id="rId1" Type="http://schemas.openxmlformats.org/officeDocument/2006/relationships/slideLayout" Target="../slideLayouts/slideLayout3.xml"/></Relationships>
</file>

<file path=ppt/slides/_rels/slide74.xml.rels><?xml version="1.0" encoding="UTF-8" standalone="yes"?>
<Relationships xmlns="http://schemas.openxmlformats.org/package/2006/relationships"><Relationship Id="rId8" Type="http://schemas.openxmlformats.org/officeDocument/2006/relationships/hyperlink" Target="https://www.soumu.go.jp/use_the_internet_wisely/" TargetMode="External"/><Relationship Id="rId3" Type="http://schemas.openxmlformats.org/officeDocument/2006/relationships/hyperlink" Target="https://www.meti.go.jp/policy/it_policy/jinzai/skill_standard/main.html" TargetMode="External"/><Relationship Id="rId7" Type="http://schemas.openxmlformats.org/officeDocument/2006/relationships/hyperlink" Target="https://www.mext.go.jp/zyoukatsu/moral/" TargetMode="External"/><Relationship Id="rId12" Type="http://schemas.openxmlformats.org/officeDocument/2006/relationships/hyperlink" Target="https://www.soumu.go.jp/main_sosiki/kenkyu/ai_network/02ryutsu20_04000025.html" TargetMode="External"/><Relationship Id="rId2" Type="http://schemas.openxmlformats.org/officeDocument/2006/relationships/hyperlink" Target="https://manabi-dx.ipa.go.jp/" TargetMode="External"/><Relationship Id="rId1" Type="http://schemas.openxmlformats.org/officeDocument/2006/relationships/slideLayout" Target="../slideLayouts/slideLayout3.xml"/><Relationship Id="rId6" Type="http://schemas.openxmlformats.org/officeDocument/2006/relationships/hyperlink" Target="https://www.mext.go.jp/moral/#/" TargetMode="External"/><Relationship Id="rId11" Type="http://schemas.openxmlformats.org/officeDocument/2006/relationships/hyperlink" Target="https://www.soumu.go.jp/use_the_internet_wisely/parent-teacher/digital_citizenship/" TargetMode="External"/><Relationship Id="rId5" Type="http://schemas.openxmlformats.org/officeDocument/2006/relationships/hyperlink" Target="https://www.bunka.go.jp/seisaku/chosakuken/pdf/93903601_01.pdf" TargetMode="External"/><Relationship Id="rId10" Type="http://schemas.openxmlformats.org/officeDocument/2006/relationships/hyperlink" Target="https://www.soumu.go.jp/use_the_internet_wisely/special/nisegojouhou/" TargetMode="External"/><Relationship Id="rId4" Type="http://schemas.openxmlformats.org/officeDocument/2006/relationships/hyperlink" Target="https://pf.bunka.go.jp/chosaku/tanoshiku/" TargetMode="External"/><Relationship Id="rId9" Type="http://schemas.openxmlformats.org/officeDocument/2006/relationships/hyperlink" Target="https://www.soumu.go.jp/use_the_internet_wisely/trouble/" TargetMode="External"/></Relationships>
</file>

<file path=ppt/slides/_rels/slide75.xml.rels><?xml version="1.0" encoding="UTF-8" standalone="yes"?>
<Relationships xmlns="http://schemas.openxmlformats.org/package/2006/relationships"><Relationship Id="rId3" Type="http://schemas.openxmlformats.org/officeDocument/2006/relationships/image" Target="../media/image106.png"/><Relationship Id="rId2" Type="http://schemas.openxmlformats.org/officeDocument/2006/relationships/notesSlide" Target="../notesSlides/notesSlide74.xml"/><Relationship Id="rId1" Type="http://schemas.openxmlformats.org/officeDocument/2006/relationships/slideLayout" Target="../slideLayouts/slideLayout3.xml"/><Relationship Id="rId6" Type="http://schemas.openxmlformats.org/officeDocument/2006/relationships/image" Target="../media/image109.png"/><Relationship Id="rId5" Type="http://schemas.openxmlformats.org/officeDocument/2006/relationships/image" Target="../media/image108.png"/><Relationship Id="rId4" Type="http://schemas.openxmlformats.org/officeDocument/2006/relationships/image" Target="../media/image107.svg"/></Relationships>
</file>

<file path=ppt/slides/_rels/slide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8.xml"/><Relationship Id="rId1" Type="http://schemas.openxmlformats.org/officeDocument/2006/relationships/slideLayout" Target="../slideLayouts/slideLayout5.xml"/><Relationship Id="rId4" Type="http://schemas.openxmlformats.org/officeDocument/2006/relationships/image" Target="../media/image21.png"/></Relationships>
</file>

<file path=ppt/slides/_rels/slide9.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9" name="グループ化 38">
            <a:extLst>
              <a:ext uri="{FF2B5EF4-FFF2-40B4-BE49-F238E27FC236}">
                <a16:creationId xmlns:a16="http://schemas.microsoft.com/office/drawing/2014/main" id="{27AB4332-95E0-B1C7-2E97-53CC3D180989}"/>
              </a:ext>
            </a:extLst>
          </p:cNvPr>
          <p:cNvGrpSpPr/>
          <p:nvPr/>
        </p:nvGrpSpPr>
        <p:grpSpPr>
          <a:xfrm>
            <a:off x="1106603" y="6677213"/>
            <a:ext cx="8206860" cy="1256312"/>
            <a:chOff x="727099" y="6425118"/>
            <a:chExt cx="8206860" cy="1256312"/>
          </a:xfrm>
          <a:effectLst>
            <a:outerShdw dist="114300" dir="2700000" algn="tl" rotWithShape="0">
              <a:schemeClr val="accent1">
                <a:lumMod val="50000"/>
                <a:alpha val="40000"/>
              </a:schemeClr>
            </a:outerShdw>
          </a:effectLst>
        </p:grpSpPr>
        <p:sp>
          <p:nvSpPr>
            <p:cNvPr id="40" name="正方形/長方形 39">
              <a:extLst>
                <a:ext uri="{FF2B5EF4-FFF2-40B4-BE49-F238E27FC236}">
                  <a16:creationId xmlns:a16="http://schemas.microsoft.com/office/drawing/2014/main" id="{78A13619-FA19-9CC3-E1A6-1C56EAF4A070}"/>
                </a:ext>
              </a:extLst>
            </p:cNvPr>
            <p:cNvSpPr/>
            <p:nvPr/>
          </p:nvSpPr>
          <p:spPr>
            <a:xfrm>
              <a:off x="1370226" y="6537855"/>
              <a:ext cx="999171" cy="999171"/>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テキスト ボックス 40">
              <a:extLst>
                <a:ext uri="{FF2B5EF4-FFF2-40B4-BE49-F238E27FC236}">
                  <a16:creationId xmlns:a16="http://schemas.microsoft.com/office/drawing/2014/main" id="{CEDDC837-8496-1511-66DA-8EA054D1F5AE}"/>
                </a:ext>
              </a:extLst>
            </p:cNvPr>
            <p:cNvSpPr txBox="1"/>
            <p:nvPr/>
          </p:nvSpPr>
          <p:spPr>
            <a:xfrm>
              <a:off x="1845781" y="6537855"/>
              <a:ext cx="7088178" cy="999171"/>
            </a:xfrm>
            <a:prstGeom prst="roundRect">
              <a:avLst>
                <a:gd name="adj" fmla="val 50000"/>
              </a:avLst>
            </a:prstGeom>
            <a:solidFill>
              <a:schemeClr val="accent5"/>
            </a:solidFill>
          </p:spPr>
          <p:txBody>
            <a:bodyPr wrap="none" lIns="216000" tIns="108000" rIns="216000" bIns="108000" rtlCol="0" anchor="ctr">
              <a:spAutoFit/>
            </a:bodyPr>
            <a:lstStyle/>
            <a:p>
              <a:r>
                <a:rPr kumimoji="1" lang="ja-JP" altLang="en-US" sz="3200" spc="100" dirty="0">
                  <a:latin typeface="+mj-ea"/>
                  <a:ea typeface="+mj-ea"/>
                </a:rPr>
                <a:t>生成</a:t>
              </a:r>
              <a:r>
                <a:rPr kumimoji="1" lang="en-US" altLang="ja-JP" sz="3200" spc="100" dirty="0">
                  <a:latin typeface="+mj-ea"/>
                  <a:ea typeface="+mj-ea"/>
                </a:rPr>
                <a:t>AI</a:t>
              </a:r>
              <a:r>
                <a:rPr kumimoji="1" lang="ja-JP" altLang="en-US" sz="3200" spc="100" dirty="0">
                  <a:latin typeface="+mj-ea"/>
                  <a:ea typeface="+mj-ea"/>
                </a:rPr>
                <a:t>の入門的な使い方と注意点</a:t>
              </a:r>
            </a:p>
          </p:txBody>
        </p:sp>
        <p:grpSp>
          <p:nvGrpSpPr>
            <p:cNvPr id="42" name="グループ化 41">
              <a:extLst>
                <a:ext uri="{FF2B5EF4-FFF2-40B4-BE49-F238E27FC236}">
                  <a16:creationId xmlns:a16="http://schemas.microsoft.com/office/drawing/2014/main" id="{79B81A8D-D9A7-21B9-1599-D9A1497BF4AE}"/>
                </a:ext>
              </a:extLst>
            </p:cNvPr>
            <p:cNvGrpSpPr/>
            <p:nvPr/>
          </p:nvGrpSpPr>
          <p:grpSpPr>
            <a:xfrm>
              <a:off x="727099" y="6425118"/>
              <a:ext cx="1256312" cy="1256312"/>
              <a:chOff x="3941905" y="1881876"/>
              <a:chExt cx="1307459" cy="1307459"/>
            </a:xfrm>
          </p:grpSpPr>
          <p:sp>
            <p:nvSpPr>
              <p:cNvPr id="43" name="楕円 42">
                <a:extLst>
                  <a:ext uri="{FF2B5EF4-FFF2-40B4-BE49-F238E27FC236}">
                    <a16:creationId xmlns:a16="http://schemas.microsoft.com/office/drawing/2014/main" id="{46A68013-22E6-24DE-F042-CE567C51D620}"/>
                  </a:ext>
                </a:extLst>
              </p:cNvPr>
              <p:cNvSpPr/>
              <p:nvPr/>
            </p:nvSpPr>
            <p:spPr>
              <a:xfrm>
                <a:off x="3941905" y="1881876"/>
                <a:ext cx="1307459" cy="1307459"/>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グループ化 43">
                <a:extLst>
                  <a:ext uri="{FF2B5EF4-FFF2-40B4-BE49-F238E27FC236}">
                    <a16:creationId xmlns:a16="http://schemas.microsoft.com/office/drawing/2014/main" id="{2816A1EF-8F56-E7FB-AE55-CA0850F5CC78}"/>
                  </a:ext>
                </a:extLst>
              </p:cNvPr>
              <p:cNvGrpSpPr/>
              <p:nvPr/>
            </p:nvGrpSpPr>
            <p:grpSpPr>
              <a:xfrm>
                <a:off x="4298005" y="2132059"/>
                <a:ext cx="595259" cy="872409"/>
                <a:chOff x="6545770" y="1334782"/>
                <a:chExt cx="5198935" cy="7619543"/>
              </a:xfrm>
            </p:grpSpPr>
            <p:sp>
              <p:nvSpPr>
                <p:cNvPr id="45" name="フリーフォーム: 図形 44">
                  <a:extLst>
                    <a:ext uri="{FF2B5EF4-FFF2-40B4-BE49-F238E27FC236}">
                      <a16:creationId xmlns:a16="http://schemas.microsoft.com/office/drawing/2014/main" id="{8A4F77E9-6F68-6C65-81E3-D0E26C7DE73B}"/>
                    </a:ext>
                  </a:extLst>
                </p:cNvPr>
                <p:cNvSpPr/>
                <p:nvPr/>
              </p:nvSpPr>
              <p:spPr>
                <a:xfrm>
                  <a:off x="9145142" y="1334782"/>
                  <a:ext cx="2599468" cy="7619543"/>
                </a:xfrm>
                <a:custGeom>
                  <a:avLst/>
                  <a:gdLst>
                    <a:gd name="connsiteX0" fmla="*/ 1783175 w 2599468"/>
                    <a:gd name="connsiteY0" fmla="*/ 113843 h 7619543"/>
                    <a:gd name="connsiteX1" fmla="*/ 125730 w 2599468"/>
                    <a:gd name="connsiteY1" fmla="*/ 1468870 h 7619543"/>
                    <a:gd name="connsiteX2" fmla="*/ 0 w 2599468"/>
                    <a:gd name="connsiteY2" fmla="*/ 1513733 h 7619543"/>
                    <a:gd name="connsiteX3" fmla="*/ 0 w 2599468"/>
                    <a:gd name="connsiteY3" fmla="*/ 7619543 h 7619543"/>
                    <a:gd name="connsiteX4" fmla="*/ 239363 w 2599468"/>
                    <a:gd name="connsiteY4" fmla="*/ 7514007 h 7619543"/>
                    <a:gd name="connsiteX5" fmla="*/ 2272379 w 2599468"/>
                    <a:gd name="connsiteY5" fmla="*/ 5288110 h 7619543"/>
                    <a:gd name="connsiteX6" fmla="*/ 2599468 w 2599468"/>
                    <a:gd name="connsiteY6" fmla="*/ 4445052 h 7619543"/>
                    <a:gd name="connsiteX7" fmla="*/ 2599468 w 2599468"/>
                    <a:gd name="connsiteY7" fmla="*/ 500844 h 7619543"/>
                    <a:gd name="connsiteX8" fmla="*/ 1783175 w 2599468"/>
                    <a:gd name="connsiteY8" fmla="*/ 113843 h 761954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468" h="7619543">
                      <a:moveTo>
                        <a:pt x="1783175" y="113843"/>
                      </a:moveTo>
                      <a:lnTo>
                        <a:pt x="125730" y="1468870"/>
                      </a:lnTo>
                      <a:cubicBezTo>
                        <a:pt x="89154" y="1498778"/>
                        <a:pt x="44577" y="1513733"/>
                        <a:pt x="0" y="1513733"/>
                      </a:cubicBezTo>
                      <a:lnTo>
                        <a:pt x="0" y="7619543"/>
                      </a:lnTo>
                      <a:cubicBezTo>
                        <a:pt x="87535" y="7619543"/>
                        <a:pt x="175070" y="7584396"/>
                        <a:pt x="239363" y="7514007"/>
                      </a:cubicBezTo>
                      <a:lnTo>
                        <a:pt x="2272379" y="5288110"/>
                      </a:lnTo>
                      <a:cubicBezTo>
                        <a:pt x="2482787" y="5057795"/>
                        <a:pt x="2599468" y="4757091"/>
                        <a:pt x="2599468" y="4445052"/>
                      </a:cubicBezTo>
                      <a:lnTo>
                        <a:pt x="2599468" y="500844"/>
                      </a:lnTo>
                      <a:cubicBezTo>
                        <a:pt x="2599468" y="79172"/>
                        <a:pt x="2109597" y="-153047"/>
                        <a:pt x="1783175" y="113843"/>
                      </a:cubicBezTo>
                      <a:close/>
                    </a:path>
                  </a:pathLst>
                </a:custGeom>
                <a:solidFill>
                  <a:schemeClr val="accent6"/>
                </a:solidFill>
                <a:ln w="0" cap="flat">
                  <a:noFill/>
                  <a:prstDash val="solid"/>
                  <a:miter/>
                </a:ln>
              </p:spPr>
              <p:txBody>
                <a:bodyPr rtlCol="0" anchor="ctr"/>
                <a:lstStyle/>
                <a:p>
                  <a:endParaRPr lang="ja-JP" altLang="en-US"/>
                </a:p>
              </p:txBody>
            </p:sp>
            <p:sp>
              <p:nvSpPr>
                <p:cNvPr id="49" name="フリーフォーム: 図形 48">
                  <a:extLst>
                    <a:ext uri="{FF2B5EF4-FFF2-40B4-BE49-F238E27FC236}">
                      <a16:creationId xmlns:a16="http://schemas.microsoft.com/office/drawing/2014/main" id="{6F64FBCA-BF4F-16B0-4146-7098A39B15B8}"/>
                    </a:ext>
                  </a:extLst>
                </p:cNvPr>
                <p:cNvSpPr/>
                <p:nvPr/>
              </p:nvSpPr>
              <p:spPr>
                <a:xfrm>
                  <a:off x="6545770" y="1334799"/>
                  <a:ext cx="2599467" cy="7619430"/>
                </a:xfrm>
                <a:custGeom>
                  <a:avLst/>
                  <a:gdLst>
                    <a:gd name="connsiteX0" fmla="*/ 2473738 w 2599467"/>
                    <a:gd name="connsiteY0" fmla="*/ 1468852 h 7619430"/>
                    <a:gd name="connsiteX1" fmla="*/ 816293 w 2599467"/>
                    <a:gd name="connsiteY1" fmla="*/ 113826 h 7619430"/>
                    <a:gd name="connsiteX2" fmla="*/ 0 w 2599467"/>
                    <a:gd name="connsiteY2" fmla="*/ 500827 h 7619430"/>
                    <a:gd name="connsiteX3" fmla="*/ 0 w 2599467"/>
                    <a:gd name="connsiteY3" fmla="*/ 4444939 h 7619430"/>
                    <a:gd name="connsiteX4" fmla="*/ 327089 w 2599467"/>
                    <a:gd name="connsiteY4" fmla="*/ 5287997 h 7619430"/>
                    <a:gd name="connsiteX5" fmla="*/ 2360105 w 2599467"/>
                    <a:gd name="connsiteY5" fmla="*/ 7513894 h 7619430"/>
                    <a:gd name="connsiteX6" fmla="*/ 2599468 w 2599467"/>
                    <a:gd name="connsiteY6" fmla="*/ 7619431 h 7619430"/>
                    <a:gd name="connsiteX7" fmla="*/ 2599468 w 2599467"/>
                    <a:gd name="connsiteY7" fmla="*/ 1513620 h 7619430"/>
                    <a:gd name="connsiteX8" fmla="*/ 2473738 w 2599467"/>
                    <a:gd name="connsiteY8" fmla="*/ 1468757 h 761943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2599467" h="7619430">
                      <a:moveTo>
                        <a:pt x="2473738" y="1468852"/>
                      </a:moveTo>
                      <a:lnTo>
                        <a:pt x="816293" y="113826"/>
                      </a:lnTo>
                      <a:cubicBezTo>
                        <a:pt x="489871" y="-153065"/>
                        <a:pt x="0" y="79250"/>
                        <a:pt x="0" y="500827"/>
                      </a:cubicBezTo>
                      <a:lnTo>
                        <a:pt x="0" y="4444939"/>
                      </a:lnTo>
                      <a:cubicBezTo>
                        <a:pt x="0" y="4756883"/>
                        <a:pt x="116681" y="5057587"/>
                        <a:pt x="327089" y="5287997"/>
                      </a:cubicBezTo>
                      <a:lnTo>
                        <a:pt x="2360105" y="7513894"/>
                      </a:lnTo>
                      <a:cubicBezTo>
                        <a:pt x="2424398" y="7584283"/>
                        <a:pt x="2511933" y="7619431"/>
                        <a:pt x="2599468" y="7619431"/>
                      </a:cubicBezTo>
                      <a:lnTo>
                        <a:pt x="2599468" y="1513620"/>
                      </a:lnTo>
                      <a:cubicBezTo>
                        <a:pt x="2554891" y="1513620"/>
                        <a:pt x="2510314" y="1498666"/>
                        <a:pt x="2473738" y="1468757"/>
                      </a:cubicBezTo>
                      <a:close/>
                    </a:path>
                  </a:pathLst>
                </a:custGeom>
                <a:solidFill>
                  <a:schemeClr val="accent5"/>
                </a:solidFill>
                <a:ln w="0" cap="flat">
                  <a:noFill/>
                  <a:prstDash val="solid"/>
                  <a:miter/>
                </a:ln>
              </p:spPr>
              <p:txBody>
                <a:bodyPr rtlCol="0" anchor="ctr"/>
                <a:lstStyle/>
                <a:p>
                  <a:endParaRPr lang="ja-JP" altLang="en-US"/>
                </a:p>
              </p:txBody>
            </p:sp>
            <p:sp>
              <p:nvSpPr>
                <p:cNvPr id="50" name="フリーフォーム: 図形 49">
                  <a:extLst>
                    <a:ext uri="{FF2B5EF4-FFF2-40B4-BE49-F238E27FC236}">
                      <a16:creationId xmlns:a16="http://schemas.microsoft.com/office/drawing/2014/main" id="{446F958F-E3C3-CEA2-D6A6-784CA3C8EB36}"/>
                    </a:ext>
                  </a:extLst>
                </p:cNvPr>
                <p:cNvSpPr/>
                <p:nvPr/>
              </p:nvSpPr>
              <p:spPr>
                <a:xfrm>
                  <a:off x="6545770" y="1334782"/>
                  <a:ext cx="5198935" cy="7619495"/>
                </a:xfrm>
                <a:custGeom>
                  <a:avLst/>
                  <a:gdLst>
                    <a:gd name="connsiteX0" fmla="*/ 4382548 w 5198935"/>
                    <a:gd name="connsiteY0" fmla="*/ 113843 h 7619495"/>
                    <a:gd name="connsiteX1" fmla="*/ 2725103 w 5198935"/>
                    <a:gd name="connsiteY1" fmla="*/ 1468870 h 7619495"/>
                    <a:gd name="connsiteX2" fmla="*/ 2473738 w 5198935"/>
                    <a:gd name="connsiteY2" fmla="*/ 1468870 h 7619495"/>
                    <a:gd name="connsiteX3" fmla="*/ 816293 w 5198935"/>
                    <a:gd name="connsiteY3" fmla="*/ 113843 h 7619495"/>
                    <a:gd name="connsiteX4" fmla="*/ 0 w 5198935"/>
                    <a:gd name="connsiteY4" fmla="*/ 500844 h 7619495"/>
                    <a:gd name="connsiteX5" fmla="*/ 0 w 5198935"/>
                    <a:gd name="connsiteY5" fmla="*/ 4444956 h 7619495"/>
                    <a:gd name="connsiteX6" fmla="*/ 327089 w 5198935"/>
                    <a:gd name="connsiteY6" fmla="*/ 5288014 h 7619495"/>
                    <a:gd name="connsiteX7" fmla="*/ 2360105 w 5198935"/>
                    <a:gd name="connsiteY7" fmla="*/ 7513912 h 7619495"/>
                    <a:gd name="connsiteX8" fmla="*/ 2838831 w 5198935"/>
                    <a:gd name="connsiteY8" fmla="*/ 7513912 h 7619495"/>
                    <a:gd name="connsiteX9" fmla="*/ 4871847 w 5198935"/>
                    <a:gd name="connsiteY9" fmla="*/ 5288014 h 7619495"/>
                    <a:gd name="connsiteX10" fmla="*/ 5198936 w 5198935"/>
                    <a:gd name="connsiteY10" fmla="*/ 4444956 h 7619495"/>
                    <a:gd name="connsiteX11" fmla="*/ 5198936 w 5198935"/>
                    <a:gd name="connsiteY11" fmla="*/ 500844 h 7619495"/>
                    <a:gd name="connsiteX12" fmla="*/ 4382643 w 5198935"/>
                    <a:gd name="connsiteY12" fmla="*/ 113843 h 761949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5198935" h="7619495">
                      <a:moveTo>
                        <a:pt x="4382548" y="113843"/>
                      </a:moveTo>
                      <a:lnTo>
                        <a:pt x="2725103" y="1468870"/>
                      </a:lnTo>
                      <a:cubicBezTo>
                        <a:pt x="2651951" y="1528687"/>
                        <a:pt x="2546795" y="1528687"/>
                        <a:pt x="2473738" y="1468870"/>
                      </a:cubicBezTo>
                      <a:lnTo>
                        <a:pt x="816293" y="113843"/>
                      </a:lnTo>
                      <a:cubicBezTo>
                        <a:pt x="489871" y="-153047"/>
                        <a:pt x="0" y="79268"/>
                        <a:pt x="0" y="500844"/>
                      </a:cubicBezTo>
                      <a:lnTo>
                        <a:pt x="0" y="4444956"/>
                      </a:lnTo>
                      <a:cubicBezTo>
                        <a:pt x="0" y="4756900"/>
                        <a:pt x="116681" y="5057604"/>
                        <a:pt x="327089" y="5288014"/>
                      </a:cubicBezTo>
                      <a:lnTo>
                        <a:pt x="2360105" y="7513912"/>
                      </a:lnTo>
                      <a:cubicBezTo>
                        <a:pt x="2488692" y="7654691"/>
                        <a:pt x="2710339" y="7654691"/>
                        <a:pt x="2838831" y="7513912"/>
                      </a:cubicBezTo>
                      <a:lnTo>
                        <a:pt x="4871847" y="5288014"/>
                      </a:lnTo>
                      <a:cubicBezTo>
                        <a:pt x="5082254" y="5057700"/>
                        <a:pt x="5198936" y="4756995"/>
                        <a:pt x="5198936" y="4444956"/>
                      </a:cubicBezTo>
                      <a:lnTo>
                        <a:pt x="5198936" y="500844"/>
                      </a:lnTo>
                      <a:cubicBezTo>
                        <a:pt x="5198936" y="79172"/>
                        <a:pt x="4709065" y="-153047"/>
                        <a:pt x="4382643" y="113843"/>
                      </a:cubicBezTo>
                      <a:close/>
                    </a:path>
                  </a:pathLst>
                </a:custGeom>
                <a:noFill/>
                <a:ln w="50800" cap="flat">
                  <a:solidFill>
                    <a:schemeClr val="tx1"/>
                  </a:solidFill>
                  <a:prstDash val="solid"/>
                  <a:miter/>
                </a:ln>
              </p:spPr>
              <p:txBody>
                <a:bodyPr rtlCol="0" anchor="ctr"/>
                <a:lstStyle/>
                <a:p>
                  <a:endParaRPr lang="ja-JP" altLang="en-US"/>
                </a:p>
              </p:txBody>
            </p:sp>
            <p:sp>
              <p:nvSpPr>
                <p:cNvPr id="51" name="フリーフォーム: 図形 50">
                  <a:extLst>
                    <a:ext uri="{FF2B5EF4-FFF2-40B4-BE49-F238E27FC236}">
                      <a16:creationId xmlns:a16="http://schemas.microsoft.com/office/drawing/2014/main" id="{2002F1C0-DAA2-C62B-20AD-3A160647F054}"/>
                    </a:ext>
                  </a:extLst>
                </p:cNvPr>
                <p:cNvSpPr/>
                <p:nvPr/>
              </p:nvSpPr>
              <p:spPr>
                <a:xfrm>
                  <a:off x="9145237" y="3351530"/>
                  <a:ext cx="9525" cy="5067490"/>
                </a:xfrm>
                <a:custGeom>
                  <a:avLst/>
                  <a:gdLst>
                    <a:gd name="connsiteX0" fmla="*/ 0 w 9525"/>
                    <a:gd name="connsiteY0" fmla="*/ 0 h 5067490"/>
                    <a:gd name="connsiteX1" fmla="*/ 0 w 9525"/>
                    <a:gd name="connsiteY1" fmla="*/ 5067490 h 5067490"/>
                  </a:gdLst>
                  <a:ahLst/>
                  <a:cxnLst>
                    <a:cxn ang="0">
                      <a:pos x="connsiteX0" y="connsiteY0"/>
                    </a:cxn>
                    <a:cxn ang="0">
                      <a:pos x="connsiteX1" y="connsiteY1"/>
                    </a:cxn>
                  </a:cxnLst>
                  <a:rect l="l" t="t" r="r" b="b"/>
                  <a:pathLst>
                    <a:path w="9525" h="5067490">
                      <a:moveTo>
                        <a:pt x="0" y="0"/>
                      </a:moveTo>
                      <a:lnTo>
                        <a:pt x="0" y="5067490"/>
                      </a:lnTo>
                    </a:path>
                  </a:pathLst>
                </a:custGeom>
                <a:ln w="50800" cap="rnd">
                  <a:solidFill>
                    <a:schemeClr val="tx1"/>
                  </a:solidFill>
                  <a:prstDash val="solid"/>
                  <a:miter/>
                </a:ln>
              </p:spPr>
              <p:txBody>
                <a:bodyPr rtlCol="0" anchor="ctr"/>
                <a:lstStyle/>
                <a:p>
                  <a:endParaRPr lang="ja-JP" altLang="en-US"/>
                </a:p>
              </p:txBody>
            </p:sp>
          </p:grpSp>
        </p:grpSp>
      </p:grpSp>
      <p:grpSp>
        <p:nvGrpSpPr>
          <p:cNvPr id="3" name="グループ化 2">
            <a:extLst>
              <a:ext uri="{FF2B5EF4-FFF2-40B4-BE49-F238E27FC236}">
                <a16:creationId xmlns:a16="http://schemas.microsoft.com/office/drawing/2014/main" id="{56B35762-D876-6D38-897E-1B08FD4A6071}"/>
              </a:ext>
            </a:extLst>
          </p:cNvPr>
          <p:cNvGrpSpPr/>
          <p:nvPr/>
        </p:nvGrpSpPr>
        <p:grpSpPr>
          <a:xfrm>
            <a:off x="1385598" y="1978362"/>
            <a:ext cx="6990063" cy="4006864"/>
            <a:chOff x="1385598" y="1978362"/>
            <a:chExt cx="6990063" cy="4006864"/>
          </a:xfrm>
        </p:grpSpPr>
        <p:grpSp>
          <p:nvGrpSpPr>
            <p:cNvPr id="113" name="グループ化 112">
              <a:extLst>
                <a:ext uri="{FF2B5EF4-FFF2-40B4-BE49-F238E27FC236}">
                  <a16:creationId xmlns:a16="http://schemas.microsoft.com/office/drawing/2014/main" id="{086A67CD-49A5-7089-AA64-FDA9E078B141}"/>
                </a:ext>
              </a:extLst>
            </p:cNvPr>
            <p:cNvGrpSpPr>
              <a:grpSpLocks noChangeAspect="1"/>
            </p:cNvGrpSpPr>
            <p:nvPr/>
          </p:nvGrpSpPr>
          <p:grpSpPr>
            <a:xfrm rot="21246829">
              <a:off x="1385598" y="1978362"/>
              <a:ext cx="710172" cy="864000"/>
              <a:chOff x="3529334" y="1961548"/>
              <a:chExt cx="421353" cy="677630"/>
            </a:xfrm>
          </p:grpSpPr>
          <p:sp>
            <p:nvSpPr>
              <p:cNvPr id="115" name="フリーフォーム: 図形 114">
                <a:extLst>
                  <a:ext uri="{FF2B5EF4-FFF2-40B4-BE49-F238E27FC236}">
                    <a16:creationId xmlns:a16="http://schemas.microsoft.com/office/drawing/2014/main" id="{750E69DE-4472-DE26-3EB5-243D482C5A13}"/>
                  </a:ext>
                </a:extLst>
              </p:cNvPr>
              <p:cNvSpPr/>
              <p:nvPr/>
            </p:nvSpPr>
            <p:spPr>
              <a:xfrm rot="370513">
                <a:off x="3633187" y="1961548"/>
                <a:ext cx="317500" cy="603251"/>
              </a:xfrm>
              <a:custGeom>
                <a:avLst/>
                <a:gdLst>
                  <a:gd name="connsiteX0" fmla="*/ 0 w 317500"/>
                  <a:gd name="connsiteY0" fmla="*/ 203200 h 603250"/>
                  <a:gd name="connsiteX1" fmla="*/ 190500 w 317500"/>
                  <a:gd name="connsiteY1" fmla="*/ 0 h 603250"/>
                  <a:gd name="connsiteX2" fmla="*/ 317500 w 317500"/>
                  <a:gd name="connsiteY2" fmla="*/ 603250 h 603250"/>
                  <a:gd name="connsiteX3" fmla="*/ 0 w 317500"/>
                  <a:gd name="connsiteY3" fmla="*/ 203200 h 603250"/>
                </a:gdLst>
                <a:ahLst/>
                <a:cxnLst>
                  <a:cxn ang="0">
                    <a:pos x="connsiteX0" y="connsiteY0"/>
                  </a:cxn>
                  <a:cxn ang="0">
                    <a:pos x="connsiteX1" y="connsiteY1"/>
                  </a:cxn>
                  <a:cxn ang="0">
                    <a:pos x="connsiteX2" y="connsiteY2"/>
                  </a:cxn>
                  <a:cxn ang="0">
                    <a:pos x="connsiteX3" y="connsiteY3"/>
                  </a:cxn>
                </a:cxnLst>
                <a:rect l="l" t="t" r="r" b="b"/>
                <a:pathLst>
                  <a:path w="317500" h="603250">
                    <a:moveTo>
                      <a:pt x="0" y="203200"/>
                    </a:moveTo>
                    <a:lnTo>
                      <a:pt x="190500" y="0"/>
                    </a:lnTo>
                    <a:lnTo>
                      <a:pt x="317500" y="603250"/>
                    </a:lnTo>
                    <a:lnTo>
                      <a:pt x="0" y="20320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17" name="フリーフォーム: 図形 116">
                <a:extLst>
                  <a:ext uri="{FF2B5EF4-FFF2-40B4-BE49-F238E27FC236}">
                    <a16:creationId xmlns:a16="http://schemas.microsoft.com/office/drawing/2014/main" id="{BF3236A9-6423-B544-0ABF-48080B829F95}"/>
                  </a:ext>
                </a:extLst>
              </p:cNvPr>
              <p:cNvSpPr/>
              <p:nvPr/>
            </p:nvSpPr>
            <p:spPr>
              <a:xfrm rot="84571">
                <a:off x="3529334" y="2353428"/>
                <a:ext cx="336550" cy="285750"/>
              </a:xfrm>
              <a:custGeom>
                <a:avLst/>
                <a:gdLst>
                  <a:gd name="connsiteX0" fmla="*/ 0 w 336550"/>
                  <a:gd name="connsiteY0" fmla="*/ 0 h 285750"/>
                  <a:gd name="connsiteX1" fmla="*/ 336550 w 336550"/>
                  <a:gd name="connsiteY1" fmla="*/ 285750 h 285750"/>
                  <a:gd name="connsiteX2" fmla="*/ 6350 w 336550"/>
                  <a:gd name="connsiteY2" fmla="*/ 184150 h 285750"/>
                  <a:gd name="connsiteX3" fmla="*/ 0 w 336550"/>
                  <a:gd name="connsiteY3" fmla="*/ 0 h 285750"/>
                </a:gdLst>
                <a:ahLst/>
                <a:cxnLst>
                  <a:cxn ang="0">
                    <a:pos x="connsiteX0" y="connsiteY0"/>
                  </a:cxn>
                  <a:cxn ang="0">
                    <a:pos x="connsiteX1" y="connsiteY1"/>
                  </a:cxn>
                  <a:cxn ang="0">
                    <a:pos x="connsiteX2" y="connsiteY2"/>
                  </a:cxn>
                  <a:cxn ang="0">
                    <a:pos x="connsiteX3" y="connsiteY3"/>
                  </a:cxn>
                </a:cxnLst>
                <a:rect l="l" t="t" r="r" b="b"/>
                <a:pathLst>
                  <a:path w="336550" h="285750">
                    <a:moveTo>
                      <a:pt x="0" y="0"/>
                    </a:moveTo>
                    <a:lnTo>
                      <a:pt x="336550" y="285750"/>
                    </a:lnTo>
                    <a:lnTo>
                      <a:pt x="6350" y="184150"/>
                    </a:lnTo>
                    <a:lnTo>
                      <a:pt x="0" y="0"/>
                    </a:lnTo>
                    <a:close/>
                  </a:path>
                </a:pathLst>
              </a:cu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grpSp>
          <p:nvGrpSpPr>
            <p:cNvPr id="171" name="グループ化 170">
              <a:extLst>
                <a:ext uri="{FF2B5EF4-FFF2-40B4-BE49-F238E27FC236}">
                  <a16:creationId xmlns:a16="http://schemas.microsoft.com/office/drawing/2014/main" id="{5E0CA792-0E4E-6569-DA0C-CE399199F268}"/>
                </a:ext>
              </a:extLst>
            </p:cNvPr>
            <p:cNvGrpSpPr>
              <a:grpSpLocks noChangeAspect="1"/>
            </p:cNvGrpSpPr>
            <p:nvPr/>
          </p:nvGrpSpPr>
          <p:grpSpPr>
            <a:xfrm>
              <a:off x="2099819" y="2709226"/>
              <a:ext cx="6275842" cy="3276000"/>
              <a:chOff x="2064061" y="2750735"/>
              <a:chExt cx="6199584" cy="3236193"/>
            </a:xfrm>
            <a:effectLst>
              <a:outerShdw dist="114300" dir="2700000" algn="tl" rotWithShape="0">
                <a:schemeClr val="accent1">
                  <a:lumMod val="50000"/>
                  <a:alpha val="40000"/>
                </a:schemeClr>
              </a:outerShdw>
            </a:effectLst>
          </p:grpSpPr>
          <p:grpSp>
            <p:nvGrpSpPr>
              <p:cNvPr id="104" name="グループ化 103">
                <a:extLst>
                  <a:ext uri="{FF2B5EF4-FFF2-40B4-BE49-F238E27FC236}">
                    <a16:creationId xmlns:a16="http://schemas.microsoft.com/office/drawing/2014/main" id="{B230CAAA-0412-8070-8576-FEADE4F7133E}"/>
                  </a:ext>
                </a:extLst>
              </p:cNvPr>
              <p:cNvGrpSpPr/>
              <p:nvPr/>
            </p:nvGrpSpPr>
            <p:grpSpPr>
              <a:xfrm>
                <a:off x="2064061" y="5075971"/>
                <a:ext cx="6199584" cy="910957"/>
                <a:chOff x="1401309" y="5295410"/>
                <a:chExt cx="7677593" cy="1128135"/>
              </a:xfrm>
            </p:grpSpPr>
            <p:sp>
              <p:nvSpPr>
                <p:cNvPr id="63" name="フリーフォーム: 図形 62">
                  <a:extLst>
                    <a:ext uri="{FF2B5EF4-FFF2-40B4-BE49-F238E27FC236}">
                      <a16:creationId xmlns:a16="http://schemas.microsoft.com/office/drawing/2014/main" id="{D0A32EED-BDB9-3ACC-40A2-580E488FAAD3}"/>
                    </a:ext>
                  </a:extLst>
                </p:cNvPr>
                <p:cNvSpPr/>
                <p:nvPr/>
              </p:nvSpPr>
              <p:spPr>
                <a:xfrm>
                  <a:off x="1401309" y="5374031"/>
                  <a:ext cx="1018777" cy="992740"/>
                </a:xfrm>
                <a:custGeom>
                  <a:avLst/>
                  <a:gdLst>
                    <a:gd name="connsiteX0" fmla="*/ 56648 w 1018777"/>
                    <a:gd name="connsiteY0" fmla="*/ 68588 h 992739"/>
                    <a:gd name="connsiteX1" fmla="*/ 80273 w 1018777"/>
                    <a:gd name="connsiteY1" fmla="*/ 21338 h 992739"/>
                    <a:gd name="connsiteX2" fmla="*/ 123965 w 1018777"/>
                    <a:gd name="connsiteY2" fmla="*/ 4827 h 992739"/>
                    <a:gd name="connsiteX3" fmla="*/ 129808 w 1018777"/>
                    <a:gd name="connsiteY3" fmla="*/ 4827 h 992739"/>
                    <a:gd name="connsiteX4" fmla="*/ 158132 w 1018777"/>
                    <a:gd name="connsiteY4" fmla="*/ 7240 h 992739"/>
                    <a:gd name="connsiteX5" fmla="*/ 199412 w 1018777"/>
                    <a:gd name="connsiteY5" fmla="*/ 32008 h 992739"/>
                    <a:gd name="connsiteX6" fmla="*/ 210081 w 1018777"/>
                    <a:gd name="connsiteY6" fmla="*/ 65031 h 992739"/>
                    <a:gd name="connsiteX7" fmla="*/ 207667 w 1018777"/>
                    <a:gd name="connsiteY7" fmla="*/ 80400 h 992739"/>
                    <a:gd name="connsiteX8" fmla="*/ 198268 w 1018777"/>
                    <a:gd name="connsiteY8" fmla="*/ 120536 h 992739"/>
                    <a:gd name="connsiteX9" fmla="*/ 162324 w 1018777"/>
                    <a:gd name="connsiteY9" fmla="*/ 345350 h 992739"/>
                    <a:gd name="connsiteX10" fmla="*/ 141620 w 1018777"/>
                    <a:gd name="connsiteY10" fmla="*/ 583247 h 992739"/>
                    <a:gd name="connsiteX11" fmla="*/ 145177 w 1018777"/>
                    <a:gd name="connsiteY11" fmla="*/ 651708 h 992739"/>
                    <a:gd name="connsiteX12" fmla="*/ 146955 w 1018777"/>
                    <a:gd name="connsiteY12" fmla="*/ 653486 h 992739"/>
                    <a:gd name="connsiteX13" fmla="*/ 149876 w 1018777"/>
                    <a:gd name="connsiteY13" fmla="*/ 651708 h 992739"/>
                    <a:gd name="connsiteX14" fmla="*/ 180614 w 1018777"/>
                    <a:gd name="connsiteY14" fmla="*/ 580834 h 992739"/>
                    <a:gd name="connsiteX15" fmla="*/ 205381 w 1018777"/>
                    <a:gd name="connsiteY15" fmla="*/ 560131 h 992739"/>
                    <a:gd name="connsiteX16" fmla="*/ 237262 w 1018777"/>
                    <a:gd name="connsiteY16" fmla="*/ 567752 h 992739"/>
                    <a:gd name="connsiteX17" fmla="*/ 259743 w 1018777"/>
                    <a:gd name="connsiteY17" fmla="*/ 602045 h 992739"/>
                    <a:gd name="connsiteX18" fmla="*/ 262156 w 1018777"/>
                    <a:gd name="connsiteY18" fmla="*/ 620970 h 992739"/>
                    <a:gd name="connsiteX19" fmla="*/ 258600 w 1018777"/>
                    <a:gd name="connsiteY19" fmla="*/ 642182 h 992739"/>
                    <a:gd name="connsiteX20" fmla="*/ 187726 w 1018777"/>
                    <a:gd name="connsiteY20" fmla="*/ 882999 h 992739"/>
                    <a:gd name="connsiteX21" fmla="*/ 181884 w 1018777"/>
                    <a:gd name="connsiteY21" fmla="*/ 919579 h 992739"/>
                    <a:gd name="connsiteX22" fmla="*/ 161180 w 1018777"/>
                    <a:gd name="connsiteY22" fmla="*/ 969750 h 992739"/>
                    <a:gd name="connsiteX23" fmla="*/ 115710 w 1018777"/>
                    <a:gd name="connsiteY23" fmla="*/ 992739 h 992739"/>
                    <a:gd name="connsiteX24" fmla="*/ 108597 w 1018777"/>
                    <a:gd name="connsiteY24" fmla="*/ 992739 h 992739"/>
                    <a:gd name="connsiteX25" fmla="*/ 61348 w 1018777"/>
                    <a:gd name="connsiteY25" fmla="*/ 977371 h 992739"/>
                    <a:gd name="connsiteX26" fmla="*/ 31880 w 1018777"/>
                    <a:gd name="connsiteY26" fmla="*/ 931392 h 992739"/>
                    <a:gd name="connsiteX27" fmla="*/ 0 w 1018777"/>
                    <a:gd name="connsiteY27" fmla="*/ 615001 h 992739"/>
                    <a:gd name="connsiteX28" fmla="*/ 49535 w 1018777"/>
                    <a:gd name="connsiteY28" fmla="*/ 116853 h 992739"/>
                    <a:gd name="connsiteX29" fmla="*/ 56648 w 1018777"/>
                    <a:gd name="connsiteY29" fmla="*/ 68460 h 992739"/>
                    <a:gd name="connsiteX30" fmla="*/ 991596 w 1018777"/>
                    <a:gd name="connsiteY30" fmla="*/ 744936 h 992739"/>
                    <a:gd name="connsiteX31" fmla="*/ 1018777 w 1018777"/>
                    <a:gd name="connsiteY31" fmla="*/ 794471 h 992739"/>
                    <a:gd name="connsiteX32" fmla="*/ 1018777 w 1018777"/>
                    <a:gd name="connsiteY32" fmla="*/ 805140 h 992739"/>
                    <a:gd name="connsiteX33" fmla="*/ 1005822 w 1018777"/>
                    <a:gd name="connsiteY33" fmla="*/ 849976 h 992739"/>
                    <a:gd name="connsiteX34" fmla="*/ 999979 w 1018777"/>
                    <a:gd name="connsiteY34" fmla="*/ 858232 h 992739"/>
                    <a:gd name="connsiteX35" fmla="*/ 958700 w 1018777"/>
                    <a:gd name="connsiteY35" fmla="*/ 884143 h 992739"/>
                    <a:gd name="connsiteX36" fmla="*/ 950444 w 1018777"/>
                    <a:gd name="connsiteY36" fmla="*/ 885286 h 992739"/>
                    <a:gd name="connsiteX37" fmla="*/ 911451 w 1018777"/>
                    <a:gd name="connsiteY37" fmla="*/ 869917 h 992739"/>
                    <a:gd name="connsiteX38" fmla="*/ 825335 w 1018777"/>
                    <a:gd name="connsiteY38" fmla="*/ 801457 h 992739"/>
                    <a:gd name="connsiteX39" fmla="*/ 820001 w 1018777"/>
                    <a:gd name="connsiteY39" fmla="*/ 801457 h 992739"/>
                    <a:gd name="connsiteX40" fmla="*/ 817079 w 1018777"/>
                    <a:gd name="connsiteY40" fmla="*/ 806156 h 992739"/>
                    <a:gd name="connsiteX41" fmla="*/ 752175 w 1018777"/>
                    <a:gd name="connsiteY41" fmla="*/ 942442 h 992739"/>
                    <a:gd name="connsiteX42" fmla="*/ 583374 w 1018777"/>
                    <a:gd name="connsiteY42" fmla="*/ 992612 h 992739"/>
                    <a:gd name="connsiteX43" fmla="*/ 386884 w 1018777"/>
                    <a:gd name="connsiteY43" fmla="*/ 941299 h 992739"/>
                    <a:gd name="connsiteX44" fmla="*/ 315502 w 1018777"/>
                    <a:gd name="connsiteY44" fmla="*/ 796757 h 992739"/>
                    <a:gd name="connsiteX45" fmla="*/ 387519 w 1018777"/>
                    <a:gd name="connsiteY45" fmla="*/ 648024 h 992739"/>
                    <a:gd name="connsiteX46" fmla="*/ 581088 w 1018777"/>
                    <a:gd name="connsiteY46" fmla="*/ 591376 h 992739"/>
                    <a:gd name="connsiteX47" fmla="*/ 650691 w 1018777"/>
                    <a:gd name="connsiteY47" fmla="*/ 594932 h 992739"/>
                    <a:gd name="connsiteX48" fmla="*/ 658947 w 1018777"/>
                    <a:gd name="connsiteY48" fmla="*/ 587820 h 992739"/>
                    <a:gd name="connsiteX49" fmla="*/ 650691 w 1018777"/>
                    <a:gd name="connsiteY49" fmla="*/ 359957 h 992739"/>
                    <a:gd name="connsiteX50" fmla="*/ 642435 w 1018777"/>
                    <a:gd name="connsiteY50" fmla="*/ 351701 h 992739"/>
                    <a:gd name="connsiteX51" fmla="*/ 565719 w 1018777"/>
                    <a:gd name="connsiteY51" fmla="*/ 351701 h 992739"/>
                    <a:gd name="connsiteX52" fmla="*/ 425242 w 1018777"/>
                    <a:gd name="connsiteY52" fmla="*/ 348145 h 992739"/>
                    <a:gd name="connsiteX53" fmla="*/ 375707 w 1018777"/>
                    <a:gd name="connsiteY53" fmla="*/ 325663 h 992739"/>
                    <a:gd name="connsiteX54" fmla="*/ 355638 w 1018777"/>
                    <a:gd name="connsiteY54" fmla="*/ 274858 h 992739"/>
                    <a:gd name="connsiteX55" fmla="*/ 355638 w 1018777"/>
                    <a:gd name="connsiteY55" fmla="*/ 271301 h 992739"/>
                    <a:gd name="connsiteX56" fmla="*/ 376850 w 1018777"/>
                    <a:gd name="connsiteY56" fmla="*/ 225322 h 992739"/>
                    <a:gd name="connsiteX57" fmla="*/ 420542 w 1018777"/>
                    <a:gd name="connsiteY57" fmla="*/ 207668 h 992739"/>
                    <a:gd name="connsiteX58" fmla="*/ 425242 w 1018777"/>
                    <a:gd name="connsiteY58" fmla="*/ 207668 h 992739"/>
                    <a:gd name="connsiteX59" fmla="*/ 565719 w 1018777"/>
                    <a:gd name="connsiteY59" fmla="*/ 213510 h 992739"/>
                    <a:gd name="connsiteX60" fmla="*/ 641292 w 1018777"/>
                    <a:gd name="connsiteY60" fmla="*/ 212367 h 992739"/>
                    <a:gd name="connsiteX61" fmla="*/ 649548 w 1018777"/>
                    <a:gd name="connsiteY61" fmla="*/ 202968 h 992739"/>
                    <a:gd name="connsiteX62" fmla="*/ 648913 w 1018777"/>
                    <a:gd name="connsiteY62" fmla="*/ 153941 h 992739"/>
                    <a:gd name="connsiteX63" fmla="*/ 648278 w 1018777"/>
                    <a:gd name="connsiteY63" fmla="*/ 107327 h 992739"/>
                    <a:gd name="connsiteX64" fmla="*/ 647135 w 1018777"/>
                    <a:gd name="connsiteY64" fmla="*/ 79003 h 992739"/>
                    <a:gd name="connsiteX65" fmla="*/ 647135 w 1018777"/>
                    <a:gd name="connsiteY65" fmla="*/ 66047 h 992739"/>
                    <a:gd name="connsiteX66" fmla="*/ 663647 w 1018777"/>
                    <a:gd name="connsiteY66" fmla="*/ 21211 h 992739"/>
                    <a:gd name="connsiteX67" fmla="*/ 709626 w 1018777"/>
                    <a:gd name="connsiteY67" fmla="*/ 0 h 992739"/>
                    <a:gd name="connsiteX68" fmla="*/ 741506 w 1018777"/>
                    <a:gd name="connsiteY68" fmla="*/ 0 h 992739"/>
                    <a:gd name="connsiteX69" fmla="*/ 787485 w 1018777"/>
                    <a:gd name="connsiteY69" fmla="*/ 21211 h 992739"/>
                    <a:gd name="connsiteX70" fmla="*/ 805140 w 1018777"/>
                    <a:gd name="connsiteY70" fmla="*/ 64904 h 992739"/>
                    <a:gd name="connsiteX71" fmla="*/ 803997 w 1018777"/>
                    <a:gd name="connsiteY71" fmla="*/ 77859 h 992739"/>
                    <a:gd name="connsiteX72" fmla="*/ 800441 w 1018777"/>
                    <a:gd name="connsiteY72" fmla="*/ 193569 h 992739"/>
                    <a:gd name="connsiteX73" fmla="*/ 809840 w 1018777"/>
                    <a:gd name="connsiteY73" fmla="*/ 200682 h 992739"/>
                    <a:gd name="connsiteX74" fmla="*/ 917293 w 1018777"/>
                    <a:gd name="connsiteY74" fmla="*/ 186456 h 992739"/>
                    <a:gd name="connsiteX75" fmla="*/ 927962 w 1018777"/>
                    <a:gd name="connsiteY75" fmla="*/ 186456 h 992739"/>
                    <a:gd name="connsiteX76" fmla="*/ 964542 w 1018777"/>
                    <a:gd name="connsiteY76" fmla="*/ 199412 h 992739"/>
                    <a:gd name="connsiteX77" fmla="*/ 985754 w 1018777"/>
                    <a:gd name="connsiteY77" fmla="*/ 244248 h 992739"/>
                    <a:gd name="connsiteX78" fmla="*/ 985754 w 1018777"/>
                    <a:gd name="connsiteY78" fmla="*/ 253646 h 992739"/>
                    <a:gd name="connsiteX79" fmla="*/ 966320 w 1018777"/>
                    <a:gd name="connsiteY79" fmla="*/ 305595 h 992739"/>
                    <a:gd name="connsiteX80" fmla="*/ 916150 w 1018777"/>
                    <a:gd name="connsiteY80" fmla="*/ 331506 h 992739"/>
                    <a:gd name="connsiteX81" fmla="*/ 808696 w 1018777"/>
                    <a:gd name="connsiteY81" fmla="*/ 343318 h 992739"/>
                    <a:gd name="connsiteX82" fmla="*/ 799297 w 1018777"/>
                    <a:gd name="connsiteY82" fmla="*/ 352717 h 992739"/>
                    <a:gd name="connsiteX83" fmla="*/ 812253 w 1018777"/>
                    <a:gd name="connsiteY83" fmla="*/ 626559 h 992739"/>
                    <a:gd name="connsiteX84" fmla="*/ 820509 w 1018777"/>
                    <a:gd name="connsiteY84" fmla="*/ 639514 h 992739"/>
                    <a:gd name="connsiteX85" fmla="*/ 991723 w 1018777"/>
                    <a:gd name="connsiteY85" fmla="*/ 744555 h 992739"/>
                    <a:gd name="connsiteX86" fmla="*/ 665806 w 1018777"/>
                    <a:gd name="connsiteY86" fmla="*/ 742522 h 992739"/>
                    <a:gd name="connsiteX87" fmla="*/ 665806 w 1018777"/>
                    <a:gd name="connsiteY87" fmla="*/ 730710 h 992739"/>
                    <a:gd name="connsiteX88" fmla="*/ 656407 w 1018777"/>
                    <a:gd name="connsiteY88" fmla="*/ 720041 h 992739"/>
                    <a:gd name="connsiteX89" fmla="*/ 569022 w 1018777"/>
                    <a:gd name="connsiteY89" fmla="*/ 708229 h 992739"/>
                    <a:gd name="connsiteX90" fmla="*/ 485828 w 1018777"/>
                    <a:gd name="connsiteY90" fmla="*/ 728297 h 992739"/>
                    <a:gd name="connsiteX91" fmla="*/ 454582 w 1018777"/>
                    <a:gd name="connsiteY91" fmla="*/ 781388 h 992739"/>
                    <a:gd name="connsiteX92" fmla="*/ 485319 w 1018777"/>
                    <a:gd name="connsiteY92" fmla="*/ 833337 h 992739"/>
                    <a:gd name="connsiteX93" fmla="*/ 566735 w 1018777"/>
                    <a:gd name="connsiteY93" fmla="*/ 850992 h 992739"/>
                    <a:gd name="connsiteX94" fmla="*/ 642817 w 1018777"/>
                    <a:gd name="connsiteY94" fmla="*/ 823811 h 992739"/>
                    <a:gd name="connsiteX95" fmla="*/ 665806 w 1018777"/>
                    <a:gd name="connsiteY95" fmla="*/ 742395 h 99273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Lst>
                  <a:rect l="l" t="t" r="r" b="b"/>
                  <a:pathLst>
                    <a:path w="1018777" h="992739">
                      <a:moveTo>
                        <a:pt x="56648" y="68588"/>
                      </a:moveTo>
                      <a:cubicBezTo>
                        <a:pt x="58172" y="49662"/>
                        <a:pt x="66047" y="33913"/>
                        <a:pt x="80273" y="21338"/>
                      </a:cubicBezTo>
                      <a:cubicBezTo>
                        <a:pt x="93609" y="10288"/>
                        <a:pt x="108216" y="4827"/>
                        <a:pt x="123965" y="4827"/>
                      </a:cubicBezTo>
                      <a:lnTo>
                        <a:pt x="129808" y="4827"/>
                      </a:lnTo>
                      <a:lnTo>
                        <a:pt x="158132" y="7240"/>
                      </a:lnTo>
                      <a:cubicBezTo>
                        <a:pt x="176168" y="8764"/>
                        <a:pt x="190013" y="17147"/>
                        <a:pt x="199412" y="32008"/>
                      </a:cubicBezTo>
                      <a:cubicBezTo>
                        <a:pt x="206524" y="42296"/>
                        <a:pt x="210081" y="53219"/>
                        <a:pt x="210081" y="65031"/>
                      </a:cubicBezTo>
                      <a:cubicBezTo>
                        <a:pt x="210081" y="69731"/>
                        <a:pt x="209319" y="74938"/>
                        <a:pt x="207667" y="80400"/>
                      </a:cubicBezTo>
                      <a:cubicBezTo>
                        <a:pt x="204492" y="95387"/>
                        <a:pt x="201317" y="108724"/>
                        <a:pt x="198268" y="120536"/>
                      </a:cubicBezTo>
                      <a:cubicBezTo>
                        <a:pt x="187980" y="167023"/>
                        <a:pt x="176041" y="241961"/>
                        <a:pt x="162324" y="345350"/>
                      </a:cubicBezTo>
                      <a:cubicBezTo>
                        <a:pt x="148606" y="448867"/>
                        <a:pt x="141620" y="528123"/>
                        <a:pt x="141620" y="583247"/>
                      </a:cubicBezTo>
                      <a:cubicBezTo>
                        <a:pt x="141620" y="609158"/>
                        <a:pt x="142763" y="632020"/>
                        <a:pt x="145177" y="651708"/>
                      </a:cubicBezTo>
                      <a:cubicBezTo>
                        <a:pt x="145177" y="652470"/>
                        <a:pt x="145812" y="653105"/>
                        <a:pt x="146955" y="653486"/>
                      </a:cubicBezTo>
                      <a:cubicBezTo>
                        <a:pt x="148098" y="653867"/>
                        <a:pt x="149114" y="653359"/>
                        <a:pt x="149876" y="651708"/>
                      </a:cubicBezTo>
                      <a:cubicBezTo>
                        <a:pt x="156989" y="632782"/>
                        <a:pt x="167150" y="609158"/>
                        <a:pt x="180614" y="580834"/>
                      </a:cubicBezTo>
                      <a:cubicBezTo>
                        <a:pt x="185313" y="569784"/>
                        <a:pt x="193569" y="562925"/>
                        <a:pt x="205381" y="560131"/>
                      </a:cubicBezTo>
                      <a:cubicBezTo>
                        <a:pt x="217193" y="557336"/>
                        <a:pt x="227863" y="560004"/>
                        <a:pt x="237262" y="567752"/>
                      </a:cubicBezTo>
                      <a:cubicBezTo>
                        <a:pt x="248312" y="576388"/>
                        <a:pt x="255806" y="587820"/>
                        <a:pt x="259743" y="602045"/>
                      </a:cubicBezTo>
                      <a:cubicBezTo>
                        <a:pt x="261267" y="608396"/>
                        <a:pt x="262156" y="614619"/>
                        <a:pt x="262156" y="620970"/>
                      </a:cubicBezTo>
                      <a:cubicBezTo>
                        <a:pt x="262156" y="628083"/>
                        <a:pt x="261013" y="635196"/>
                        <a:pt x="258600" y="642182"/>
                      </a:cubicBezTo>
                      <a:cubicBezTo>
                        <a:pt x="221639" y="751540"/>
                        <a:pt x="198014" y="831813"/>
                        <a:pt x="187726" y="882999"/>
                      </a:cubicBezTo>
                      <a:cubicBezTo>
                        <a:pt x="185313" y="895574"/>
                        <a:pt x="183408" y="907767"/>
                        <a:pt x="181884" y="919579"/>
                      </a:cubicBezTo>
                      <a:cubicBezTo>
                        <a:pt x="180359" y="939267"/>
                        <a:pt x="173374" y="955905"/>
                        <a:pt x="161180" y="969750"/>
                      </a:cubicBezTo>
                      <a:cubicBezTo>
                        <a:pt x="148987" y="983467"/>
                        <a:pt x="133872" y="991215"/>
                        <a:pt x="115710" y="992739"/>
                      </a:cubicBezTo>
                      <a:lnTo>
                        <a:pt x="108597" y="992739"/>
                      </a:lnTo>
                      <a:cubicBezTo>
                        <a:pt x="91323" y="992739"/>
                        <a:pt x="75573" y="987659"/>
                        <a:pt x="61348" y="977371"/>
                      </a:cubicBezTo>
                      <a:cubicBezTo>
                        <a:pt x="45598" y="966320"/>
                        <a:pt x="35818" y="950952"/>
                        <a:pt x="31880" y="931392"/>
                      </a:cubicBezTo>
                      <a:cubicBezTo>
                        <a:pt x="10669" y="833845"/>
                        <a:pt x="0" y="728424"/>
                        <a:pt x="0" y="615001"/>
                      </a:cubicBezTo>
                      <a:cubicBezTo>
                        <a:pt x="0" y="491416"/>
                        <a:pt x="16512" y="325409"/>
                        <a:pt x="49535" y="116853"/>
                      </a:cubicBezTo>
                      <a:cubicBezTo>
                        <a:pt x="52711" y="97928"/>
                        <a:pt x="54997" y="81797"/>
                        <a:pt x="56648" y="68460"/>
                      </a:cubicBezTo>
                      <a:close/>
                      <a:moveTo>
                        <a:pt x="991596" y="744936"/>
                      </a:moveTo>
                      <a:cubicBezTo>
                        <a:pt x="1006584" y="757510"/>
                        <a:pt x="1015602" y="774022"/>
                        <a:pt x="1018777" y="794471"/>
                      </a:cubicBezTo>
                      <a:lnTo>
                        <a:pt x="1018777" y="805140"/>
                      </a:lnTo>
                      <a:cubicBezTo>
                        <a:pt x="1018777" y="820890"/>
                        <a:pt x="1014459" y="835877"/>
                        <a:pt x="1005822" y="849976"/>
                      </a:cubicBezTo>
                      <a:lnTo>
                        <a:pt x="999979" y="858232"/>
                      </a:lnTo>
                      <a:cubicBezTo>
                        <a:pt x="990580" y="873219"/>
                        <a:pt x="976736" y="881856"/>
                        <a:pt x="958700" y="884143"/>
                      </a:cubicBezTo>
                      <a:cubicBezTo>
                        <a:pt x="955524" y="884905"/>
                        <a:pt x="952857" y="885286"/>
                        <a:pt x="950444" y="885286"/>
                      </a:cubicBezTo>
                      <a:cubicBezTo>
                        <a:pt x="935456" y="885286"/>
                        <a:pt x="922501" y="880205"/>
                        <a:pt x="911451" y="869917"/>
                      </a:cubicBezTo>
                      <a:cubicBezTo>
                        <a:pt x="882364" y="844768"/>
                        <a:pt x="853659" y="821906"/>
                        <a:pt x="825335" y="801457"/>
                      </a:cubicBezTo>
                      <a:cubicBezTo>
                        <a:pt x="823811" y="800695"/>
                        <a:pt x="822033" y="800695"/>
                        <a:pt x="820001" y="801457"/>
                      </a:cubicBezTo>
                      <a:cubicBezTo>
                        <a:pt x="817968" y="802219"/>
                        <a:pt x="817079" y="803870"/>
                        <a:pt x="817079" y="806156"/>
                      </a:cubicBezTo>
                      <a:cubicBezTo>
                        <a:pt x="811618" y="863566"/>
                        <a:pt x="789898" y="909037"/>
                        <a:pt x="752175" y="942442"/>
                      </a:cubicBezTo>
                      <a:cubicBezTo>
                        <a:pt x="714452" y="975846"/>
                        <a:pt x="658185" y="992612"/>
                        <a:pt x="583374" y="992612"/>
                      </a:cubicBezTo>
                      <a:cubicBezTo>
                        <a:pt x="499926" y="992612"/>
                        <a:pt x="434387" y="975465"/>
                        <a:pt x="386884" y="941299"/>
                      </a:cubicBezTo>
                      <a:cubicBezTo>
                        <a:pt x="339254" y="907005"/>
                        <a:pt x="315502" y="858867"/>
                        <a:pt x="315502" y="796757"/>
                      </a:cubicBezTo>
                      <a:cubicBezTo>
                        <a:pt x="315502" y="734648"/>
                        <a:pt x="339508" y="685747"/>
                        <a:pt x="387519" y="648024"/>
                      </a:cubicBezTo>
                      <a:cubicBezTo>
                        <a:pt x="435530" y="610301"/>
                        <a:pt x="500053" y="591376"/>
                        <a:pt x="581088" y="591376"/>
                      </a:cubicBezTo>
                      <a:cubicBezTo>
                        <a:pt x="607888" y="591376"/>
                        <a:pt x="631004" y="592519"/>
                        <a:pt x="650691" y="594932"/>
                      </a:cubicBezTo>
                      <a:cubicBezTo>
                        <a:pt x="656153" y="595694"/>
                        <a:pt x="658947" y="593408"/>
                        <a:pt x="658947" y="587820"/>
                      </a:cubicBezTo>
                      <a:cubicBezTo>
                        <a:pt x="655010" y="500434"/>
                        <a:pt x="652215" y="424480"/>
                        <a:pt x="650691" y="359957"/>
                      </a:cubicBezTo>
                      <a:cubicBezTo>
                        <a:pt x="650691" y="353606"/>
                        <a:pt x="647897" y="350939"/>
                        <a:pt x="642435" y="351701"/>
                      </a:cubicBezTo>
                      <a:lnTo>
                        <a:pt x="565719" y="351701"/>
                      </a:lnTo>
                      <a:cubicBezTo>
                        <a:pt x="519232" y="351701"/>
                        <a:pt x="472491" y="350558"/>
                        <a:pt x="425242" y="348145"/>
                      </a:cubicBezTo>
                      <a:cubicBezTo>
                        <a:pt x="405555" y="347383"/>
                        <a:pt x="389043" y="339889"/>
                        <a:pt x="375707" y="325663"/>
                      </a:cubicBezTo>
                      <a:cubicBezTo>
                        <a:pt x="362370" y="311438"/>
                        <a:pt x="355638" y="294545"/>
                        <a:pt x="355638" y="274858"/>
                      </a:cubicBezTo>
                      <a:lnTo>
                        <a:pt x="355638" y="271301"/>
                      </a:lnTo>
                      <a:cubicBezTo>
                        <a:pt x="355638" y="253265"/>
                        <a:pt x="362751" y="237897"/>
                        <a:pt x="376850" y="225322"/>
                      </a:cubicBezTo>
                      <a:cubicBezTo>
                        <a:pt x="389424" y="213510"/>
                        <a:pt x="404031" y="207668"/>
                        <a:pt x="420542" y="207668"/>
                      </a:cubicBezTo>
                      <a:lnTo>
                        <a:pt x="425242" y="207668"/>
                      </a:lnTo>
                      <a:cubicBezTo>
                        <a:pt x="471729" y="211605"/>
                        <a:pt x="518470" y="213510"/>
                        <a:pt x="565719" y="213510"/>
                      </a:cubicBezTo>
                      <a:cubicBezTo>
                        <a:pt x="599505" y="213510"/>
                        <a:pt x="624781" y="213129"/>
                        <a:pt x="641292" y="212367"/>
                      </a:cubicBezTo>
                      <a:cubicBezTo>
                        <a:pt x="646754" y="212367"/>
                        <a:pt x="649548" y="209192"/>
                        <a:pt x="649548" y="202968"/>
                      </a:cubicBezTo>
                      <a:cubicBezTo>
                        <a:pt x="649548" y="189632"/>
                        <a:pt x="649294" y="173247"/>
                        <a:pt x="648913" y="153941"/>
                      </a:cubicBezTo>
                      <a:cubicBezTo>
                        <a:pt x="648532" y="134635"/>
                        <a:pt x="648278" y="119139"/>
                        <a:pt x="648278" y="107327"/>
                      </a:cubicBezTo>
                      <a:cubicBezTo>
                        <a:pt x="648278" y="95514"/>
                        <a:pt x="647897" y="86115"/>
                        <a:pt x="647135" y="79003"/>
                      </a:cubicBezTo>
                      <a:lnTo>
                        <a:pt x="647135" y="66047"/>
                      </a:lnTo>
                      <a:cubicBezTo>
                        <a:pt x="647135" y="48773"/>
                        <a:pt x="652597" y="33786"/>
                        <a:pt x="663647" y="21211"/>
                      </a:cubicBezTo>
                      <a:cubicBezTo>
                        <a:pt x="676221" y="6986"/>
                        <a:pt x="691590" y="0"/>
                        <a:pt x="709626" y="0"/>
                      </a:cubicBezTo>
                      <a:lnTo>
                        <a:pt x="741506" y="0"/>
                      </a:lnTo>
                      <a:cubicBezTo>
                        <a:pt x="760431" y="0"/>
                        <a:pt x="775673" y="7113"/>
                        <a:pt x="787485" y="21211"/>
                      </a:cubicBezTo>
                      <a:cubicBezTo>
                        <a:pt x="799297" y="33786"/>
                        <a:pt x="805140" y="48392"/>
                        <a:pt x="805140" y="64904"/>
                      </a:cubicBezTo>
                      <a:cubicBezTo>
                        <a:pt x="805140" y="65666"/>
                        <a:pt x="804759" y="69985"/>
                        <a:pt x="803997" y="77859"/>
                      </a:cubicBezTo>
                      <a:cubicBezTo>
                        <a:pt x="801584" y="127395"/>
                        <a:pt x="800441" y="166007"/>
                        <a:pt x="800441" y="193569"/>
                      </a:cubicBezTo>
                      <a:cubicBezTo>
                        <a:pt x="800441" y="199031"/>
                        <a:pt x="803616" y="201444"/>
                        <a:pt x="809840" y="200682"/>
                      </a:cubicBezTo>
                      <a:cubicBezTo>
                        <a:pt x="850738" y="196744"/>
                        <a:pt x="886556" y="192045"/>
                        <a:pt x="917293" y="186456"/>
                      </a:cubicBezTo>
                      <a:lnTo>
                        <a:pt x="927962" y="186456"/>
                      </a:lnTo>
                      <a:cubicBezTo>
                        <a:pt x="941299" y="186456"/>
                        <a:pt x="953492" y="190775"/>
                        <a:pt x="964542" y="199412"/>
                      </a:cubicBezTo>
                      <a:cubicBezTo>
                        <a:pt x="978768" y="211224"/>
                        <a:pt x="985754" y="226212"/>
                        <a:pt x="985754" y="244248"/>
                      </a:cubicBezTo>
                      <a:lnTo>
                        <a:pt x="985754" y="253646"/>
                      </a:lnTo>
                      <a:cubicBezTo>
                        <a:pt x="985754" y="273334"/>
                        <a:pt x="979276" y="290607"/>
                        <a:pt x="966320" y="305595"/>
                      </a:cubicBezTo>
                      <a:cubicBezTo>
                        <a:pt x="953365" y="320583"/>
                        <a:pt x="936599" y="329220"/>
                        <a:pt x="916150" y="331506"/>
                      </a:cubicBezTo>
                      <a:cubicBezTo>
                        <a:pt x="879951" y="336205"/>
                        <a:pt x="844133" y="340143"/>
                        <a:pt x="808696" y="343318"/>
                      </a:cubicBezTo>
                      <a:cubicBezTo>
                        <a:pt x="802346" y="343318"/>
                        <a:pt x="799297" y="346493"/>
                        <a:pt x="799297" y="352717"/>
                      </a:cubicBezTo>
                      <a:cubicBezTo>
                        <a:pt x="800822" y="421940"/>
                        <a:pt x="805140" y="513263"/>
                        <a:pt x="812253" y="626559"/>
                      </a:cubicBezTo>
                      <a:cubicBezTo>
                        <a:pt x="812253" y="632909"/>
                        <a:pt x="815047" y="637228"/>
                        <a:pt x="820509" y="639514"/>
                      </a:cubicBezTo>
                      <a:cubicBezTo>
                        <a:pt x="879570" y="663901"/>
                        <a:pt x="936599" y="698957"/>
                        <a:pt x="991723" y="744555"/>
                      </a:cubicBezTo>
                      <a:close/>
                      <a:moveTo>
                        <a:pt x="665806" y="742522"/>
                      </a:moveTo>
                      <a:lnTo>
                        <a:pt x="665806" y="730710"/>
                      </a:lnTo>
                      <a:cubicBezTo>
                        <a:pt x="665806" y="725248"/>
                        <a:pt x="662631" y="721692"/>
                        <a:pt x="656407" y="720041"/>
                      </a:cubicBezTo>
                      <a:cubicBezTo>
                        <a:pt x="626432" y="712166"/>
                        <a:pt x="597346" y="708229"/>
                        <a:pt x="569022" y="708229"/>
                      </a:cubicBezTo>
                      <a:cubicBezTo>
                        <a:pt x="534347" y="708229"/>
                        <a:pt x="506658" y="714960"/>
                        <a:pt x="485828" y="728297"/>
                      </a:cubicBezTo>
                      <a:cubicBezTo>
                        <a:pt x="464997" y="741633"/>
                        <a:pt x="454582" y="759415"/>
                        <a:pt x="454582" y="781388"/>
                      </a:cubicBezTo>
                      <a:cubicBezTo>
                        <a:pt x="454582" y="803362"/>
                        <a:pt x="464743" y="821525"/>
                        <a:pt x="485319" y="833337"/>
                      </a:cubicBezTo>
                      <a:cubicBezTo>
                        <a:pt x="505769" y="845149"/>
                        <a:pt x="532950" y="850992"/>
                        <a:pt x="566735" y="850992"/>
                      </a:cubicBezTo>
                      <a:cubicBezTo>
                        <a:pt x="600521" y="850992"/>
                        <a:pt x="627575" y="841974"/>
                        <a:pt x="642817" y="823811"/>
                      </a:cubicBezTo>
                      <a:cubicBezTo>
                        <a:pt x="658185" y="805775"/>
                        <a:pt x="665806" y="778594"/>
                        <a:pt x="665806" y="742395"/>
                      </a:cubicBezTo>
                      <a:close/>
                    </a:path>
                  </a:pathLst>
                </a:custGeom>
                <a:solidFill>
                  <a:schemeClr val="bg1"/>
                </a:solidFill>
                <a:ln w="0" cap="flat">
                  <a:noFill/>
                  <a:prstDash val="solid"/>
                  <a:miter/>
                </a:ln>
              </p:spPr>
              <p:txBody>
                <a:bodyPr rtlCol="0" anchor="ctr"/>
                <a:lstStyle/>
                <a:p>
                  <a:endParaRPr lang="ja-JP" altLang="en-US"/>
                </a:p>
              </p:txBody>
            </p:sp>
            <p:sp>
              <p:nvSpPr>
                <p:cNvPr id="96" name="フリーフォーム: 図形 95">
                  <a:extLst>
                    <a:ext uri="{FF2B5EF4-FFF2-40B4-BE49-F238E27FC236}">
                      <a16:creationId xmlns:a16="http://schemas.microsoft.com/office/drawing/2014/main" id="{1D2937D0-99F7-081D-C008-D66A1D102339}"/>
                    </a:ext>
                  </a:extLst>
                </p:cNvPr>
                <p:cNvSpPr/>
                <p:nvPr/>
              </p:nvSpPr>
              <p:spPr>
                <a:xfrm>
                  <a:off x="2732879" y="5368130"/>
                  <a:ext cx="819112" cy="1028234"/>
                </a:xfrm>
                <a:custGeom>
                  <a:avLst/>
                  <a:gdLst>
                    <a:gd name="connsiteX0" fmla="*/ 6986 w 819111"/>
                    <a:gd name="connsiteY0" fmla="*/ 67376 h 1028235"/>
                    <a:gd name="connsiteX1" fmla="*/ 6986 w 819111"/>
                    <a:gd name="connsiteY1" fmla="*/ 60263 h 1028235"/>
                    <a:gd name="connsiteX2" fmla="*/ 21211 w 819111"/>
                    <a:gd name="connsiteY2" fmla="*/ 20127 h 1028235"/>
                    <a:gd name="connsiteX3" fmla="*/ 66047 w 819111"/>
                    <a:gd name="connsiteY3" fmla="*/ 59 h 1028235"/>
                    <a:gd name="connsiteX4" fmla="*/ 120282 w 819111"/>
                    <a:gd name="connsiteY4" fmla="*/ 59 h 1028235"/>
                    <a:gd name="connsiteX5" fmla="*/ 165118 w 819111"/>
                    <a:gd name="connsiteY5" fmla="*/ 21270 h 1028235"/>
                    <a:gd name="connsiteX6" fmla="*/ 180487 w 819111"/>
                    <a:gd name="connsiteY6" fmla="*/ 61407 h 1028235"/>
                    <a:gd name="connsiteX7" fmla="*/ 180487 w 819111"/>
                    <a:gd name="connsiteY7" fmla="*/ 69663 h 1028235"/>
                    <a:gd name="connsiteX8" fmla="*/ 173374 w 819111"/>
                    <a:gd name="connsiteY8" fmla="*/ 159334 h 1028235"/>
                    <a:gd name="connsiteX9" fmla="*/ 159148 w 819111"/>
                    <a:gd name="connsiteY9" fmla="*/ 704731 h 1028235"/>
                    <a:gd name="connsiteX10" fmla="*/ 323250 w 819111"/>
                    <a:gd name="connsiteY10" fmla="*/ 865277 h 1028235"/>
                    <a:gd name="connsiteX11" fmla="*/ 692733 w 819111"/>
                    <a:gd name="connsiteY11" fmla="*/ 677550 h 1028235"/>
                    <a:gd name="connsiteX12" fmla="*/ 735282 w 819111"/>
                    <a:gd name="connsiteY12" fmla="*/ 656339 h 1028235"/>
                    <a:gd name="connsiteX13" fmla="*/ 737696 w 819111"/>
                    <a:gd name="connsiteY13" fmla="*/ 656339 h 1028235"/>
                    <a:gd name="connsiteX14" fmla="*/ 777832 w 819111"/>
                    <a:gd name="connsiteY14" fmla="*/ 675264 h 1028235"/>
                    <a:gd name="connsiteX15" fmla="*/ 797900 w 819111"/>
                    <a:gd name="connsiteY15" fmla="*/ 700032 h 1028235"/>
                    <a:gd name="connsiteX16" fmla="*/ 819112 w 819111"/>
                    <a:gd name="connsiteY16" fmla="*/ 757823 h 1028235"/>
                    <a:gd name="connsiteX17" fmla="*/ 800186 w 819111"/>
                    <a:gd name="connsiteY17" fmla="*/ 809772 h 1028235"/>
                    <a:gd name="connsiteX18" fmla="*/ 718771 w 819111"/>
                    <a:gd name="connsiteY18" fmla="*/ 888266 h 1028235"/>
                    <a:gd name="connsiteX19" fmla="*/ 614874 w 819111"/>
                    <a:gd name="connsiteY19" fmla="*/ 957361 h 1028235"/>
                    <a:gd name="connsiteX20" fmla="*/ 480366 w 819111"/>
                    <a:gd name="connsiteY20" fmla="*/ 1009310 h 1028235"/>
                    <a:gd name="connsiteX21" fmla="*/ 322234 w 819111"/>
                    <a:gd name="connsiteY21" fmla="*/ 1028235 h 1028235"/>
                    <a:gd name="connsiteX22" fmla="*/ 84972 w 819111"/>
                    <a:gd name="connsiteY22" fmla="*/ 956854 h 1028235"/>
                    <a:gd name="connsiteX23" fmla="*/ 0 w 819111"/>
                    <a:gd name="connsiteY23" fmla="*/ 737882 h 1028235"/>
                    <a:gd name="connsiteX24" fmla="*/ 5843 w 819111"/>
                    <a:gd name="connsiteY24" fmla="*/ 427460 h 1028235"/>
                    <a:gd name="connsiteX25" fmla="*/ 11685 w 819111"/>
                    <a:gd name="connsiteY25" fmla="*/ 159461 h 1028235"/>
                    <a:gd name="connsiteX26" fmla="*/ 6986 w 819111"/>
                    <a:gd name="connsiteY26" fmla="*/ 67376 h 1028235"/>
                    <a:gd name="connsiteX27" fmla="*/ 426004 w 819111"/>
                    <a:gd name="connsiteY27" fmla="*/ 186642 h 1028235"/>
                    <a:gd name="connsiteX28" fmla="*/ 418891 w 819111"/>
                    <a:gd name="connsiteY28" fmla="*/ 161874 h 1028235"/>
                    <a:gd name="connsiteX29" fmla="*/ 421305 w 819111"/>
                    <a:gd name="connsiteY29" fmla="*/ 146506 h 1028235"/>
                    <a:gd name="connsiteX30" fmla="*/ 447215 w 819111"/>
                    <a:gd name="connsiteY30" fmla="*/ 117039 h 1028235"/>
                    <a:gd name="connsiteX31" fmla="*/ 474396 w 819111"/>
                    <a:gd name="connsiteY31" fmla="*/ 111196 h 1028235"/>
                    <a:gd name="connsiteX32" fmla="*/ 494465 w 819111"/>
                    <a:gd name="connsiteY32" fmla="*/ 114752 h 1028235"/>
                    <a:gd name="connsiteX33" fmla="*/ 531044 w 819111"/>
                    <a:gd name="connsiteY33" fmla="*/ 143076 h 1028235"/>
                    <a:gd name="connsiteX34" fmla="*/ 586550 w 819111"/>
                    <a:gd name="connsiteY34" fmla="*/ 236305 h 1028235"/>
                    <a:gd name="connsiteX35" fmla="*/ 593662 w 819111"/>
                    <a:gd name="connsiteY35" fmla="*/ 262215 h 1028235"/>
                    <a:gd name="connsiteX36" fmla="*/ 590106 w 819111"/>
                    <a:gd name="connsiteY36" fmla="*/ 281141 h 1028235"/>
                    <a:gd name="connsiteX37" fmla="*/ 559369 w 819111"/>
                    <a:gd name="connsiteY37" fmla="*/ 313021 h 1028235"/>
                    <a:gd name="connsiteX38" fmla="*/ 535744 w 819111"/>
                    <a:gd name="connsiteY38" fmla="*/ 317720 h 1028235"/>
                    <a:gd name="connsiteX39" fmla="*/ 513263 w 819111"/>
                    <a:gd name="connsiteY39" fmla="*/ 314164 h 1028235"/>
                    <a:gd name="connsiteX40" fmla="*/ 479096 w 819111"/>
                    <a:gd name="connsiteY40" fmla="*/ 282284 h 1028235"/>
                    <a:gd name="connsiteX41" fmla="*/ 426004 w 819111"/>
                    <a:gd name="connsiteY41" fmla="*/ 186642 h 1028235"/>
                    <a:gd name="connsiteX42" fmla="*/ 591249 w 819111"/>
                    <a:gd name="connsiteY42" fmla="*/ 122881 h 1028235"/>
                    <a:gd name="connsiteX43" fmla="*/ 582993 w 819111"/>
                    <a:gd name="connsiteY43" fmla="*/ 96971 h 1028235"/>
                    <a:gd name="connsiteX44" fmla="*/ 584136 w 819111"/>
                    <a:gd name="connsiteY44" fmla="*/ 84015 h 1028235"/>
                    <a:gd name="connsiteX45" fmla="*/ 610047 w 819111"/>
                    <a:gd name="connsiteY45" fmla="*/ 53278 h 1028235"/>
                    <a:gd name="connsiteX46" fmla="*/ 638371 w 819111"/>
                    <a:gd name="connsiteY46" fmla="*/ 46165 h 1028235"/>
                    <a:gd name="connsiteX47" fmla="*/ 656026 w 819111"/>
                    <a:gd name="connsiteY47" fmla="*/ 48578 h 1028235"/>
                    <a:gd name="connsiteX48" fmla="*/ 693749 w 819111"/>
                    <a:gd name="connsiteY48" fmla="*/ 75759 h 1028235"/>
                    <a:gd name="connsiteX49" fmla="*/ 751540 w 819111"/>
                    <a:gd name="connsiteY49" fmla="*/ 166701 h 1028235"/>
                    <a:gd name="connsiteX50" fmla="*/ 758653 w 819111"/>
                    <a:gd name="connsiteY50" fmla="*/ 192612 h 1028235"/>
                    <a:gd name="connsiteX51" fmla="*/ 755097 w 819111"/>
                    <a:gd name="connsiteY51" fmla="*/ 210267 h 1028235"/>
                    <a:gd name="connsiteX52" fmla="*/ 726773 w 819111"/>
                    <a:gd name="connsiteY52" fmla="*/ 243290 h 1028235"/>
                    <a:gd name="connsiteX53" fmla="*/ 700862 w 819111"/>
                    <a:gd name="connsiteY53" fmla="*/ 249133 h 1028235"/>
                    <a:gd name="connsiteX54" fmla="*/ 681937 w 819111"/>
                    <a:gd name="connsiteY54" fmla="*/ 245577 h 1028235"/>
                    <a:gd name="connsiteX55" fmla="*/ 646500 w 819111"/>
                    <a:gd name="connsiteY55" fmla="*/ 217252 h 1028235"/>
                    <a:gd name="connsiteX56" fmla="*/ 590995 w 819111"/>
                    <a:gd name="connsiteY56" fmla="*/ 122754 h 10282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Lst>
                  <a:rect l="l" t="t" r="r" b="b"/>
                  <a:pathLst>
                    <a:path w="819111" h="1028235">
                      <a:moveTo>
                        <a:pt x="6986" y="67376"/>
                      </a:moveTo>
                      <a:lnTo>
                        <a:pt x="6986" y="60263"/>
                      </a:lnTo>
                      <a:cubicBezTo>
                        <a:pt x="6986" y="45276"/>
                        <a:pt x="11685" y="31939"/>
                        <a:pt x="21211" y="20127"/>
                      </a:cubicBezTo>
                      <a:cubicBezTo>
                        <a:pt x="33024" y="5902"/>
                        <a:pt x="48011" y="-703"/>
                        <a:pt x="66047" y="59"/>
                      </a:cubicBezTo>
                      <a:lnTo>
                        <a:pt x="120282" y="59"/>
                      </a:lnTo>
                      <a:cubicBezTo>
                        <a:pt x="138318" y="59"/>
                        <a:pt x="153306" y="7172"/>
                        <a:pt x="165118" y="21270"/>
                      </a:cubicBezTo>
                      <a:cubicBezTo>
                        <a:pt x="175279" y="33083"/>
                        <a:pt x="180487" y="46419"/>
                        <a:pt x="180487" y="61407"/>
                      </a:cubicBezTo>
                      <a:lnTo>
                        <a:pt x="180487" y="69663"/>
                      </a:lnTo>
                      <a:cubicBezTo>
                        <a:pt x="176549" y="102686"/>
                        <a:pt x="174136" y="132661"/>
                        <a:pt x="173374" y="159334"/>
                      </a:cubicBezTo>
                      <a:cubicBezTo>
                        <a:pt x="163975" y="366240"/>
                        <a:pt x="159148" y="548123"/>
                        <a:pt x="159148" y="704731"/>
                      </a:cubicBezTo>
                      <a:cubicBezTo>
                        <a:pt x="159148" y="811804"/>
                        <a:pt x="213891" y="865277"/>
                        <a:pt x="323250" y="865277"/>
                      </a:cubicBezTo>
                      <a:cubicBezTo>
                        <a:pt x="469570" y="865277"/>
                        <a:pt x="592773" y="802659"/>
                        <a:pt x="692733" y="677550"/>
                      </a:cubicBezTo>
                      <a:cubicBezTo>
                        <a:pt x="703783" y="664214"/>
                        <a:pt x="717882" y="657101"/>
                        <a:pt x="735282" y="656339"/>
                      </a:cubicBezTo>
                      <a:lnTo>
                        <a:pt x="737696" y="656339"/>
                      </a:lnTo>
                      <a:cubicBezTo>
                        <a:pt x="753446" y="656339"/>
                        <a:pt x="766782" y="662690"/>
                        <a:pt x="777832" y="675264"/>
                      </a:cubicBezTo>
                      <a:lnTo>
                        <a:pt x="797900" y="700032"/>
                      </a:lnTo>
                      <a:cubicBezTo>
                        <a:pt x="812126" y="717306"/>
                        <a:pt x="819112" y="736612"/>
                        <a:pt x="819112" y="757823"/>
                      </a:cubicBezTo>
                      <a:cubicBezTo>
                        <a:pt x="819112" y="777510"/>
                        <a:pt x="812761" y="794784"/>
                        <a:pt x="800186" y="809772"/>
                      </a:cubicBezTo>
                      <a:cubicBezTo>
                        <a:pt x="775800" y="838096"/>
                        <a:pt x="748619" y="864260"/>
                        <a:pt x="718771" y="888266"/>
                      </a:cubicBezTo>
                      <a:cubicBezTo>
                        <a:pt x="688923" y="912272"/>
                        <a:pt x="654248" y="935261"/>
                        <a:pt x="614874" y="957361"/>
                      </a:cubicBezTo>
                      <a:cubicBezTo>
                        <a:pt x="575499" y="979335"/>
                        <a:pt x="530663" y="996736"/>
                        <a:pt x="480366" y="1009310"/>
                      </a:cubicBezTo>
                      <a:cubicBezTo>
                        <a:pt x="429942" y="1021884"/>
                        <a:pt x="377231" y="1028235"/>
                        <a:pt x="322234" y="1028235"/>
                      </a:cubicBezTo>
                      <a:cubicBezTo>
                        <a:pt x="220750" y="1028235"/>
                        <a:pt x="141620" y="1004357"/>
                        <a:pt x="84972" y="956854"/>
                      </a:cubicBezTo>
                      <a:cubicBezTo>
                        <a:pt x="28324" y="909223"/>
                        <a:pt x="0" y="836317"/>
                        <a:pt x="0" y="737882"/>
                      </a:cubicBezTo>
                      <a:cubicBezTo>
                        <a:pt x="0" y="679709"/>
                        <a:pt x="1905" y="576193"/>
                        <a:pt x="5843" y="427460"/>
                      </a:cubicBezTo>
                      <a:cubicBezTo>
                        <a:pt x="9780" y="278727"/>
                        <a:pt x="11685" y="189437"/>
                        <a:pt x="11685" y="159461"/>
                      </a:cubicBezTo>
                      <a:cubicBezTo>
                        <a:pt x="11685" y="127200"/>
                        <a:pt x="10161" y="96462"/>
                        <a:pt x="6986" y="67376"/>
                      </a:cubicBezTo>
                      <a:close/>
                      <a:moveTo>
                        <a:pt x="426004" y="186642"/>
                      </a:moveTo>
                      <a:cubicBezTo>
                        <a:pt x="421305" y="178767"/>
                        <a:pt x="418891" y="170511"/>
                        <a:pt x="418891" y="161874"/>
                      </a:cubicBezTo>
                      <a:cubicBezTo>
                        <a:pt x="418891" y="157175"/>
                        <a:pt x="419653" y="152095"/>
                        <a:pt x="421305" y="146506"/>
                      </a:cubicBezTo>
                      <a:cubicBezTo>
                        <a:pt x="425242" y="132280"/>
                        <a:pt x="433879" y="122500"/>
                        <a:pt x="447215" y="117039"/>
                      </a:cubicBezTo>
                      <a:cubicBezTo>
                        <a:pt x="455852" y="113101"/>
                        <a:pt x="464870" y="111196"/>
                        <a:pt x="474396" y="111196"/>
                      </a:cubicBezTo>
                      <a:cubicBezTo>
                        <a:pt x="480747" y="111196"/>
                        <a:pt x="487352" y="112339"/>
                        <a:pt x="494465" y="114752"/>
                      </a:cubicBezTo>
                      <a:cubicBezTo>
                        <a:pt x="510214" y="119452"/>
                        <a:pt x="522408" y="128978"/>
                        <a:pt x="531044" y="143076"/>
                      </a:cubicBezTo>
                      <a:cubicBezTo>
                        <a:pt x="551494" y="176100"/>
                        <a:pt x="570038" y="207218"/>
                        <a:pt x="586550" y="236305"/>
                      </a:cubicBezTo>
                      <a:cubicBezTo>
                        <a:pt x="591249" y="244942"/>
                        <a:pt x="593662" y="253578"/>
                        <a:pt x="593662" y="262215"/>
                      </a:cubicBezTo>
                      <a:cubicBezTo>
                        <a:pt x="593662" y="268566"/>
                        <a:pt x="592519" y="274790"/>
                        <a:pt x="590106" y="281141"/>
                      </a:cubicBezTo>
                      <a:cubicBezTo>
                        <a:pt x="584644" y="296128"/>
                        <a:pt x="574356" y="306670"/>
                        <a:pt x="559369" y="313021"/>
                      </a:cubicBezTo>
                      <a:cubicBezTo>
                        <a:pt x="551494" y="316196"/>
                        <a:pt x="543619" y="317720"/>
                        <a:pt x="535744" y="317720"/>
                      </a:cubicBezTo>
                      <a:cubicBezTo>
                        <a:pt x="527869" y="317720"/>
                        <a:pt x="520375" y="316577"/>
                        <a:pt x="513263" y="314164"/>
                      </a:cubicBezTo>
                      <a:cubicBezTo>
                        <a:pt x="498275" y="307813"/>
                        <a:pt x="486844" y="297271"/>
                        <a:pt x="479096" y="282284"/>
                      </a:cubicBezTo>
                      <a:cubicBezTo>
                        <a:pt x="462584" y="247609"/>
                        <a:pt x="444802" y="215728"/>
                        <a:pt x="426004" y="186642"/>
                      </a:cubicBezTo>
                      <a:close/>
                      <a:moveTo>
                        <a:pt x="591249" y="122881"/>
                      </a:moveTo>
                      <a:cubicBezTo>
                        <a:pt x="585787" y="115007"/>
                        <a:pt x="582993" y="106370"/>
                        <a:pt x="582993" y="96971"/>
                      </a:cubicBezTo>
                      <a:cubicBezTo>
                        <a:pt x="582993" y="92271"/>
                        <a:pt x="583374" y="87953"/>
                        <a:pt x="584136" y="84015"/>
                      </a:cubicBezTo>
                      <a:cubicBezTo>
                        <a:pt x="588074" y="69027"/>
                        <a:pt x="596710" y="58867"/>
                        <a:pt x="610047" y="53278"/>
                      </a:cubicBezTo>
                      <a:cubicBezTo>
                        <a:pt x="619446" y="48578"/>
                        <a:pt x="628972" y="46165"/>
                        <a:pt x="638371" y="46165"/>
                      </a:cubicBezTo>
                      <a:cubicBezTo>
                        <a:pt x="644722" y="46165"/>
                        <a:pt x="650564" y="46927"/>
                        <a:pt x="656026" y="48578"/>
                      </a:cubicBezTo>
                      <a:cubicBezTo>
                        <a:pt x="672538" y="53278"/>
                        <a:pt x="685112" y="62296"/>
                        <a:pt x="693749" y="75759"/>
                      </a:cubicBezTo>
                      <a:cubicBezTo>
                        <a:pt x="714960" y="108021"/>
                        <a:pt x="734266" y="138250"/>
                        <a:pt x="751540" y="166701"/>
                      </a:cubicBezTo>
                      <a:cubicBezTo>
                        <a:pt x="756240" y="175338"/>
                        <a:pt x="758653" y="183975"/>
                        <a:pt x="758653" y="192612"/>
                      </a:cubicBezTo>
                      <a:cubicBezTo>
                        <a:pt x="758653" y="198963"/>
                        <a:pt x="757510" y="204805"/>
                        <a:pt x="755097" y="210267"/>
                      </a:cubicBezTo>
                      <a:cubicBezTo>
                        <a:pt x="750397" y="225254"/>
                        <a:pt x="740871" y="236178"/>
                        <a:pt x="726773" y="243290"/>
                      </a:cubicBezTo>
                      <a:cubicBezTo>
                        <a:pt x="718136" y="247228"/>
                        <a:pt x="709499" y="249133"/>
                        <a:pt x="700862" y="249133"/>
                      </a:cubicBezTo>
                      <a:cubicBezTo>
                        <a:pt x="694511" y="249133"/>
                        <a:pt x="688287" y="247990"/>
                        <a:pt x="681937" y="245577"/>
                      </a:cubicBezTo>
                      <a:cubicBezTo>
                        <a:pt x="666187" y="240877"/>
                        <a:pt x="654375" y="231351"/>
                        <a:pt x="646500" y="217252"/>
                      </a:cubicBezTo>
                      <a:cubicBezTo>
                        <a:pt x="628337" y="182578"/>
                        <a:pt x="609920" y="151078"/>
                        <a:pt x="590995" y="122754"/>
                      </a:cubicBezTo>
                      <a:close/>
                    </a:path>
                  </a:pathLst>
                </a:custGeom>
                <a:solidFill>
                  <a:schemeClr val="bg1"/>
                </a:solidFill>
                <a:ln w="0" cap="flat">
                  <a:noFill/>
                  <a:prstDash val="solid"/>
                  <a:miter/>
                </a:ln>
              </p:spPr>
              <p:txBody>
                <a:bodyPr rtlCol="0" anchor="ctr"/>
                <a:lstStyle/>
                <a:p>
                  <a:endParaRPr lang="ja-JP" altLang="en-US"/>
                </a:p>
              </p:txBody>
            </p:sp>
            <p:sp>
              <p:nvSpPr>
                <p:cNvPr id="97" name="フリーフォーム: 図形 96">
                  <a:extLst>
                    <a:ext uri="{FF2B5EF4-FFF2-40B4-BE49-F238E27FC236}">
                      <a16:creationId xmlns:a16="http://schemas.microsoft.com/office/drawing/2014/main" id="{0BA3F0BD-259D-9370-0E1D-4BBB65424733}"/>
                    </a:ext>
                  </a:extLst>
                </p:cNvPr>
                <p:cNvSpPr/>
                <p:nvPr/>
              </p:nvSpPr>
              <p:spPr>
                <a:xfrm>
                  <a:off x="3890760" y="5363488"/>
                  <a:ext cx="1033891" cy="1005822"/>
                </a:xfrm>
                <a:custGeom>
                  <a:avLst/>
                  <a:gdLst>
                    <a:gd name="connsiteX0" fmla="*/ 730583 w 1033891"/>
                    <a:gd name="connsiteY0" fmla="*/ 131078 h 1005821"/>
                    <a:gd name="connsiteX1" fmla="*/ 722327 w 1033891"/>
                    <a:gd name="connsiteY1" fmla="*/ 167658 h 1005821"/>
                    <a:gd name="connsiteX2" fmla="*/ 728170 w 1033891"/>
                    <a:gd name="connsiteY2" fmla="*/ 178327 h 1005821"/>
                    <a:gd name="connsiteX3" fmla="*/ 950698 w 1033891"/>
                    <a:gd name="connsiteY3" fmla="*/ 319947 h 1005821"/>
                    <a:gd name="connsiteX4" fmla="*/ 1033892 w 1033891"/>
                    <a:gd name="connsiteY4" fmla="*/ 580834 h 1005821"/>
                    <a:gd name="connsiteX5" fmla="*/ 935964 w 1033891"/>
                    <a:gd name="connsiteY5" fmla="*/ 854675 h 1005821"/>
                    <a:gd name="connsiteX6" fmla="*/ 670378 w 1033891"/>
                    <a:gd name="connsiteY6" fmla="*/ 1003408 h 1005821"/>
                    <a:gd name="connsiteX7" fmla="*/ 649167 w 1033891"/>
                    <a:gd name="connsiteY7" fmla="*/ 1005822 h 1005821"/>
                    <a:gd name="connsiteX8" fmla="*/ 611444 w 1033891"/>
                    <a:gd name="connsiteY8" fmla="*/ 998709 h 1005821"/>
                    <a:gd name="connsiteX9" fmla="*/ 564195 w 1033891"/>
                    <a:gd name="connsiteY9" fmla="*/ 958572 h 1005821"/>
                    <a:gd name="connsiteX10" fmla="*/ 549969 w 1033891"/>
                    <a:gd name="connsiteY10" fmla="*/ 937361 h 1005821"/>
                    <a:gd name="connsiteX11" fmla="*/ 541714 w 1033891"/>
                    <a:gd name="connsiteY11" fmla="*/ 913737 h 1005821"/>
                    <a:gd name="connsiteX12" fmla="*/ 546413 w 1033891"/>
                    <a:gd name="connsiteY12" fmla="*/ 896082 h 1005821"/>
                    <a:gd name="connsiteX13" fmla="*/ 579437 w 1033891"/>
                    <a:gd name="connsiteY13" fmla="*/ 870171 h 1005821"/>
                    <a:gd name="connsiteX14" fmla="*/ 804251 w 1033891"/>
                    <a:gd name="connsiteY14" fmla="*/ 761574 h 1005821"/>
                    <a:gd name="connsiteX15" fmla="*/ 876903 w 1033891"/>
                    <a:gd name="connsiteY15" fmla="*/ 571562 h 1005821"/>
                    <a:gd name="connsiteX16" fmla="*/ 827875 w 1033891"/>
                    <a:gd name="connsiteY16" fmla="*/ 405682 h 1005821"/>
                    <a:gd name="connsiteX17" fmla="*/ 691590 w 1033891"/>
                    <a:gd name="connsiteY17" fmla="*/ 310675 h 1005821"/>
                    <a:gd name="connsiteX18" fmla="*/ 680921 w 1033891"/>
                    <a:gd name="connsiteY18" fmla="*/ 316518 h 1005821"/>
                    <a:gd name="connsiteX19" fmla="*/ 526345 w 1033891"/>
                    <a:gd name="connsiteY19" fmla="*/ 682445 h 1005821"/>
                    <a:gd name="connsiteX20" fmla="*/ 527488 w 1033891"/>
                    <a:gd name="connsiteY20" fmla="*/ 695400 h 1005821"/>
                    <a:gd name="connsiteX21" fmla="*/ 539300 w 1033891"/>
                    <a:gd name="connsiteY21" fmla="*/ 709626 h 1005821"/>
                    <a:gd name="connsiteX22" fmla="*/ 555812 w 1033891"/>
                    <a:gd name="connsiteY22" fmla="*/ 753318 h 1005821"/>
                    <a:gd name="connsiteX23" fmla="*/ 532188 w 1033891"/>
                    <a:gd name="connsiteY23" fmla="*/ 804124 h 1005821"/>
                    <a:gd name="connsiteX24" fmla="*/ 510976 w 1033891"/>
                    <a:gd name="connsiteY24" fmla="*/ 821779 h 1005821"/>
                    <a:gd name="connsiteX25" fmla="*/ 474396 w 1033891"/>
                    <a:gd name="connsiteY25" fmla="*/ 834734 h 1005821"/>
                    <a:gd name="connsiteX26" fmla="*/ 468554 w 1033891"/>
                    <a:gd name="connsiteY26" fmla="*/ 834734 h 1005821"/>
                    <a:gd name="connsiteX27" fmla="*/ 430831 w 1033891"/>
                    <a:gd name="connsiteY27" fmla="*/ 814666 h 1005821"/>
                    <a:gd name="connsiteX28" fmla="*/ 421432 w 1033891"/>
                    <a:gd name="connsiteY28" fmla="*/ 814666 h 1005821"/>
                    <a:gd name="connsiteX29" fmla="*/ 306865 w 1033891"/>
                    <a:gd name="connsiteY29" fmla="*/ 907894 h 1005821"/>
                    <a:gd name="connsiteX30" fmla="*/ 190013 w 1033891"/>
                    <a:gd name="connsiteY30" fmla="*/ 937361 h 1005821"/>
                    <a:gd name="connsiteX31" fmla="*/ 56013 w 1033891"/>
                    <a:gd name="connsiteY31" fmla="*/ 872965 h 1005821"/>
                    <a:gd name="connsiteX32" fmla="*/ 0 w 1033891"/>
                    <a:gd name="connsiteY32" fmla="*/ 697686 h 1005821"/>
                    <a:gd name="connsiteX33" fmla="*/ 45471 w 1033891"/>
                    <a:gd name="connsiteY33" fmla="*/ 497005 h 1005821"/>
                    <a:gd name="connsiteX34" fmla="*/ 169944 w 1033891"/>
                    <a:gd name="connsiteY34" fmla="*/ 324647 h 1005821"/>
                    <a:gd name="connsiteX35" fmla="*/ 173501 w 1033891"/>
                    <a:gd name="connsiteY35" fmla="*/ 310421 h 1005821"/>
                    <a:gd name="connsiteX36" fmla="*/ 145177 w 1033891"/>
                    <a:gd name="connsiteY36" fmla="*/ 221893 h 1005821"/>
                    <a:gd name="connsiteX37" fmla="*/ 123966 w 1033891"/>
                    <a:gd name="connsiteY37" fmla="*/ 161688 h 1005821"/>
                    <a:gd name="connsiteX38" fmla="*/ 119266 w 1033891"/>
                    <a:gd name="connsiteY38" fmla="*/ 138064 h 1005821"/>
                    <a:gd name="connsiteX39" fmla="*/ 125109 w 1033891"/>
                    <a:gd name="connsiteY39" fmla="*/ 110883 h 1005821"/>
                    <a:gd name="connsiteX40" fmla="*/ 162832 w 1033891"/>
                    <a:gd name="connsiteY40" fmla="*/ 77859 h 1005821"/>
                    <a:gd name="connsiteX41" fmla="*/ 186456 w 1033891"/>
                    <a:gd name="connsiteY41" fmla="*/ 69603 h 1005821"/>
                    <a:gd name="connsiteX42" fmla="*/ 205381 w 1033891"/>
                    <a:gd name="connsiteY42" fmla="*/ 67190 h 1005821"/>
                    <a:gd name="connsiteX43" fmla="*/ 237262 w 1033891"/>
                    <a:gd name="connsiteY43" fmla="*/ 76589 h 1005821"/>
                    <a:gd name="connsiteX44" fmla="*/ 267999 w 1033891"/>
                    <a:gd name="connsiteY44" fmla="*/ 117869 h 1005821"/>
                    <a:gd name="connsiteX45" fmla="*/ 279811 w 1033891"/>
                    <a:gd name="connsiteY45" fmla="*/ 162705 h 1005821"/>
                    <a:gd name="connsiteX46" fmla="*/ 298736 w 1033891"/>
                    <a:gd name="connsiteY46" fmla="*/ 228879 h 1005821"/>
                    <a:gd name="connsiteX47" fmla="*/ 309405 w 1033891"/>
                    <a:gd name="connsiteY47" fmla="*/ 232435 h 1005821"/>
                    <a:gd name="connsiteX48" fmla="*/ 564322 w 1033891"/>
                    <a:gd name="connsiteY48" fmla="*/ 166388 h 1005821"/>
                    <a:gd name="connsiteX49" fmla="*/ 574991 w 1033891"/>
                    <a:gd name="connsiteY49" fmla="*/ 156989 h 1005821"/>
                    <a:gd name="connsiteX50" fmla="*/ 584390 w 1033891"/>
                    <a:gd name="connsiteY50" fmla="*/ 107454 h 1005821"/>
                    <a:gd name="connsiteX51" fmla="*/ 590233 w 1033891"/>
                    <a:gd name="connsiteY51" fmla="*/ 63761 h 1005821"/>
                    <a:gd name="connsiteX52" fmla="*/ 613857 w 1033891"/>
                    <a:gd name="connsiteY52" fmla="*/ 16512 h 1005821"/>
                    <a:gd name="connsiteX53" fmla="*/ 656407 w 1033891"/>
                    <a:gd name="connsiteY53" fmla="*/ 0 h 1005821"/>
                    <a:gd name="connsiteX54" fmla="*/ 662250 w 1033891"/>
                    <a:gd name="connsiteY54" fmla="*/ 1143 h 1005821"/>
                    <a:gd name="connsiteX55" fmla="*/ 689431 w 1033891"/>
                    <a:gd name="connsiteY55" fmla="*/ 3556 h 1005821"/>
                    <a:gd name="connsiteX56" fmla="*/ 731980 w 1033891"/>
                    <a:gd name="connsiteY56" fmla="*/ 28324 h 1005821"/>
                    <a:gd name="connsiteX57" fmla="*/ 743792 w 1033891"/>
                    <a:gd name="connsiteY57" fmla="*/ 63761 h 1005821"/>
                    <a:gd name="connsiteX58" fmla="*/ 742649 w 1033891"/>
                    <a:gd name="connsiteY58" fmla="*/ 77986 h 1005821"/>
                    <a:gd name="connsiteX59" fmla="*/ 730837 w 1033891"/>
                    <a:gd name="connsiteY59" fmla="*/ 131078 h 1005821"/>
                    <a:gd name="connsiteX60" fmla="*/ 208811 w 1033891"/>
                    <a:gd name="connsiteY60" fmla="*/ 781515 h 1005821"/>
                    <a:gd name="connsiteX61" fmla="*/ 333919 w 1033891"/>
                    <a:gd name="connsiteY61" fmla="*/ 697686 h 1005821"/>
                    <a:gd name="connsiteX62" fmla="*/ 333919 w 1033891"/>
                    <a:gd name="connsiteY62" fmla="*/ 682318 h 1005821"/>
                    <a:gd name="connsiteX63" fmla="*/ 231165 w 1033891"/>
                    <a:gd name="connsiteY63" fmla="*/ 468681 h 1005821"/>
                    <a:gd name="connsiteX64" fmla="*/ 226974 w 1033891"/>
                    <a:gd name="connsiteY64" fmla="*/ 465759 h 1005821"/>
                    <a:gd name="connsiteX65" fmla="*/ 221639 w 1033891"/>
                    <a:gd name="connsiteY65" fmla="*/ 467537 h 1005821"/>
                    <a:gd name="connsiteX66" fmla="*/ 162070 w 1033891"/>
                    <a:gd name="connsiteY66" fmla="*/ 573721 h 1005821"/>
                    <a:gd name="connsiteX67" fmla="*/ 140223 w 1033891"/>
                    <a:gd name="connsiteY67" fmla="*/ 685874 h 1005821"/>
                    <a:gd name="connsiteX68" fmla="*/ 158513 w 1033891"/>
                    <a:gd name="connsiteY68" fmla="*/ 755478 h 1005821"/>
                    <a:gd name="connsiteX69" fmla="*/ 208684 w 1033891"/>
                    <a:gd name="connsiteY69" fmla="*/ 781388 h 1005821"/>
                    <a:gd name="connsiteX70" fmla="*/ 533458 w 1033891"/>
                    <a:gd name="connsiteY70" fmla="*/ 309405 h 1005821"/>
                    <a:gd name="connsiteX71" fmla="*/ 532315 w 1033891"/>
                    <a:gd name="connsiteY71" fmla="*/ 304706 h 1005821"/>
                    <a:gd name="connsiteX72" fmla="*/ 527615 w 1033891"/>
                    <a:gd name="connsiteY72" fmla="*/ 302293 h 1005821"/>
                    <a:gd name="connsiteX73" fmla="*/ 352971 w 1033891"/>
                    <a:gd name="connsiteY73" fmla="*/ 363640 h 1005821"/>
                    <a:gd name="connsiteX74" fmla="*/ 348272 w 1033891"/>
                    <a:gd name="connsiteY74" fmla="*/ 375453 h 1005821"/>
                    <a:gd name="connsiteX75" fmla="*/ 424988 w 1033891"/>
                    <a:gd name="connsiteY75" fmla="*/ 550096 h 1005821"/>
                    <a:gd name="connsiteX76" fmla="*/ 430323 w 1033891"/>
                    <a:gd name="connsiteY76" fmla="*/ 552510 h 1005821"/>
                    <a:gd name="connsiteX77" fmla="*/ 434514 w 1033891"/>
                    <a:gd name="connsiteY77" fmla="*/ 548953 h 1005821"/>
                    <a:gd name="connsiteX78" fmla="*/ 533712 w 1033891"/>
                    <a:gd name="connsiteY78" fmla="*/ 309278 h 10058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Lst>
                  <a:rect l="l" t="t" r="r" b="b"/>
                  <a:pathLst>
                    <a:path w="1033891" h="1005821">
                      <a:moveTo>
                        <a:pt x="730583" y="131078"/>
                      </a:moveTo>
                      <a:lnTo>
                        <a:pt x="722327" y="167658"/>
                      </a:lnTo>
                      <a:cubicBezTo>
                        <a:pt x="720803" y="173120"/>
                        <a:pt x="722708" y="176676"/>
                        <a:pt x="728170" y="178327"/>
                      </a:cubicBezTo>
                      <a:cubicBezTo>
                        <a:pt x="821017" y="201190"/>
                        <a:pt x="895193" y="248312"/>
                        <a:pt x="950698" y="319947"/>
                      </a:cubicBezTo>
                      <a:cubicBezTo>
                        <a:pt x="1006203" y="391583"/>
                        <a:pt x="1033892" y="478588"/>
                        <a:pt x="1033892" y="580834"/>
                      </a:cubicBezTo>
                      <a:cubicBezTo>
                        <a:pt x="1033892" y="691844"/>
                        <a:pt x="1001249" y="783040"/>
                        <a:pt x="935964" y="854675"/>
                      </a:cubicBezTo>
                      <a:cubicBezTo>
                        <a:pt x="870679" y="926311"/>
                        <a:pt x="782151" y="975846"/>
                        <a:pt x="670378" y="1003408"/>
                      </a:cubicBezTo>
                      <a:cubicBezTo>
                        <a:pt x="663266" y="1004933"/>
                        <a:pt x="656153" y="1005822"/>
                        <a:pt x="649167" y="1005822"/>
                      </a:cubicBezTo>
                      <a:cubicBezTo>
                        <a:pt x="636593" y="1005822"/>
                        <a:pt x="624019" y="1003408"/>
                        <a:pt x="611444" y="998709"/>
                      </a:cubicBezTo>
                      <a:cubicBezTo>
                        <a:pt x="591757" y="990072"/>
                        <a:pt x="576007" y="976609"/>
                        <a:pt x="564195" y="958572"/>
                      </a:cubicBezTo>
                      <a:lnTo>
                        <a:pt x="549969" y="937361"/>
                      </a:lnTo>
                      <a:cubicBezTo>
                        <a:pt x="544508" y="929486"/>
                        <a:pt x="541714" y="921612"/>
                        <a:pt x="541714" y="913737"/>
                      </a:cubicBezTo>
                      <a:cubicBezTo>
                        <a:pt x="541714" y="907386"/>
                        <a:pt x="543238" y="901543"/>
                        <a:pt x="546413" y="896082"/>
                      </a:cubicBezTo>
                      <a:cubicBezTo>
                        <a:pt x="552764" y="881094"/>
                        <a:pt x="563687" y="872457"/>
                        <a:pt x="579437" y="870171"/>
                      </a:cubicBezTo>
                      <a:cubicBezTo>
                        <a:pt x="680921" y="851246"/>
                        <a:pt x="755859" y="815047"/>
                        <a:pt x="804251" y="761574"/>
                      </a:cubicBezTo>
                      <a:cubicBezTo>
                        <a:pt x="852643" y="708102"/>
                        <a:pt x="876903" y="644722"/>
                        <a:pt x="876903" y="571562"/>
                      </a:cubicBezTo>
                      <a:cubicBezTo>
                        <a:pt x="876903" y="507039"/>
                        <a:pt x="860518" y="451788"/>
                        <a:pt x="827875" y="405682"/>
                      </a:cubicBezTo>
                      <a:cubicBezTo>
                        <a:pt x="795233" y="359703"/>
                        <a:pt x="749762" y="327949"/>
                        <a:pt x="691590" y="310675"/>
                      </a:cubicBezTo>
                      <a:cubicBezTo>
                        <a:pt x="686128" y="309151"/>
                        <a:pt x="682572" y="311056"/>
                        <a:pt x="680921" y="316518"/>
                      </a:cubicBezTo>
                      <a:cubicBezTo>
                        <a:pt x="634434" y="472364"/>
                        <a:pt x="582993" y="594297"/>
                        <a:pt x="526345" y="682445"/>
                      </a:cubicBezTo>
                      <a:cubicBezTo>
                        <a:pt x="523170" y="687144"/>
                        <a:pt x="523551" y="691463"/>
                        <a:pt x="527488" y="695400"/>
                      </a:cubicBezTo>
                      <a:cubicBezTo>
                        <a:pt x="531426" y="700100"/>
                        <a:pt x="535363" y="704799"/>
                        <a:pt x="539300" y="709626"/>
                      </a:cubicBezTo>
                      <a:cubicBezTo>
                        <a:pt x="550351" y="722200"/>
                        <a:pt x="555812" y="736807"/>
                        <a:pt x="555812" y="753318"/>
                      </a:cubicBezTo>
                      <a:cubicBezTo>
                        <a:pt x="555812" y="774530"/>
                        <a:pt x="547937" y="791549"/>
                        <a:pt x="532188" y="804124"/>
                      </a:cubicBezTo>
                      <a:lnTo>
                        <a:pt x="510976" y="821779"/>
                      </a:lnTo>
                      <a:cubicBezTo>
                        <a:pt x="499926" y="830416"/>
                        <a:pt x="487733" y="834734"/>
                        <a:pt x="474396" y="834734"/>
                      </a:cubicBezTo>
                      <a:lnTo>
                        <a:pt x="468554" y="834734"/>
                      </a:lnTo>
                      <a:cubicBezTo>
                        <a:pt x="452804" y="833210"/>
                        <a:pt x="440230" y="826478"/>
                        <a:pt x="430831" y="814666"/>
                      </a:cubicBezTo>
                      <a:cubicBezTo>
                        <a:pt x="427655" y="810728"/>
                        <a:pt x="424480" y="810728"/>
                        <a:pt x="421432" y="814666"/>
                      </a:cubicBezTo>
                      <a:cubicBezTo>
                        <a:pt x="380533" y="857216"/>
                        <a:pt x="342302" y="888207"/>
                        <a:pt x="306865" y="907894"/>
                      </a:cubicBezTo>
                      <a:cubicBezTo>
                        <a:pt x="271428" y="927581"/>
                        <a:pt x="232562" y="937361"/>
                        <a:pt x="190013" y="937361"/>
                      </a:cubicBezTo>
                      <a:cubicBezTo>
                        <a:pt x="138064" y="937361"/>
                        <a:pt x="93355" y="915896"/>
                        <a:pt x="56013" y="872965"/>
                      </a:cubicBezTo>
                      <a:cubicBezTo>
                        <a:pt x="18671" y="830035"/>
                        <a:pt x="0" y="771608"/>
                        <a:pt x="0" y="697686"/>
                      </a:cubicBezTo>
                      <a:cubicBezTo>
                        <a:pt x="0" y="630750"/>
                        <a:pt x="15115" y="563941"/>
                        <a:pt x="45471" y="497005"/>
                      </a:cubicBezTo>
                      <a:cubicBezTo>
                        <a:pt x="75700" y="430195"/>
                        <a:pt x="117234" y="372658"/>
                        <a:pt x="169944" y="324647"/>
                      </a:cubicBezTo>
                      <a:cubicBezTo>
                        <a:pt x="173882" y="320710"/>
                        <a:pt x="175025" y="316010"/>
                        <a:pt x="173501" y="310421"/>
                      </a:cubicBezTo>
                      <a:cubicBezTo>
                        <a:pt x="161689" y="277398"/>
                        <a:pt x="152290" y="247804"/>
                        <a:pt x="145177" y="221893"/>
                      </a:cubicBezTo>
                      <a:cubicBezTo>
                        <a:pt x="138064" y="200682"/>
                        <a:pt x="130951" y="180613"/>
                        <a:pt x="123966" y="161688"/>
                      </a:cubicBezTo>
                      <a:cubicBezTo>
                        <a:pt x="120790" y="153813"/>
                        <a:pt x="119266" y="145939"/>
                        <a:pt x="119266" y="138064"/>
                      </a:cubicBezTo>
                      <a:cubicBezTo>
                        <a:pt x="119266" y="128665"/>
                        <a:pt x="121171" y="119520"/>
                        <a:pt x="125109" y="110883"/>
                      </a:cubicBezTo>
                      <a:cubicBezTo>
                        <a:pt x="132983" y="93609"/>
                        <a:pt x="145558" y="82559"/>
                        <a:pt x="162832" y="77859"/>
                      </a:cubicBezTo>
                      <a:lnTo>
                        <a:pt x="186456" y="69603"/>
                      </a:lnTo>
                      <a:cubicBezTo>
                        <a:pt x="193569" y="68079"/>
                        <a:pt x="199793" y="67190"/>
                        <a:pt x="205381" y="67190"/>
                      </a:cubicBezTo>
                      <a:cubicBezTo>
                        <a:pt x="216432" y="67190"/>
                        <a:pt x="226974" y="70366"/>
                        <a:pt x="237262" y="76589"/>
                      </a:cubicBezTo>
                      <a:cubicBezTo>
                        <a:pt x="253774" y="85988"/>
                        <a:pt x="264062" y="99833"/>
                        <a:pt x="267999" y="117869"/>
                      </a:cubicBezTo>
                      <a:cubicBezTo>
                        <a:pt x="271936" y="132856"/>
                        <a:pt x="275874" y="147844"/>
                        <a:pt x="279811" y="162705"/>
                      </a:cubicBezTo>
                      <a:cubicBezTo>
                        <a:pt x="286162" y="186329"/>
                        <a:pt x="292386" y="208302"/>
                        <a:pt x="298736" y="228879"/>
                      </a:cubicBezTo>
                      <a:cubicBezTo>
                        <a:pt x="301150" y="234340"/>
                        <a:pt x="304579" y="235610"/>
                        <a:pt x="309405" y="232435"/>
                      </a:cubicBezTo>
                      <a:cubicBezTo>
                        <a:pt x="388916" y="193061"/>
                        <a:pt x="473888" y="171087"/>
                        <a:pt x="564322" y="166388"/>
                      </a:cubicBezTo>
                      <a:cubicBezTo>
                        <a:pt x="569784" y="165626"/>
                        <a:pt x="573340" y="162450"/>
                        <a:pt x="574991" y="156989"/>
                      </a:cubicBezTo>
                      <a:cubicBezTo>
                        <a:pt x="576516" y="150638"/>
                        <a:pt x="579691" y="134126"/>
                        <a:pt x="584390" y="107454"/>
                      </a:cubicBezTo>
                      <a:cubicBezTo>
                        <a:pt x="586804" y="94879"/>
                        <a:pt x="588709" y="80273"/>
                        <a:pt x="590233" y="63761"/>
                      </a:cubicBezTo>
                      <a:cubicBezTo>
                        <a:pt x="591757" y="44836"/>
                        <a:pt x="599632" y="29086"/>
                        <a:pt x="613857" y="16512"/>
                      </a:cubicBezTo>
                      <a:cubicBezTo>
                        <a:pt x="626432" y="5461"/>
                        <a:pt x="640657" y="0"/>
                        <a:pt x="656407" y="0"/>
                      </a:cubicBezTo>
                      <a:cubicBezTo>
                        <a:pt x="657931" y="0"/>
                        <a:pt x="659964" y="381"/>
                        <a:pt x="662250" y="1143"/>
                      </a:cubicBezTo>
                      <a:lnTo>
                        <a:pt x="689431" y="3556"/>
                      </a:lnTo>
                      <a:cubicBezTo>
                        <a:pt x="707467" y="5080"/>
                        <a:pt x="721692" y="13463"/>
                        <a:pt x="731980" y="28324"/>
                      </a:cubicBezTo>
                      <a:cubicBezTo>
                        <a:pt x="739855" y="39374"/>
                        <a:pt x="743792" y="51187"/>
                        <a:pt x="743792" y="63761"/>
                      </a:cubicBezTo>
                      <a:cubicBezTo>
                        <a:pt x="743792" y="67698"/>
                        <a:pt x="743411" y="72398"/>
                        <a:pt x="742649" y="77986"/>
                      </a:cubicBezTo>
                      <a:cubicBezTo>
                        <a:pt x="736299" y="107072"/>
                        <a:pt x="732361" y="124854"/>
                        <a:pt x="730837" y="131078"/>
                      </a:cubicBezTo>
                      <a:close/>
                      <a:moveTo>
                        <a:pt x="208811" y="781515"/>
                      </a:moveTo>
                      <a:cubicBezTo>
                        <a:pt x="245772" y="781515"/>
                        <a:pt x="287432" y="753572"/>
                        <a:pt x="333919" y="697686"/>
                      </a:cubicBezTo>
                      <a:cubicBezTo>
                        <a:pt x="337095" y="692987"/>
                        <a:pt x="337095" y="687906"/>
                        <a:pt x="333919" y="682318"/>
                      </a:cubicBezTo>
                      <a:cubicBezTo>
                        <a:pt x="299245" y="627194"/>
                        <a:pt x="265078" y="556066"/>
                        <a:pt x="231165" y="468681"/>
                      </a:cubicBezTo>
                      <a:cubicBezTo>
                        <a:pt x="230403" y="467156"/>
                        <a:pt x="229006" y="466140"/>
                        <a:pt x="226974" y="465759"/>
                      </a:cubicBezTo>
                      <a:cubicBezTo>
                        <a:pt x="224941" y="465378"/>
                        <a:pt x="223290" y="466013"/>
                        <a:pt x="221639" y="467537"/>
                      </a:cubicBezTo>
                      <a:cubicBezTo>
                        <a:pt x="196490" y="499799"/>
                        <a:pt x="176549" y="535236"/>
                        <a:pt x="162070" y="573721"/>
                      </a:cubicBezTo>
                      <a:cubicBezTo>
                        <a:pt x="147463" y="612333"/>
                        <a:pt x="140223" y="649675"/>
                        <a:pt x="140223" y="685874"/>
                      </a:cubicBezTo>
                      <a:cubicBezTo>
                        <a:pt x="140223" y="714960"/>
                        <a:pt x="146320" y="738204"/>
                        <a:pt x="158513" y="755478"/>
                      </a:cubicBezTo>
                      <a:cubicBezTo>
                        <a:pt x="170706" y="772751"/>
                        <a:pt x="187472" y="781388"/>
                        <a:pt x="208684" y="781388"/>
                      </a:cubicBezTo>
                      <a:close/>
                      <a:moveTo>
                        <a:pt x="533458" y="309405"/>
                      </a:moveTo>
                      <a:cubicBezTo>
                        <a:pt x="534220" y="307881"/>
                        <a:pt x="533839" y="306230"/>
                        <a:pt x="532315" y="304706"/>
                      </a:cubicBezTo>
                      <a:cubicBezTo>
                        <a:pt x="530790" y="303182"/>
                        <a:pt x="529139" y="302293"/>
                        <a:pt x="527615" y="302293"/>
                      </a:cubicBezTo>
                      <a:cubicBezTo>
                        <a:pt x="466267" y="310930"/>
                        <a:pt x="407968" y="331379"/>
                        <a:pt x="352971" y="363640"/>
                      </a:cubicBezTo>
                      <a:cubicBezTo>
                        <a:pt x="347510" y="366053"/>
                        <a:pt x="345859" y="369991"/>
                        <a:pt x="348272" y="375453"/>
                      </a:cubicBezTo>
                      <a:cubicBezTo>
                        <a:pt x="374183" y="447088"/>
                        <a:pt x="399839" y="505261"/>
                        <a:pt x="424988" y="550096"/>
                      </a:cubicBezTo>
                      <a:cubicBezTo>
                        <a:pt x="426512" y="551621"/>
                        <a:pt x="428290" y="552510"/>
                        <a:pt x="430323" y="552510"/>
                      </a:cubicBezTo>
                      <a:cubicBezTo>
                        <a:pt x="432355" y="552510"/>
                        <a:pt x="433625" y="551366"/>
                        <a:pt x="434514" y="548953"/>
                      </a:cubicBezTo>
                      <a:cubicBezTo>
                        <a:pt x="470713" y="482017"/>
                        <a:pt x="503736" y="402252"/>
                        <a:pt x="533712" y="309278"/>
                      </a:cubicBezTo>
                      <a:close/>
                    </a:path>
                  </a:pathLst>
                </a:custGeom>
                <a:solidFill>
                  <a:schemeClr val="bg1"/>
                </a:solidFill>
                <a:ln w="0" cap="flat">
                  <a:noFill/>
                  <a:prstDash val="solid"/>
                  <a:miter/>
                </a:ln>
              </p:spPr>
              <p:txBody>
                <a:bodyPr rtlCol="0" anchor="ctr"/>
                <a:lstStyle/>
                <a:p>
                  <a:endParaRPr lang="ja-JP" altLang="en-US" dirty="0"/>
                </a:p>
              </p:txBody>
            </p:sp>
            <p:sp>
              <p:nvSpPr>
                <p:cNvPr id="98" name="フリーフォーム: 図形 97">
                  <a:extLst>
                    <a:ext uri="{FF2B5EF4-FFF2-40B4-BE49-F238E27FC236}">
                      <a16:creationId xmlns:a16="http://schemas.microsoft.com/office/drawing/2014/main" id="{11CD4C30-445B-B78D-F0B9-881B0F337A12}"/>
                    </a:ext>
                  </a:extLst>
                </p:cNvPr>
                <p:cNvSpPr/>
                <p:nvPr/>
              </p:nvSpPr>
              <p:spPr>
                <a:xfrm>
                  <a:off x="5218180" y="5422170"/>
                  <a:ext cx="1034144" cy="934057"/>
                </a:xfrm>
                <a:custGeom>
                  <a:avLst/>
                  <a:gdLst>
                    <a:gd name="connsiteX0" fmla="*/ 645357 w 1034145"/>
                    <a:gd name="connsiteY0" fmla="*/ 931646 h 934058"/>
                    <a:gd name="connsiteX1" fmla="*/ 624145 w 1034145"/>
                    <a:gd name="connsiteY1" fmla="*/ 934059 h 934058"/>
                    <a:gd name="connsiteX2" fmla="*/ 586422 w 1034145"/>
                    <a:gd name="connsiteY2" fmla="*/ 925803 h 934058"/>
                    <a:gd name="connsiteX3" fmla="*/ 540443 w 1034145"/>
                    <a:gd name="connsiteY3" fmla="*/ 885667 h 934058"/>
                    <a:gd name="connsiteX4" fmla="*/ 525075 w 1034145"/>
                    <a:gd name="connsiteY4" fmla="*/ 862042 h 934058"/>
                    <a:gd name="connsiteX5" fmla="*/ 517962 w 1034145"/>
                    <a:gd name="connsiteY5" fmla="*/ 838418 h 934058"/>
                    <a:gd name="connsiteX6" fmla="*/ 521518 w 1034145"/>
                    <a:gd name="connsiteY6" fmla="*/ 819493 h 934058"/>
                    <a:gd name="connsiteX7" fmla="*/ 556955 w 1034145"/>
                    <a:gd name="connsiteY7" fmla="*/ 792312 h 934058"/>
                    <a:gd name="connsiteX8" fmla="*/ 599505 w 1034145"/>
                    <a:gd name="connsiteY8" fmla="*/ 784056 h 934058"/>
                    <a:gd name="connsiteX9" fmla="*/ 795487 w 1034145"/>
                    <a:gd name="connsiteY9" fmla="*/ 672538 h 934058"/>
                    <a:gd name="connsiteX10" fmla="*/ 871060 w 1034145"/>
                    <a:gd name="connsiteY10" fmla="*/ 462965 h 934058"/>
                    <a:gd name="connsiteX11" fmla="*/ 807934 w 1034145"/>
                    <a:gd name="connsiteY11" fmla="*/ 255806 h 934058"/>
                    <a:gd name="connsiteX12" fmla="*/ 629099 w 1034145"/>
                    <a:gd name="connsiteY12" fmla="*/ 148987 h 934058"/>
                    <a:gd name="connsiteX13" fmla="*/ 619700 w 1034145"/>
                    <a:gd name="connsiteY13" fmla="*/ 154830 h 934058"/>
                    <a:gd name="connsiteX14" fmla="*/ 550096 w 1034145"/>
                    <a:gd name="connsiteY14" fmla="*/ 472364 h 934058"/>
                    <a:gd name="connsiteX15" fmla="*/ 417240 w 1034145"/>
                    <a:gd name="connsiteY15" fmla="*/ 759161 h 934058"/>
                    <a:gd name="connsiteX16" fmla="*/ 243104 w 1034145"/>
                    <a:gd name="connsiteY16" fmla="*/ 860645 h 934058"/>
                    <a:gd name="connsiteX17" fmla="*/ 71382 w 1034145"/>
                    <a:gd name="connsiteY17" fmla="*/ 761447 h 934058"/>
                    <a:gd name="connsiteX18" fmla="*/ 0 w 1034145"/>
                    <a:gd name="connsiteY18" fmla="*/ 512373 h 934058"/>
                    <a:gd name="connsiteX19" fmla="*/ 42550 w 1034145"/>
                    <a:gd name="connsiteY19" fmla="*/ 316391 h 934058"/>
                    <a:gd name="connsiteX20" fmla="*/ 158259 w 1034145"/>
                    <a:gd name="connsiteY20" fmla="*/ 152924 h 934058"/>
                    <a:gd name="connsiteX21" fmla="*/ 334173 w 1034145"/>
                    <a:gd name="connsiteY21" fmla="*/ 41915 h 934058"/>
                    <a:gd name="connsiteX22" fmla="*/ 551367 w 1034145"/>
                    <a:gd name="connsiteY22" fmla="*/ 0 h 934058"/>
                    <a:gd name="connsiteX23" fmla="*/ 806283 w 1034145"/>
                    <a:gd name="connsiteY23" fmla="*/ 62618 h 934058"/>
                    <a:gd name="connsiteX24" fmla="*/ 975720 w 1034145"/>
                    <a:gd name="connsiteY24" fmla="*/ 231419 h 934058"/>
                    <a:gd name="connsiteX25" fmla="*/ 1034146 w 1034145"/>
                    <a:gd name="connsiteY25" fmla="*/ 468681 h 934058"/>
                    <a:gd name="connsiteX26" fmla="*/ 934948 w 1034145"/>
                    <a:gd name="connsiteY26" fmla="*/ 765004 h 934058"/>
                    <a:gd name="connsiteX27" fmla="*/ 645738 w 1034145"/>
                    <a:gd name="connsiteY27" fmla="*/ 931392 h 934058"/>
                    <a:gd name="connsiteX28" fmla="*/ 248693 w 1034145"/>
                    <a:gd name="connsiteY28" fmla="*/ 677872 h 934058"/>
                    <a:gd name="connsiteX29" fmla="*/ 393870 w 1034145"/>
                    <a:gd name="connsiteY29" fmla="*/ 440611 h 934058"/>
                    <a:gd name="connsiteX30" fmla="*/ 457630 w 1034145"/>
                    <a:gd name="connsiteY30" fmla="*/ 159656 h 934058"/>
                    <a:gd name="connsiteX31" fmla="*/ 455217 w 1034145"/>
                    <a:gd name="connsiteY31" fmla="*/ 153814 h 934058"/>
                    <a:gd name="connsiteX32" fmla="*/ 449375 w 1034145"/>
                    <a:gd name="connsiteY32" fmla="*/ 152671 h 934058"/>
                    <a:gd name="connsiteX33" fmla="*/ 323123 w 1034145"/>
                    <a:gd name="connsiteY33" fmla="*/ 206397 h 934058"/>
                    <a:gd name="connsiteX34" fmla="*/ 229895 w 1034145"/>
                    <a:gd name="connsiteY34" fmla="*/ 293148 h 934058"/>
                    <a:gd name="connsiteX35" fmla="*/ 175025 w 1034145"/>
                    <a:gd name="connsiteY35" fmla="*/ 394632 h 934058"/>
                    <a:gd name="connsiteX36" fmla="*/ 155592 w 1034145"/>
                    <a:gd name="connsiteY36" fmla="*/ 497386 h 934058"/>
                    <a:gd name="connsiteX37" fmla="*/ 183281 w 1034145"/>
                    <a:gd name="connsiteY37" fmla="*/ 630242 h 934058"/>
                    <a:gd name="connsiteX38" fmla="*/ 248820 w 1034145"/>
                    <a:gd name="connsiteY38" fmla="*/ 677999 h 93405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34145" h="934058">
                      <a:moveTo>
                        <a:pt x="645357" y="931646"/>
                      </a:moveTo>
                      <a:cubicBezTo>
                        <a:pt x="638244" y="933170"/>
                        <a:pt x="631131" y="934059"/>
                        <a:pt x="624145" y="934059"/>
                      </a:cubicBezTo>
                      <a:cubicBezTo>
                        <a:pt x="610809" y="934059"/>
                        <a:pt x="598235" y="931265"/>
                        <a:pt x="586422" y="925803"/>
                      </a:cubicBezTo>
                      <a:cubicBezTo>
                        <a:pt x="566735" y="917166"/>
                        <a:pt x="551367" y="903703"/>
                        <a:pt x="540443" y="885667"/>
                      </a:cubicBezTo>
                      <a:lnTo>
                        <a:pt x="525075" y="862042"/>
                      </a:lnTo>
                      <a:cubicBezTo>
                        <a:pt x="520375" y="854167"/>
                        <a:pt x="517962" y="846293"/>
                        <a:pt x="517962" y="838418"/>
                      </a:cubicBezTo>
                      <a:cubicBezTo>
                        <a:pt x="517962" y="832067"/>
                        <a:pt x="519105" y="825843"/>
                        <a:pt x="521518" y="819493"/>
                      </a:cubicBezTo>
                      <a:cubicBezTo>
                        <a:pt x="528631" y="804505"/>
                        <a:pt x="540443" y="795487"/>
                        <a:pt x="556955" y="792312"/>
                      </a:cubicBezTo>
                      <a:cubicBezTo>
                        <a:pt x="571181" y="789898"/>
                        <a:pt x="585279" y="787231"/>
                        <a:pt x="599505" y="784056"/>
                      </a:cubicBezTo>
                      <a:cubicBezTo>
                        <a:pt x="679777" y="765131"/>
                        <a:pt x="745063" y="728043"/>
                        <a:pt x="795487" y="672538"/>
                      </a:cubicBezTo>
                      <a:cubicBezTo>
                        <a:pt x="845784" y="617033"/>
                        <a:pt x="871060" y="547175"/>
                        <a:pt x="871060" y="462965"/>
                      </a:cubicBezTo>
                      <a:cubicBezTo>
                        <a:pt x="871060" y="378755"/>
                        <a:pt x="849976" y="312073"/>
                        <a:pt x="807934" y="255806"/>
                      </a:cubicBezTo>
                      <a:cubicBezTo>
                        <a:pt x="765893" y="199538"/>
                        <a:pt x="706196" y="163975"/>
                        <a:pt x="629099" y="148987"/>
                      </a:cubicBezTo>
                      <a:cubicBezTo>
                        <a:pt x="623637" y="147463"/>
                        <a:pt x="620462" y="149368"/>
                        <a:pt x="619700" y="154830"/>
                      </a:cubicBezTo>
                      <a:cubicBezTo>
                        <a:pt x="598489" y="282351"/>
                        <a:pt x="575245" y="388154"/>
                        <a:pt x="550096" y="472364"/>
                      </a:cubicBezTo>
                      <a:cubicBezTo>
                        <a:pt x="513135" y="595948"/>
                        <a:pt x="468808" y="691590"/>
                        <a:pt x="417240" y="759161"/>
                      </a:cubicBezTo>
                      <a:cubicBezTo>
                        <a:pt x="365673" y="826859"/>
                        <a:pt x="307627" y="860645"/>
                        <a:pt x="243104" y="860645"/>
                      </a:cubicBezTo>
                      <a:cubicBezTo>
                        <a:pt x="178581" y="860645"/>
                        <a:pt x="119012" y="827621"/>
                        <a:pt x="71382" y="761447"/>
                      </a:cubicBezTo>
                      <a:cubicBezTo>
                        <a:pt x="23752" y="695400"/>
                        <a:pt x="0" y="612333"/>
                        <a:pt x="0" y="512373"/>
                      </a:cubicBezTo>
                      <a:cubicBezTo>
                        <a:pt x="0" y="444675"/>
                        <a:pt x="14225" y="379390"/>
                        <a:pt x="42550" y="316391"/>
                      </a:cubicBezTo>
                      <a:cubicBezTo>
                        <a:pt x="70873" y="253392"/>
                        <a:pt x="109486" y="198904"/>
                        <a:pt x="158259" y="152924"/>
                      </a:cubicBezTo>
                      <a:cubicBezTo>
                        <a:pt x="207032" y="106946"/>
                        <a:pt x="265713" y="69858"/>
                        <a:pt x="334173" y="41915"/>
                      </a:cubicBezTo>
                      <a:cubicBezTo>
                        <a:pt x="402634" y="13971"/>
                        <a:pt x="475031" y="0"/>
                        <a:pt x="551367" y="0"/>
                      </a:cubicBezTo>
                      <a:cubicBezTo>
                        <a:pt x="647389" y="0"/>
                        <a:pt x="732361" y="20830"/>
                        <a:pt x="806283" y="62618"/>
                      </a:cubicBezTo>
                      <a:cubicBezTo>
                        <a:pt x="880205" y="104278"/>
                        <a:pt x="936726" y="160545"/>
                        <a:pt x="975720" y="231419"/>
                      </a:cubicBezTo>
                      <a:cubicBezTo>
                        <a:pt x="1014712" y="302293"/>
                        <a:pt x="1034146" y="381295"/>
                        <a:pt x="1034146" y="468681"/>
                      </a:cubicBezTo>
                      <a:cubicBezTo>
                        <a:pt x="1034146" y="585914"/>
                        <a:pt x="1001122" y="684731"/>
                        <a:pt x="934948" y="765004"/>
                      </a:cubicBezTo>
                      <a:cubicBezTo>
                        <a:pt x="868901" y="845276"/>
                        <a:pt x="772498" y="900781"/>
                        <a:pt x="645738" y="931392"/>
                      </a:cubicBezTo>
                      <a:close/>
                      <a:moveTo>
                        <a:pt x="248693" y="677872"/>
                      </a:moveTo>
                      <a:cubicBezTo>
                        <a:pt x="298990" y="677872"/>
                        <a:pt x="347383" y="598743"/>
                        <a:pt x="393870" y="440611"/>
                      </a:cubicBezTo>
                      <a:cubicBezTo>
                        <a:pt x="420669" y="357925"/>
                        <a:pt x="441881" y="264316"/>
                        <a:pt x="457630" y="159656"/>
                      </a:cubicBezTo>
                      <a:cubicBezTo>
                        <a:pt x="457630" y="157243"/>
                        <a:pt x="456868" y="155338"/>
                        <a:pt x="455217" y="153814"/>
                      </a:cubicBezTo>
                      <a:cubicBezTo>
                        <a:pt x="453693" y="152289"/>
                        <a:pt x="451661" y="151908"/>
                        <a:pt x="449375" y="152671"/>
                      </a:cubicBezTo>
                      <a:cubicBezTo>
                        <a:pt x="403777" y="162959"/>
                        <a:pt x="361608" y="180867"/>
                        <a:pt x="323123" y="206397"/>
                      </a:cubicBezTo>
                      <a:cubicBezTo>
                        <a:pt x="284511" y="231927"/>
                        <a:pt x="253519" y="260886"/>
                        <a:pt x="229895" y="293148"/>
                      </a:cubicBezTo>
                      <a:cubicBezTo>
                        <a:pt x="206270" y="325409"/>
                        <a:pt x="187980" y="359195"/>
                        <a:pt x="175025" y="394632"/>
                      </a:cubicBezTo>
                      <a:cubicBezTo>
                        <a:pt x="162070" y="430068"/>
                        <a:pt x="155592" y="464235"/>
                        <a:pt x="155592" y="497386"/>
                      </a:cubicBezTo>
                      <a:cubicBezTo>
                        <a:pt x="155592" y="554034"/>
                        <a:pt x="164864" y="598362"/>
                        <a:pt x="183281" y="630242"/>
                      </a:cubicBezTo>
                      <a:cubicBezTo>
                        <a:pt x="201825" y="662123"/>
                        <a:pt x="223544" y="677999"/>
                        <a:pt x="248820" y="677999"/>
                      </a:cubicBezTo>
                      <a:close/>
                    </a:path>
                  </a:pathLst>
                </a:custGeom>
                <a:solidFill>
                  <a:schemeClr val="bg1"/>
                </a:solidFill>
                <a:ln w="0" cap="flat">
                  <a:noFill/>
                  <a:prstDash val="solid"/>
                  <a:miter/>
                </a:ln>
              </p:spPr>
              <p:txBody>
                <a:bodyPr rtlCol="0" anchor="ctr"/>
                <a:lstStyle/>
                <a:p>
                  <a:endParaRPr lang="ja-JP" altLang="en-US"/>
                </a:p>
              </p:txBody>
            </p:sp>
            <p:sp>
              <p:nvSpPr>
                <p:cNvPr id="99" name="フリーフォーム: 図形 98">
                  <a:extLst>
                    <a:ext uri="{FF2B5EF4-FFF2-40B4-BE49-F238E27FC236}">
                      <a16:creationId xmlns:a16="http://schemas.microsoft.com/office/drawing/2014/main" id="{E6E38A14-F2F9-3EA9-0298-2746C5ABB1F0}"/>
                    </a:ext>
                  </a:extLst>
                </p:cNvPr>
                <p:cNvSpPr/>
                <p:nvPr/>
              </p:nvSpPr>
              <p:spPr>
                <a:xfrm>
                  <a:off x="6569891" y="5741101"/>
                  <a:ext cx="1112131" cy="155973"/>
                </a:xfrm>
                <a:custGeom>
                  <a:avLst/>
                  <a:gdLst>
                    <a:gd name="connsiteX0" fmla="*/ 0 w 1112132"/>
                    <a:gd name="connsiteY0" fmla="*/ 69730 h 155972"/>
                    <a:gd name="connsiteX1" fmla="*/ 20703 w 1112132"/>
                    <a:gd name="connsiteY1" fmla="*/ 20703 h 155972"/>
                    <a:gd name="connsiteX2" fmla="*/ 69730 w 1112132"/>
                    <a:gd name="connsiteY2" fmla="*/ 0 h 155972"/>
                    <a:gd name="connsiteX3" fmla="*/ 1042402 w 1112132"/>
                    <a:gd name="connsiteY3" fmla="*/ 0 h 155972"/>
                    <a:gd name="connsiteX4" fmla="*/ 1091429 w 1112132"/>
                    <a:gd name="connsiteY4" fmla="*/ 20703 h 155972"/>
                    <a:gd name="connsiteX5" fmla="*/ 1112132 w 1112132"/>
                    <a:gd name="connsiteY5" fmla="*/ 69730 h 155972"/>
                    <a:gd name="connsiteX6" fmla="*/ 1112132 w 1112132"/>
                    <a:gd name="connsiteY6" fmla="*/ 86242 h 155972"/>
                    <a:gd name="connsiteX7" fmla="*/ 1091429 w 1112132"/>
                    <a:gd name="connsiteY7" fmla="*/ 135270 h 155972"/>
                    <a:gd name="connsiteX8" fmla="*/ 1042402 w 1112132"/>
                    <a:gd name="connsiteY8" fmla="*/ 155973 h 155972"/>
                    <a:gd name="connsiteX9" fmla="*/ 69730 w 1112132"/>
                    <a:gd name="connsiteY9" fmla="*/ 155973 h 155972"/>
                    <a:gd name="connsiteX10" fmla="*/ 20703 w 1112132"/>
                    <a:gd name="connsiteY10" fmla="*/ 135270 h 155972"/>
                    <a:gd name="connsiteX11" fmla="*/ 0 w 1112132"/>
                    <a:gd name="connsiteY11" fmla="*/ 86242 h 155972"/>
                    <a:gd name="connsiteX12" fmla="*/ 0 w 1112132"/>
                    <a:gd name="connsiteY12" fmla="*/ 69730 h 15597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112132" h="155972">
                      <a:moveTo>
                        <a:pt x="0" y="69730"/>
                      </a:moveTo>
                      <a:cubicBezTo>
                        <a:pt x="0" y="50805"/>
                        <a:pt x="6859" y="34548"/>
                        <a:pt x="20703" y="20703"/>
                      </a:cubicBezTo>
                      <a:cubicBezTo>
                        <a:pt x="34548" y="6859"/>
                        <a:pt x="50805" y="0"/>
                        <a:pt x="69730" y="0"/>
                      </a:cubicBezTo>
                      <a:lnTo>
                        <a:pt x="1042402" y="0"/>
                      </a:lnTo>
                      <a:cubicBezTo>
                        <a:pt x="1061327" y="0"/>
                        <a:pt x="1077584" y="6859"/>
                        <a:pt x="1091429" y="20703"/>
                      </a:cubicBezTo>
                      <a:cubicBezTo>
                        <a:pt x="1105147" y="34421"/>
                        <a:pt x="1112132" y="50805"/>
                        <a:pt x="1112132" y="69730"/>
                      </a:cubicBezTo>
                      <a:lnTo>
                        <a:pt x="1112132" y="86242"/>
                      </a:lnTo>
                      <a:cubicBezTo>
                        <a:pt x="1112132" y="105167"/>
                        <a:pt x="1105273" y="121425"/>
                        <a:pt x="1091429" y="135270"/>
                      </a:cubicBezTo>
                      <a:cubicBezTo>
                        <a:pt x="1077712" y="148987"/>
                        <a:pt x="1061327" y="155973"/>
                        <a:pt x="1042402" y="155973"/>
                      </a:cubicBezTo>
                      <a:lnTo>
                        <a:pt x="69730" y="155973"/>
                      </a:lnTo>
                      <a:cubicBezTo>
                        <a:pt x="50805" y="155973"/>
                        <a:pt x="34548" y="149114"/>
                        <a:pt x="20703" y="135270"/>
                      </a:cubicBezTo>
                      <a:cubicBezTo>
                        <a:pt x="6986" y="121552"/>
                        <a:pt x="0" y="105167"/>
                        <a:pt x="0" y="86242"/>
                      </a:cubicBezTo>
                      <a:lnTo>
                        <a:pt x="0" y="69730"/>
                      </a:lnTo>
                      <a:close/>
                    </a:path>
                  </a:pathLst>
                </a:custGeom>
                <a:solidFill>
                  <a:schemeClr val="bg1"/>
                </a:solidFill>
                <a:ln w="0" cap="flat">
                  <a:noFill/>
                  <a:prstDash val="solid"/>
                  <a:miter/>
                </a:ln>
              </p:spPr>
              <p:txBody>
                <a:bodyPr rtlCol="0" anchor="ctr"/>
                <a:lstStyle/>
                <a:p>
                  <a:endParaRPr lang="ja-JP" altLang="en-US" dirty="0"/>
                </a:p>
              </p:txBody>
            </p:sp>
            <p:sp>
              <p:nvSpPr>
                <p:cNvPr id="100" name="フリーフォーム: 図形 99">
                  <a:extLst>
                    <a:ext uri="{FF2B5EF4-FFF2-40B4-BE49-F238E27FC236}">
                      <a16:creationId xmlns:a16="http://schemas.microsoft.com/office/drawing/2014/main" id="{3D99F9D1-6134-B35E-A842-7038D2722B4F}"/>
                    </a:ext>
                  </a:extLst>
                </p:cNvPr>
                <p:cNvSpPr/>
                <p:nvPr/>
              </p:nvSpPr>
              <p:spPr>
                <a:xfrm>
                  <a:off x="7995222" y="5295410"/>
                  <a:ext cx="1083680" cy="1128135"/>
                </a:xfrm>
                <a:custGeom>
                  <a:avLst/>
                  <a:gdLst>
                    <a:gd name="connsiteX0" fmla="*/ 473253 w 1083680"/>
                    <a:gd name="connsiteY0" fmla="*/ 710261 h 1128135"/>
                    <a:gd name="connsiteX1" fmla="*/ 473253 w 1083680"/>
                    <a:gd name="connsiteY1" fmla="*/ 497767 h 1128135"/>
                    <a:gd name="connsiteX2" fmla="*/ 463854 w 1083680"/>
                    <a:gd name="connsiteY2" fmla="*/ 488368 h 1128135"/>
                    <a:gd name="connsiteX3" fmla="*/ 68460 w 1083680"/>
                    <a:gd name="connsiteY3" fmla="*/ 488368 h 1128135"/>
                    <a:gd name="connsiteX4" fmla="*/ 20068 w 1083680"/>
                    <a:gd name="connsiteY4" fmla="*/ 468935 h 1128135"/>
                    <a:gd name="connsiteX5" fmla="*/ 0 w 1083680"/>
                    <a:gd name="connsiteY5" fmla="*/ 421177 h 1128135"/>
                    <a:gd name="connsiteX6" fmla="*/ 20068 w 1083680"/>
                    <a:gd name="connsiteY6" fmla="*/ 373420 h 1128135"/>
                    <a:gd name="connsiteX7" fmla="*/ 68460 w 1083680"/>
                    <a:gd name="connsiteY7" fmla="*/ 353987 h 1128135"/>
                    <a:gd name="connsiteX8" fmla="*/ 153432 w 1083680"/>
                    <a:gd name="connsiteY8" fmla="*/ 353987 h 1128135"/>
                    <a:gd name="connsiteX9" fmla="*/ 161688 w 1083680"/>
                    <a:gd name="connsiteY9" fmla="*/ 344588 h 1128135"/>
                    <a:gd name="connsiteX10" fmla="*/ 161688 w 1083680"/>
                    <a:gd name="connsiteY10" fmla="*/ 149876 h 1128135"/>
                    <a:gd name="connsiteX11" fmla="*/ 182392 w 1083680"/>
                    <a:gd name="connsiteY11" fmla="*/ 100849 h 1128135"/>
                    <a:gd name="connsiteX12" fmla="*/ 231419 w 1083680"/>
                    <a:gd name="connsiteY12" fmla="*/ 80146 h 1128135"/>
                    <a:gd name="connsiteX13" fmla="*/ 238531 w 1083680"/>
                    <a:gd name="connsiteY13" fmla="*/ 80146 h 1128135"/>
                    <a:gd name="connsiteX14" fmla="*/ 288067 w 1083680"/>
                    <a:gd name="connsiteY14" fmla="*/ 100849 h 1128135"/>
                    <a:gd name="connsiteX15" fmla="*/ 308135 w 1083680"/>
                    <a:gd name="connsiteY15" fmla="*/ 149876 h 1128135"/>
                    <a:gd name="connsiteX16" fmla="*/ 308135 w 1083680"/>
                    <a:gd name="connsiteY16" fmla="*/ 344588 h 1128135"/>
                    <a:gd name="connsiteX17" fmla="*/ 317534 w 1083680"/>
                    <a:gd name="connsiteY17" fmla="*/ 353987 h 1128135"/>
                    <a:gd name="connsiteX18" fmla="*/ 462711 w 1083680"/>
                    <a:gd name="connsiteY18" fmla="*/ 353987 h 1128135"/>
                    <a:gd name="connsiteX19" fmla="*/ 472110 w 1083680"/>
                    <a:gd name="connsiteY19" fmla="*/ 344588 h 1128135"/>
                    <a:gd name="connsiteX20" fmla="*/ 472110 w 1083680"/>
                    <a:gd name="connsiteY20" fmla="*/ 69603 h 1128135"/>
                    <a:gd name="connsiteX21" fmla="*/ 492178 w 1083680"/>
                    <a:gd name="connsiteY21" fmla="*/ 20068 h 1128135"/>
                    <a:gd name="connsiteX22" fmla="*/ 541713 w 1083680"/>
                    <a:gd name="connsiteY22" fmla="*/ 0 h 1128135"/>
                    <a:gd name="connsiteX23" fmla="*/ 548826 w 1083680"/>
                    <a:gd name="connsiteY23" fmla="*/ 0 h 1128135"/>
                    <a:gd name="connsiteX24" fmla="*/ 597853 w 1083680"/>
                    <a:gd name="connsiteY24" fmla="*/ 20068 h 1128135"/>
                    <a:gd name="connsiteX25" fmla="*/ 618556 w 1083680"/>
                    <a:gd name="connsiteY25" fmla="*/ 69603 h 1128135"/>
                    <a:gd name="connsiteX26" fmla="*/ 618556 w 1083680"/>
                    <a:gd name="connsiteY26" fmla="*/ 103897 h 1128135"/>
                    <a:gd name="connsiteX27" fmla="*/ 626812 w 1083680"/>
                    <a:gd name="connsiteY27" fmla="*/ 113296 h 1128135"/>
                    <a:gd name="connsiteX28" fmla="*/ 901797 w 1083680"/>
                    <a:gd name="connsiteY28" fmla="*/ 113296 h 1128135"/>
                    <a:gd name="connsiteX29" fmla="*/ 947268 w 1083680"/>
                    <a:gd name="connsiteY29" fmla="*/ 132221 h 1128135"/>
                    <a:gd name="connsiteX30" fmla="*/ 965558 w 1083680"/>
                    <a:gd name="connsiteY30" fmla="*/ 177692 h 1128135"/>
                    <a:gd name="connsiteX31" fmla="*/ 947268 w 1083680"/>
                    <a:gd name="connsiteY31" fmla="*/ 222528 h 1128135"/>
                    <a:gd name="connsiteX32" fmla="*/ 901797 w 1083680"/>
                    <a:gd name="connsiteY32" fmla="*/ 240818 h 1128135"/>
                    <a:gd name="connsiteX33" fmla="*/ 626812 w 1083680"/>
                    <a:gd name="connsiteY33" fmla="*/ 240818 h 1128135"/>
                    <a:gd name="connsiteX34" fmla="*/ 618556 w 1083680"/>
                    <a:gd name="connsiteY34" fmla="*/ 250217 h 1128135"/>
                    <a:gd name="connsiteX35" fmla="*/ 618556 w 1083680"/>
                    <a:gd name="connsiteY35" fmla="*/ 344588 h 1128135"/>
                    <a:gd name="connsiteX36" fmla="*/ 626812 w 1083680"/>
                    <a:gd name="connsiteY36" fmla="*/ 353987 h 1128135"/>
                    <a:gd name="connsiteX37" fmla="*/ 1015221 w 1083680"/>
                    <a:gd name="connsiteY37" fmla="*/ 353987 h 1128135"/>
                    <a:gd name="connsiteX38" fmla="*/ 1063613 w 1083680"/>
                    <a:gd name="connsiteY38" fmla="*/ 373420 h 1128135"/>
                    <a:gd name="connsiteX39" fmla="*/ 1083680 w 1083680"/>
                    <a:gd name="connsiteY39" fmla="*/ 421177 h 1128135"/>
                    <a:gd name="connsiteX40" fmla="*/ 1063613 w 1083680"/>
                    <a:gd name="connsiteY40" fmla="*/ 468935 h 1128135"/>
                    <a:gd name="connsiteX41" fmla="*/ 1015221 w 1083680"/>
                    <a:gd name="connsiteY41" fmla="*/ 488368 h 1128135"/>
                    <a:gd name="connsiteX42" fmla="*/ 624526 w 1083680"/>
                    <a:gd name="connsiteY42" fmla="*/ 488368 h 1128135"/>
                    <a:gd name="connsiteX43" fmla="*/ 615127 w 1083680"/>
                    <a:gd name="connsiteY43" fmla="*/ 497767 h 1128135"/>
                    <a:gd name="connsiteX44" fmla="*/ 615127 w 1083680"/>
                    <a:gd name="connsiteY44" fmla="*/ 713817 h 1128135"/>
                    <a:gd name="connsiteX45" fmla="*/ 602172 w 1083680"/>
                    <a:gd name="connsiteY45" fmla="*/ 792311 h 1128135"/>
                    <a:gd name="connsiteX46" fmla="*/ 554923 w 1083680"/>
                    <a:gd name="connsiteY46" fmla="*/ 834226 h 1128135"/>
                    <a:gd name="connsiteX47" fmla="*/ 423845 w 1083680"/>
                    <a:gd name="connsiteY47" fmla="*/ 853151 h 1128135"/>
                    <a:gd name="connsiteX48" fmla="*/ 422701 w 1083680"/>
                    <a:gd name="connsiteY48" fmla="*/ 853151 h 1128135"/>
                    <a:gd name="connsiteX49" fmla="*/ 371896 w 1083680"/>
                    <a:gd name="connsiteY49" fmla="*/ 835496 h 1128135"/>
                    <a:gd name="connsiteX50" fmla="*/ 338873 w 1083680"/>
                    <a:gd name="connsiteY50" fmla="*/ 788247 h 1128135"/>
                    <a:gd name="connsiteX51" fmla="*/ 335316 w 1083680"/>
                    <a:gd name="connsiteY51" fmla="*/ 771735 h 1128135"/>
                    <a:gd name="connsiteX52" fmla="*/ 343572 w 1083680"/>
                    <a:gd name="connsiteY52" fmla="*/ 745824 h 1128135"/>
                    <a:gd name="connsiteX53" fmla="*/ 380152 w 1083680"/>
                    <a:gd name="connsiteY53" fmla="*/ 726900 h 1128135"/>
                    <a:gd name="connsiteX54" fmla="*/ 448612 w 1083680"/>
                    <a:gd name="connsiteY54" fmla="*/ 726900 h 1128135"/>
                    <a:gd name="connsiteX55" fmla="*/ 468045 w 1083680"/>
                    <a:gd name="connsiteY55" fmla="*/ 722200 h 1128135"/>
                    <a:gd name="connsiteX56" fmla="*/ 473380 w 1083680"/>
                    <a:gd name="connsiteY56" fmla="*/ 710388 h 1128135"/>
                    <a:gd name="connsiteX57" fmla="*/ 184043 w 1083680"/>
                    <a:gd name="connsiteY57" fmla="*/ 561528 h 1128135"/>
                    <a:gd name="connsiteX58" fmla="*/ 230022 w 1083680"/>
                    <a:gd name="connsiteY58" fmla="*/ 526091 h 1128135"/>
                    <a:gd name="connsiteX59" fmla="*/ 261902 w 1083680"/>
                    <a:gd name="connsiteY59" fmla="*/ 520248 h 1128135"/>
                    <a:gd name="connsiteX60" fmla="*/ 287813 w 1083680"/>
                    <a:gd name="connsiteY60" fmla="*/ 523804 h 1128135"/>
                    <a:gd name="connsiteX61" fmla="*/ 303182 w 1083680"/>
                    <a:gd name="connsiteY61" fmla="*/ 528504 h 1128135"/>
                    <a:gd name="connsiteX62" fmla="*/ 338618 w 1083680"/>
                    <a:gd name="connsiteY62" fmla="*/ 561528 h 1128135"/>
                    <a:gd name="connsiteX63" fmla="*/ 342175 w 1083680"/>
                    <a:gd name="connsiteY63" fmla="*/ 580453 h 1128135"/>
                    <a:gd name="connsiteX64" fmla="*/ 332775 w 1083680"/>
                    <a:gd name="connsiteY64" fmla="*/ 608777 h 1128135"/>
                    <a:gd name="connsiteX65" fmla="*/ 176930 w 1083680"/>
                    <a:gd name="connsiteY65" fmla="*/ 789390 h 1128135"/>
                    <a:gd name="connsiteX66" fmla="*/ 124981 w 1083680"/>
                    <a:gd name="connsiteY66" fmla="*/ 810601 h 1128135"/>
                    <a:gd name="connsiteX67" fmla="*/ 70746 w 1083680"/>
                    <a:gd name="connsiteY67" fmla="*/ 791676 h 1128135"/>
                    <a:gd name="connsiteX68" fmla="*/ 55378 w 1083680"/>
                    <a:gd name="connsiteY68" fmla="*/ 781007 h 1128135"/>
                    <a:gd name="connsiteX69" fmla="*/ 34167 w 1083680"/>
                    <a:gd name="connsiteY69" fmla="*/ 739728 h 1128135"/>
                    <a:gd name="connsiteX70" fmla="*/ 53092 w 1083680"/>
                    <a:gd name="connsiteY70" fmla="*/ 700735 h 1128135"/>
                    <a:gd name="connsiteX71" fmla="*/ 184170 w 1083680"/>
                    <a:gd name="connsiteY71" fmla="*/ 561401 h 1128135"/>
                    <a:gd name="connsiteX72" fmla="*/ 1051674 w 1083680"/>
                    <a:gd name="connsiteY72" fmla="*/ 698448 h 1128135"/>
                    <a:gd name="connsiteX73" fmla="*/ 1064628 w 1083680"/>
                    <a:gd name="connsiteY73" fmla="*/ 735028 h 1128135"/>
                    <a:gd name="connsiteX74" fmla="*/ 1063486 w 1083680"/>
                    <a:gd name="connsiteY74" fmla="*/ 749254 h 1128135"/>
                    <a:gd name="connsiteX75" fmla="*/ 1032749 w 1083680"/>
                    <a:gd name="connsiteY75" fmla="*/ 792947 h 1128135"/>
                    <a:gd name="connsiteX76" fmla="*/ 1023349 w 1083680"/>
                    <a:gd name="connsiteY76" fmla="*/ 798789 h 1128135"/>
                    <a:gd name="connsiteX77" fmla="*/ 987912 w 1083680"/>
                    <a:gd name="connsiteY77" fmla="*/ 809458 h 1128135"/>
                    <a:gd name="connsiteX78" fmla="*/ 971401 w 1083680"/>
                    <a:gd name="connsiteY78" fmla="*/ 808315 h 1128135"/>
                    <a:gd name="connsiteX79" fmla="*/ 927708 w 1083680"/>
                    <a:gd name="connsiteY79" fmla="*/ 778848 h 1128135"/>
                    <a:gd name="connsiteX80" fmla="*/ 899384 w 1083680"/>
                    <a:gd name="connsiteY80" fmla="*/ 742268 h 1128135"/>
                    <a:gd name="connsiteX81" fmla="*/ 889985 w 1083680"/>
                    <a:gd name="connsiteY81" fmla="*/ 743411 h 1128135"/>
                    <a:gd name="connsiteX82" fmla="*/ 649802 w 1083680"/>
                    <a:gd name="connsiteY82" fmla="*/ 1002519 h 1128135"/>
                    <a:gd name="connsiteX83" fmla="*/ 230149 w 1083680"/>
                    <a:gd name="connsiteY83" fmla="*/ 1126993 h 1128135"/>
                    <a:gd name="connsiteX84" fmla="*/ 218337 w 1083680"/>
                    <a:gd name="connsiteY84" fmla="*/ 1128136 h 1128135"/>
                    <a:gd name="connsiteX85" fmla="*/ 175787 w 1083680"/>
                    <a:gd name="connsiteY85" fmla="*/ 1115181 h 1128135"/>
                    <a:gd name="connsiteX86" fmla="*/ 136793 w 1083680"/>
                    <a:gd name="connsiteY86" fmla="*/ 1071488 h 1128135"/>
                    <a:gd name="connsiteX87" fmla="*/ 128538 w 1083680"/>
                    <a:gd name="connsiteY87" fmla="*/ 1054976 h 1128135"/>
                    <a:gd name="connsiteX88" fmla="*/ 123838 w 1083680"/>
                    <a:gd name="connsiteY88" fmla="*/ 1032494 h 1128135"/>
                    <a:gd name="connsiteX89" fmla="*/ 136793 w 1083680"/>
                    <a:gd name="connsiteY89" fmla="*/ 1003027 h 1128135"/>
                    <a:gd name="connsiteX90" fmla="*/ 161561 w 1083680"/>
                    <a:gd name="connsiteY90" fmla="*/ 990072 h 1128135"/>
                    <a:gd name="connsiteX91" fmla="*/ 512754 w 1083680"/>
                    <a:gd name="connsiteY91" fmla="*/ 910942 h 1128135"/>
                    <a:gd name="connsiteX92" fmla="*/ 721056 w 1083680"/>
                    <a:gd name="connsiteY92" fmla="*/ 735028 h 1128135"/>
                    <a:gd name="connsiteX93" fmla="*/ 764749 w 1083680"/>
                    <a:gd name="connsiteY93" fmla="*/ 697305 h 1128135"/>
                    <a:gd name="connsiteX94" fmla="*/ 797773 w 1083680"/>
                    <a:gd name="connsiteY94" fmla="*/ 689049 h 1128135"/>
                    <a:gd name="connsiteX95" fmla="*/ 820254 w 1083680"/>
                    <a:gd name="connsiteY95" fmla="*/ 692606 h 1128135"/>
                    <a:gd name="connsiteX96" fmla="*/ 860391 w 1083680"/>
                    <a:gd name="connsiteY96" fmla="*/ 704418 h 1128135"/>
                    <a:gd name="connsiteX97" fmla="*/ 863947 w 1083680"/>
                    <a:gd name="connsiteY97" fmla="*/ 702640 h 1128135"/>
                    <a:gd name="connsiteX98" fmla="*/ 862804 w 1083680"/>
                    <a:gd name="connsiteY98" fmla="*/ 699719 h 1128135"/>
                    <a:gd name="connsiteX99" fmla="*/ 787231 w 1083680"/>
                    <a:gd name="connsiteY99" fmla="*/ 619446 h 1128135"/>
                    <a:gd name="connsiteX100" fmla="*/ 770719 w 1083680"/>
                    <a:gd name="connsiteY100" fmla="*/ 581723 h 1128135"/>
                    <a:gd name="connsiteX101" fmla="*/ 795487 w 1083680"/>
                    <a:gd name="connsiteY101" fmla="*/ 535744 h 1128135"/>
                    <a:gd name="connsiteX102" fmla="*/ 843879 w 1083680"/>
                    <a:gd name="connsiteY102" fmla="*/ 521518 h 1128135"/>
                    <a:gd name="connsiteX103" fmla="*/ 852135 w 1083680"/>
                    <a:gd name="connsiteY103" fmla="*/ 521518 h 1128135"/>
                    <a:gd name="connsiteX104" fmla="*/ 905226 w 1083680"/>
                    <a:gd name="connsiteY104" fmla="*/ 545143 h 1128135"/>
                    <a:gd name="connsiteX105" fmla="*/ 1051546 w 1083680"/>
                    <a:gd name="connsiteY105" fmla="*/ 698575 h 11281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Lst>
                  <a:rect l="l" t="t" r="r" b="b"/>
                  <a:pathLst>
                    <a:path w="1083680" h="1128135">
                      <a:moveTo>
                        <a:pt x="473253" y="710261"/>
                      </a:moveTo>
                      <a:lnTo>
                        <a:pt x="473253" y="497767"/>
                      </a:lnTo>
                      <a:cubicBezTo>
                        <a:pt x="473253" y="491416"/>
                        <a:pt x="470077" y="488368"/>
                        <a:pt x="463854" y="488368"/>
                      </a:cubicBezTo>
                      <a:lnTo>
                        <a:pt x="68460" y="488368"/>
                      </a:lnTo>
                      <a:cubicBezTo>
                        <a:pt x="49535" y="488368"/>
                        <a:pt x="33405" y="481890"/>
                        <a:pt x="20068" y="468935"/>
                      </a:cubicBezTo>
                      <a:cubicBezTo>
                        <a:pt x="6731" y="455979"/>
                        <a:pt x="0" y="439976"/>
                        <a:pt x="0" y="421177"/>
                      </a:cubicBezTo>
                      <a:cubicBezTo>
                        <a:pt x="0" y="402379"/>
                        <a:pt x="6731" y="386376"/>
                        <a:pt x="20068" y="373420"/>
                      </a:cubicBezTo>
                      <a:cubicBezTo>
                        <a:pt x="33405" y="360465"/>
                        <a:pt x="49535" y="353987"/>
                        <a:pt x="68460" y="353987"/>
                      </a:cubicBezTo>
                      <a:lnTo>
                        <a:pt x="153432" y="353987"/>
                      </a:lnTo>
                      <a:cubicBezTo>
                        <a:pt x="158894" y="353987"/>
                        <a:pt x="161688" y="350812"/>
                        <a:pt x="161688" y="344588"/>
                      </a:cubicBezTo>
                      <a:lnTo>
                        <a:pt x="161688" y="149876"/>
                      </a:lnTo>
                      <a:cubicBezTo>
                        <a:pt x="161688" y="130951"/>
                        <a:pt x="168547" y="114693"/>
                        <a:pt x="182392" y="100849"/>
                      </a:cubicBezTo>
                      <a:cubicBezTo>
                        <a:pt x="196109" y="87131"/>
                        <a:pt x="212494" y="80146"/>
                        <a:pt x="231419" y="80146"/>
                      </a:cubicBezTo>
                      <a:lnTo>
                        <a:pt x="238531" y="80146"/>
                      </a:lnTo>
                      <a:cubicBezTo>
                        <a:pt x="258218" y="80146"/>
                        <a:pt x="274731" y="87004"/>
                        <a:pt x="288067" y="100849"/>
                      </a:cubicBezTo>
                      <a:cubicBezTo>
                        <a:pt x="301403" y="114566"/>
                        <a:pt x="308135" y="130951"/>
                        <a:pt x="308135" y="149876"/>
                      </a:cubicBezTo>
                      <a:lnTo>
                        <a:pt x="308135" y="344588"/>
                      </a:lnTo>
                      <a:cubicBezTo>
                        <a:pt x="308135" y="350939"/>
                        <a:pt x="311310" y="353987"/>
                        <a:pt x="317534" y="353987"/>
                      </a:cubicBezTo>
                      <a:lnTo>
                        <a:pt x="462711" y="353987"/>
                      </a:lnTo>
                      <a:cubicBezTo>
                        <a:pt x="469062" y="353987"/>
                        <a:pt x="472110" y="350812"/>
                        <a:pt x="472110" y="344588"/>
                      </a:cubicBezTo>
                      <a:lnTo>
                        <a:pt x="472110" y="69603"/>
                      </a:lnTo>
                      <a:cubicBezTo>
                        <a:pt x="472110" y="49916"/>
                        <a:pt x="478841" y="33404"/>
                        <a:pt x="492178" y="20068"/>
                      </a:cubicBezTo>
                      <a:cubicBezTo>
                        <a:pt x="505514" y="6732"/>
                        <a:pt x="522026" y="0"/>
                        <a:pt x="541713" y="0"/>
                      </a:cubicBezTo>
                      <a:lnTo>
                        <a:pt x="548826" y="0"/>
                      </a:lnTo>
                      <a:cubicBezTo>
                        <a:pt x="567751" y="0"/>
                        <a:pt x="584009" y="6732"/>
                        <a:pt x="597853" y="20068"/>
                      </a:cubicBezTo>
                      <a:cubicBezTo>
                        <a:pt x="611571" y="33404"/>
                        <a:pt x="618556" y="49916"/>
                        <a:pt x="618556" y="69603"/>
                      </a:cubicBezTo>
                      <a:lnTo>
                        <a:pt x="618556" y="103897"/>
                      </a:lnTo>
                      <a:cubicBezTo>
                        <a:pt x="618556" y="110248"/>
                        <a:pt x="621351" y="113296"/>
                        <a:pt x="626812" y="113296"/>
                      </a:cubicBezTo>
                      <a:lnTo>
                        <a:pt x="901797" y="113296"/>
                      </a:lnTo>
                      <a:cubicBezTo>
                        <a:pt x="919833" y="113296"/>
                        <a:pt x="935075" y="119647"/>
                        <a:pt x="947268" y="132221"/>
                      </a:cubicBezTo>
                      <a:cubicBezTo>
                        <a:pt x="959461" y="144796"/>
                        <a:pt x="965558" y="159910"/>
                        <a:pt x="965558" y="177692"/>
                      </a:cubicBezTo>
                      <a:cubicBezTo>
                        <a:pt x="965558" y="195474"/>
                        <a:pt x="959461" y="210335"/>
                        <a:pt x="947268" y="222528"/>
                      </a:cubicBezTo>
                      <a:cubicBezTo>
                        <a:pt x="935075" y="234721"/>
                        <a:pt x="919960" y="240818"/>
                        <a:pt x="901797" y="240818"/>
                      </a:cubicBezTo>
                      <a:lnTo>
                        <a:pt x="626812" y="240818"/>
                      </a:lnTo>
                      <a:cubicBezTo>
                        <a:pt x="621351" y="240818"/>
                        <a:pt x="618556" y="243993"/>
                        <a:pt x="618556" y="250217"/>
                      </a:cubicBezTo>
                      <a:lnTo>
                        <a:pt x="618556" y="344588"/>
                      </a:lnTo>
                      <a:cubicBezTo>
                        <a:pt x="618556" y="350939"/>
                        <a:pt x="621351" y="353987"/>
                        <a:pt x="626812" y="353987"/>
                      </a:cubicBezTo>
                      <a:lnTo>
                        <a:pt x="1015221" y="353987"/>
                      </a:lnTo>
                      <a:cubicBezTo>
                        <a:pt x="1034146" y="353987"/>
                        <a:pt x="1050277" y="360465"/>
                        <a:pt x="1063613" y="373420"/>
                      </a:cubicBezTo>
                      <a:cubicBezTo>
                        <a:pt x="1076949" y="386376"/>
                        <a:pt x="1083680" y="402379"/>
                        <a:pt x="1083680" y="421177"/>
                      </a:cubicBezTo>
                      <a:cubicBezTo>
                        <a:pt x="1083680" y="439976"/>
                        <a:pt x="1076949" y="455979"/>
                        <a:pt x="1063613" y="468935"/>
                      </a:cubicBezTo>
                      <a:cubicBezTo>
                        <a:pt x="1050277" y="481890"/>
                        <a:pt x="1034146" y="488368"/>
                        <a:pt x="1015221" y="488368"/>
                      </a:cubicBezTo>
                      <a:lnTo>
                        <a:pt x="624526" y="488368"/>
                      </a:lnTo>
                      <a:cubicBezTo>
                        <a:pt x="618176" y="488368"/>
                        <a:pt x="615127" y="491543"/>
                        <a:pt x="615127" y="497767"/>
                      </a:cubicBezTo>
                      <a:lnTo>
                        <a:pt x="615127" y="713817"/>
                      </a:lnTo>
                      <a:cubicBezTo>
                        <a:pt x="615127" y="747603"/>
                        <a:pt x="610809" y="773768"/>
                        <a:pt x="602172" y="792311"/>
                      </a:cubicBezTo>
                      <a:cubicBezTo>
                        <a:pt x="593535" y="810856"/>
                        <a:pt x="577785" y="824827"/>
                        <a:pt x="554923" y="834226"/>
                      </a:cubicBezTo>
                      <a:cubicBezTo>
                        <a:pt x="526598" y="846038"/>
                        <a:pt x="482906" y="852389"/>
                        <a:pt x="423845" y="853151"/>
                      </a:cubicBezTo>
                      <a:lnTo>
                        <a:pt x="422701" y="853151"/>
                      </a:lnTo>
                      <a:cubicBezTo>
                        <a:pt x="403776" y="853151"/>
                        <a:pt x="386883" y="847308"/>
                        <a:pt x="371896" y="835496"/>
                      </a:cubicBezTo>
                      <a:cubicBezTo>
                        <a:pt x="356146" y="822922"/>
                        <a:pt x="345096" y="807172"/>
                        <a:pt x="338873" y="788247"/>
                      </a:cubicBezTo>
                      <a:cubicBezTo>
                        <a:pt x="336459" y="782785"/>
                        <a:pt x="335316" y="777197"/>
                        <a:pt x="335316" y="771735"/>
                      </a:cubicBezTo>
                      <a:cubicBezTo>
                        <a:pt x="335316" y="762336"/>
                        <a:pt x="338110" y="753699"/>
                        <a:pt x="343572" y="745824"/>
                      </a:cubicBezTo>
                      <a:cubicBezTo>
                        <a:pt x="352209" y="733250"/>
                        <a:pt x="364402" y="726900"/>
                        <a:pt x="380152" y="726900"/>
                      </a:cubicBezTo>
                      <a:lnTo>
                        <a:pt x="448612" y="726900"/>
                      </a:lnTo>
                      <a:cubicBezTo>
                        <a:pt x="458011" y="726137"/>
                        <a:pt x="464489" y="724486"/>
                        <a:pt x="468045" y="722200"/>
                      </a:cubicBezTo>
                      <a:cubicBezTo>
                        <a:pt x="471602" y="719787"/>
                        <a:pt x="473380" y="715849"/>
                        <a:pt x="473380" y="710388"/>
                      </a:cubicBezTo>
                      <a:close/>
                      <a:moveTo>
                        <a:pt x="184043" y="561528"/>
                      </a:moveTo>
                      <a:cubicBezTo>
                        <a:pt x="195855" y="545016"/>
                        <a:pt x="211224" y="533204"/>
                        <a:pt x="230022" y="526091"/>
                      </a:cubicBezTo>
                      <a:cubicBezTo>
                        <a:pt x="241072" y="522153"/>
                        <a:pt x="251614" y="520248"/>
                        <a:pt x="261902" y="520248"/>
                      </a:cubicBezTo>
                      <a:lnTo>
                        <a:pt x="287813" y="523804"/>
                      </a:lnTo>
                      <a:lnTo>
                        <a:pt x="303182" y="528504"/>
                      </a:lnTo>
                      <a:cubicBezTo>
                        <a:pt x="320455" y="533966"/>
                        <a:pt x="332268" y="545016"/>
                        <a:pt x="338618" y="561528"/>
                      </a:cubicBezTo>
                      <a:cubicBezTo>
                        <a:pt x="341032" y="567878"/>
                        <a:pt x="342175" y="574102"/>
                        <a:pt x="342175" y="580453"/>
                      </a:cubicBezTo>
                      <a:cubicBezTo>
                        <a:pt x="342175" y="589852"/>
                        <a:pt x="339000" y="599378"/>
                        <a:pt x="332775" y="608777"/>
                      </a:cubicBezTo>
                      <a:cubicBezTo>
                        <a:pt x="287940" y="674062"/>
                        <a:pt x="235991" y="734266"/>
                        <a:pt x="176930" y="789390"/>
                      </a:cubicBezTo>
                      <a:cubicBezTo>
                        <a:pt x="162705" y="803616"/>
                        <a:pt x="145430" y="810601"/>
                        <a:pt x="124981" y="810601"/>
                      </a:cubicBezTo>
                      <a:cubicBezTo>
                        <a:pt x="104532" y="810601"/>
                        <a:pt x="86369" y="804251"/>
                        <a:pt x="70746" y="791676"/>
                      </a:cubicBezTo>
                      <a:cubicBezTo>
                        <a:pt x="65284" y="788501"/>
                        <a:pt x="60077" y="784945"/>
                        <a:pt x="55378" y="781007"/>
                      </a:cubicBezTo>
                      <a:cubicBezTo>
                        <a:pt x="41152" y="770846"/>
                        <a:pt x="34167" y="757002"/>
                        <a:pt x="34167" y="739728"/>
                      </a:cubicBezTo>
                      <a:cubicBezTo>
                        <a:pt x="34167" y="723978"/>
                        <a:pt x="40517" y="711023"/>
                        <a:pt x="53092" y="700735"/>
                      </a:cubicBezTo>
                      <a:cubicBezTo>
                        <a:pt x="101864" y="659836"/>
                        <a:pt x="145557" y="613349"/>
                        <a:pt x="184170" y="561401"/>
                      </a:cubicBezTo>
                      <a:close/>
                      <a:moveTo>
                        <a:pt x="1051674" y="698448"/>
                      </a:moveTo>
                      <a:cubicBezTo>
                        <a:pt x="1060310" y="709499"/>
                        <a:pt x="1064628" y="721692"/>
                        <a:pt x="1064628" y="735028"/>
                      </a:cubicBezTo>
                      <a:cubicBezTo>
                        <a:pt x="1064628" y="739728"/>
                        <a:pt x="1064248" y="744427"/>
                        <a:pt x="1063486" y="749254"/>
                      </a:cubicBezTo>
                      <a:cubicBezTo>
                        <a:pt x="1059548" y="767417"/>
                        <a:pt x="1049260" y="781896"/>
                        <a:pt x="1032749" y="792947"/>
                      </a:cubicBezTo>
                      <a:lnTo>
                        <a:pt x="1023349" y="798789"/>
                      </a:lnTo>
                      <a:cubicBezTo>
                        <a:pt x="1011537" y="805902"/>
                        <a:pt x="999725" y="809458"/>
                        <a:pt x="987912" y="809458"/>
                      </a:cubicBezTo>
                      <a:cubicBezTo>
                        <a:pt x="982451" y="809458"/>
                        <a:pt x="976862" y="809077"/>
                        <a:pt x="971401" y="808315"/>
                      </a:cubicBezTo>
                      <a:cubicBezTo>
                        <a:pt x="953238" y="804378"/>
                        <a:pt x="938758" y="794598"/>
                        <a:pt x="927708" y="778848"/>
                      </a:cubicBezTo>
                      <a:cubicBezTo>
                        <a:pt x="918309" y="767036"/>
                        <a:pt x="908783" y="754842"/>
                        <a:pt x="899384" y="742268"/>
                      </a:cubicBezTo>
                      <a:cubicBezTo>
                        <a:pt x="895447" y="737569"/>
                        <a:pt x="892271" y="737950"/>
                        <a:pt x="889985" y="743411"/>
                      </a:cubicBezTo>
                      <a:cubicBezTo>
                        <a:pt x="834861" y="858359"/>
                        <a:pt x="754843" y="944728"/>
                        <a:pt x="649802" y="1002519"/>
                      </a:cubicBezTo>
                      <a:cubicBezTo>
                        <a:pt x="544761" y="1060311"/>
                        <a:pt x="404920" y="1101844"/>
                        <a:pt x="230149" y="1126993"/>
                      </a:cubicBezTo>
                      <a:cubicBezTo>
                        <a:pt x="226211" y="1127755"/>
                        <a:pt x="222274" y="1128136"/>
                        <a:pt x="218337" y="1128136"/>
                      </a:cubicBezTo>
                      <a:cubicBezTo>
                        <a:pt x="203348" y="1128136"/>
                        <a:pt x="189250" y="1123817"/>
                        <a:pt x="175787" y="1115181"/>
                      </a:cubicBezTo>
                      <a:cubicBezTo>
                        <a:pt x="158513" y="1104892"/>
                        <a:pt x="145430" y="1090413"/>
                        <a:pt x="136793" y="1071488"/>
                      </a:cubicBezTo>
                      <a:cubicBezTo>
                        <a:pt x="134380" y="1066026"/>
                        <a:pt x="131713" y="1060437"/>
                        <a:pt x="128538" y="1054976"/>
                      </a:cubicBezTo>
                      <a:cubicBezTo>
                        <a:pt x="125362" y="1047863"/>
                        <a:pt x="123838" y="1040369"/>
                        <a:pt x="123838" y="1032494"/>
                      </a:cubicBezTo>
                      <a:cubicBezTo>
                        <a:pt x="123838" y="1020682"/>
                        <a:pt x="128156" y="1010902"/>
                        <a:pt x="136793" y="1003027"/>
                      </a:cubicBezTo>
                      <a:cubicBezTo>
                        <a:pt x="143144" y="995914"/>
                        <a:pt x="151400" y="991596"/>
                        <a:pt x="161561" y="990072"/>
                      </a:cubicBezTo>
                      <a:cubicBezTo>
                        <a:pt x="305595" y="975846"/>
                        <a:pt x="422574" y="949555"/>
                        <a:pt x="512754" y="910942"/>
                      </a:cubicBezTo>
                      <a:cubicBezTo>
                        <a:pt x="602807" y="872457"/>
                        <a:pt x="672284" y="813777"/>
                        <a:pt x="721056" y="735028"/>
                      </a:cubicBezTo>
                      <a:cubicBezTo>
                        <a:pt x="732107" y="717754"/>
                        <a:pt x="746586" y="705180"/>
                        <a:pt x="764749" y="697305"/>
                      </a:cubicBezTo>
                      <a:cubicBezTo>
                        <a:pt x="775799" y="691844"/>
                        <a:pt x="786723" y="689049"/>
                        <a:pt x="797773" y="689049"/>
                      </a:cubicBezTo>
                      <a:cubicBezTo>
                        <a:pt x="805648" y="689049"/>
                        <a:pt x="813141" y="690193"/>
                        <a:pt x="820254" y="692606"/>
                      </a:cubicBezTo>
                      <a:lnTo>
                        <a:pt x="860391" y="704418"/>
                      </a:lnTo>
                      <a:cubicBezTo>
                        <a:pt x="861915" y="704418"/>
                        <a:pt x="863185" y="703783"/>
                        <a:pt x="863947" y="702640"/>
                      </a:cubicBezTo>
                      <a:cubicBezTo>
                        <a:pt x="864709" y="701497"/>
                        <a:pt x="864328" y="700481"/>
                        <a:pt x="862804" y="699719"/>
                      </a:cubicBezTo>
                      <a:cubicBezTo>
                        <a:pt x="836893" y="671395"/>
                        <a:pt x="811617" y="644595"/>
                        <a:pt x="787231" y="619446"/>
                      </a:cubicBezTo>
                      <a:cubicBezTo>
                        <a:pt x="776181" y="609285"/>
                        <a:pt x="770719" y="596583"/>
                        <a:pt x="770719" y="581723"/>
                      </a:cubicBezTo>
                      <a:cubicBezTo>
                        <a:pt x="770719" y="561274"/>
                        <a:pt x="778975" y="545905"/>
                        <a:pt x="795487" y="535744"/>
                      </a:cubicBezTo>
                      <a:cubicBezTo>
                        <a:pt x="810475" y="526345"/>
                        <a:pt x="826605" y="521518"/>
                        <a:pt x="843879" y="521518"/>
                      </a:cubicBezTo>
                      <a:lnTo>
                        <a:pt x="852135" y="521518"/>
                      </a:lnTo>
                      <a:cubicBezTo>
                        <a:pt x="872584" y="523042"/>
                        <a:pt x="890239" y="530917"/>
                        <a:pt x="905226" y="545143"/>
                      </a:cubicBezTo>
                      <a:cubicBezTo>
                        <a:pt x="964288" y="599378"/>
                        <a:pt x="1013061" y="650564"/>
                        <a:pt x="1051546" y="698575"/>
                      </a:cubicBezTo>
                      <a:close/>
                    </a:path>
                  </a:pathLst>
                </a:custGeom>
                <a:solidFill>
                  <a:schemeClr val="bg1"/>
                </a:solidFill>
                <a:ln w="0" cap="flat">
                  <a:noFill/>
                  <a:prstDash val="solid"/>
                  <a:miter/>
                </a:ln>
              </p:spPr>
              <p:txBody>
                <a:bodyPr rtlCol="0" anchor="ctr"/>
                <a:lstStyle/>
                <a:p>
                  <a:endParaRPr lang="ja-JP" altLang="en-US"/>
                </a:p>
              </p:txBody>
            </p:sp>
          </p:grpSp>
          <p:grpSp>
            <p:nvGrpSpPr>
              <p:cNvPr id="170" name="グループ化 169">
                <a:extLst>
                  <a:ext uri="{FF2B5EF4-FFF2-40B4-BE49-F238E27FC236}">
                    <a16:creationId xmlns:a16="http://schemas.microsoft.com/office/drawing/2014/main" id="{1C0A2617-7EF4-F010-F4F8-57D417425B44}"/>
                  </a:ext>
                </a:extLst>
              </p:cNvPr>
              <p:cNvGrpSpPr/>
              <p:nvPr/>
            </p:nvGrpSpPr>
            <p:grpSpPr>
              <a:xfrm>
                <a:off x="2096996" y="2750735"/>
                <a:ext cx="6155763" cy="1696507"/>
                <a:chOff x="2129654" y="2746931"/>
                <a:chExt cx="6169568" cy="1700312"/>
              </a:xfrm>
            </p:grpSpPr>
            <p:sp>
              <p:nvSpPr>
                <p:cNvPr id="59" name="フリーフォーム: 図形 58">
                  <a:extLst>
                    <a:ext uri="{FF2B5EF4-FFF2-40B4-BE49-F238E27FC236}">
                      <a16:creationId xmlns:a16="http://schemas.microsoft.com/office/drawing/2014/main" id="{689B60E6-CA32-F45D-384A-2D157702AE4E}"/>
                    </a:ext>
                  </a:extLst>
                </p:cNvPr>
                <p:cNvSpPr/>
                <p:nvPr/>
              </p:nvSpPr>
              <p:spPr>
                <a:xfrm>
                  <a:off x="2129654" y="2746931"/>
                  <a:ext cx="1634815" cy="1643791"/>
                </a:xfrm>
                <a:custGeom>
                  <a:avLst/>
                  <a:gdLst>
                    <a:gd name="connsiteX0" fmla="*/ 618684 w 1087364"/>
                    <a:gd name="connsiteY0" fmla="*/ 943331 h 1093334"/>
                    <a:gd name="connsiteX1" fmla="*/ 628083 w 1087364"/>
                    <a:gd name="connsiteY1" fmla="*/ 952730 h 1093334"/>
                    <a:gd name="connsiteX2" fmla="*/ 1017634 w 1087364"/>
                    <a:gd name="connsiteY2" fmla="*/ 952730 h 1093334"/>
                    <a:gd name="connsiteX3" fmla="*/ 1066661 w 1087364"/>
                    <a:gd name="connsiteY3" fmla="*/ 973433 h 1093334"/>
                    <a:gd name="connsiteX4" fmla="*/ 1087365 w 1087364"/>
                    <a:gd name="connsiteY4" fmla="*/ 1022460 h 1093334"/>
                    <a:gd name="connsiteX5" fmla="*/ 1087365 w 1087364"/>
                    <a:gd name="connsiteY5" fmla="*/ 1023604 h 1093334"/>
                    <a:gd name="connsiteX6" fmla="*/ 1066661 w 1087364"/>
                    <a:gd name="connsiteY6" fmla="*/ 1072631 h 1093334"/>
                    <a:gd name="connsiteX7" fmla="*/ 1017634 w 1087364"/>
                    <a:gd name="connsiteY7" fmla="*/ 1093334 h 1093334"/>
                    <a:gd name="connsiteX8" fmla="*/ 69731 w 1087364"/>
                    <a:gd name="connsiteY8" fmla="*/ 1093334 h 1093334"/>
                    <a:gd name="connsiteX9" fmla="*/ 20703 w 1087364"/>
                    <a:gd name="connsiteY9" fmla="*/ 1072631 h 1093334"/>
                    <a:gd name="connsiteX10" fmla="*/ 0 w 1087364"/>
                    <a:gd name="connsiteY10" fmla="*/ 1023604 h 1093334"/>
                    <a:gd name="connsiteX11" fmla="*/ 0 w 1087364"/>
                    <a:gd name="connsiteY11" fmla="*/ 1022460 h 1093334"/>
                    <a:gd name="connsiteX12" fmla="*/ 20703 w 1087364"/>
                    <a:gd name="connsiteY12" fmla="*/ 973433 h 1093334"/>
                    <a:gd name="connsiteX13" fmla="*/ 69731 w 1087364"/>
                    <a:gd name="connsiteY13" fmla="*/ 952730 h 1093334"/>
                    <a:gd name="connsiteX14" fmla="*/ 458138 w 1087364"/>
                    <a:gd name="connsiteY14" fmla="*/ 952730 h 1093334"/>
                    <a:gd name="connsiteX15" fmla="*/ 467538 w 1087364"/>
                    <a:gd name="connsiteY15" fmla="*/ 943331 h 1093334"/>
                    <a:gd name="connsiteX16" fmla="*/ 467538 w 1087364"/>
                    <a:gd name="connsiteY16" fmla="*/ 719025 h 1093334"/>
                    <a:gd name="connsiteX17" fmla="*/ 458138 w 1087364"/>
                    <a:gd name="connsiteY17" fmla="*/ 709626 h 1093334"/>
                    <a:gd name="connsiteX18" fmla="*/ 209064 w 1087364"/>
                    <a:gd name="connsiteY18" fmla="*/ 709626 h 1093334"/>
                    <a:gd name="connsiteX19" fmla="*/ 160037 w 1087364"/>
                    <a:gd name="connsiteY19" fmla="*/ 688922 h 1093334"/>
                    <a:gd name="connsiteX20" fmla="*/ 139334 w 1087364"/>
                    <a:gd name="connsiteY20" fmla="*/ 639895 h 1093334"/>
                    <a:gd name="connsiteX21" fmla="*/ 160037 w 1087364"/>
                    <a:gd name="connsiteY21" fmla="*/ 590868 h 1093334"/>
                    <a:gd name="connsiteX22" fmla="*/ 209064 w 1087364"/>
                    <a:gd name="connsiteY22" fmla="*/ 570165 h 1093334"/>
                    <a:gd name="connsiteX23" fmla="*/ 458138 w 1087364"/>
                    <a:gd name="connsiteY23" fmla="*/ 570165 h 1093334"/>
                    <a:gd name="connsiteX24" fmla="*/ 467538 w 1087364"/>
                    <a:gd name="connsiteY24" fmla="*/ 560766 h 1093334"/>
                    <a:gd name="connsiteX25" fmla="*/ 467538 w 1087364"/>
                    <a:gd name="connsiteY25" fmla="*/ 367197 h 1093334"/>
                    <a:gd name="connsiteX26" fmla="*/ 458138 w 1087364"/>
                    <a:gd name="connsiteY26" fmla="*/ 357798 h 1093334"/>
                    <a:gd name="connsiteX27" fmla="*/ 226720 w 1087364"/>
                    <a:gd name="connsiteY27" fmla="*/ 357798 h 1093334"/>
                    <a:gd name="connsiteX28" fmla="*/ 212494 w 1087364"/>
                    <a:gd name="connsiteY28" fmla="*/ 366054 h 1093334"/>
                    <a:gd name="connsiteX29" fmla="*/ 146447 w 1087364"/>
                    <a:gd name="connsiteY29" fmla="*/ 477064 h 1093334"/>
                    <a:gd name="connsiteX30" fmla="*/ 100468 w 1087364"/>
                    <a:gd name="connsiteY30" fmla="*/ 504244 h 1093334"/>
                    <a:gd name="connsiteX31" fmla="*/ 89799 w 1087364"/>
                    <a:gd name="connsiteY31" fmla="*/ 505388 h 1093334"/>
                    <a:gd name="connsiteX32" fmla="*/ 47249 w 1087364"/>
                    <a:gd name="connsiteY32" fmla="*/ 492432 h 1093334"/>
                    <a:gd name="connsiteX33" fmla="*/ 35437 w 1087364"/>
                    <a:gd name="connsiteY33" fmla="*/ 483033 h 1093334"/>
                    <a:gd name="connsiteX34" fmla="*/ 8256 w 1087364"/>
                    <a:gd name="connsiteY34" fmla="*/ 441754 h 1093334"/>
                    <a:gd name="connsiteX35" fmla="*/ 7113 w 1087364"/>
                    <a:gd name="connsiteY35" fmla="*/ 429941 h 1093334"/>
                    <a:gd name="connsiteX36" fmla="*/ 18925 w 1087364"/>
                    <a:gd name="connsiteY36" fmla="*/ 393361 h 1093334"/>
                    <a:gd name="connsiteX37" fmla="*/ 100341 w 1087364"/>
                    <a:gd name="connsiteY37" fmla="*/ 256441 h 1093334"/>
                    <a:gd name="connsiteX38" fmla="*/ 169944 w 1087364"/>
                    <a:gd name="connsiteY38" fmla="*/ 81797 h 1093334"/>
                    <a:gd name="connsiteX39" fmla="*/ 204238 w 1087364"/>
                    <a:gd name="connsiteY39" fmla="*/ 38104 h 1093334"/>
                    <a:gd name="connsiteX40" fmla="*/ 240818 w 1087364"/>
                    <a:gd name="connsiteY40" fmla="*/ 27435 h 1093334"/>
                    <a:gd name="connsiteX41" fmla="*/ 257330 w 1087364"/>
                    <a:gd name="connsiteY41" fmla="*/ 29848 h 1093334"/>
                    <a:gd name="connsiteX42" fmla="*/ 269142 w 1087364"/>
                    <a:gd name="connsiteY42" fmla="*/ 32261 h 1093334"/>
                    <a:gd name="connsiteX43" fmla="*/ 311692 w 1087364"/>
                    <a:gd name="connsiteY43" fmla="*/ 62999 h 1093334"/>
                    <a:gd name="connsiteX44" fmla="*/ 321091 w 1087364"/>
                    <a:gd name="connsiteY44" fmla="*/ 93736 h 1093334"/>
                    <a:gd name="connsiteX45" fmla="*/ 317534 w 1087364"/>
                    <a:gd name="connsiteY45" fmla="*/ 113804 h 1093334"/>
                    <a:gd name="connsiteX46" fmla="*/ 284511 w 1087364"/>
                    <a:gd name="connsiteY46" fmla="*/ 209446 h 1093334"/>
                    <a:gd name="connsiteX47" fmla="*/ 285146 w 1087364"/>
                    <a:gd name="connsiteY47" fmla="*/ 215288 h 1093334"/>
                    <a:gd name="connsiteX48" fmla="*/ 290480 w 1087364"/>
                    <a:gd name="connsiteY48" fmla="*/ 217702 h 1093334"/>
                    <a:gd name="connsiteX49" fmla="*/ 459282 w 1087364"/>
                    <a:gd name="connsiteY49" fmla="*/ 217702 h 1093334"/>
                    <a:gd name="connsiteX50" fmla="*/ 467538 w 1087364"/>
                    <a:gd name="connsiteY50" fmla="*/ 209446 h 1093334"/>
                    <a:gd name="connsiteX51" fmla="*/ 467538 w 1087364"/>
                    <a:gd name="connsiteY51" fmla="*/ 69731 h 1093334"/>
                    <a:gd name="connsiteX52" fmla="*/ 488241 w 1087364"/>
                    <a:gd name="connsiteY52" fmla="*/ 20703 h 1093334"/>
                    <a:gd name="connsiteX53" fmla="*/ 537268 w 1087364"/>
                    <a:gd name="connsiteY53" fmla="*/ 0 h 1093334"/>
                    <a:gd name="connsiteX54" fmla="*/ 549080 w 1087364"/>
                    <a:gd name="connsiteY54" fmla="*/ 0 h 1093334"/>
                    <a:gd name="connsiteX55" fmla="*/ 598108 w 1087364"/>
                    <a:gd name="connsiteY55" fmla="*/ 20703 h 1093334"/>
                    <a:gd name="connsiteX56" fmla="*/ 618811 w 1087364"/>
                    <a:gd name="connsiteY56" fmla="*/ 69731 h 1093334"/>
                    <a:gd name="connsiteX57" fmla="*/ 618811 w 1087364"/>
                    <a:gd name="connsiteY57" fmla="*/ 209065 h 1093334"/>
                    <a:gd name="connsiteX58" fmla="*/ 628210 w 1087364"/>
                    <a:gd name="connsiteY58" fmla="*/ 217320 h 1093334"/>
                    <a:gd name="connsiteX59" fmla="*/ 956413 w 1087364"/>
                    <a:gd name="connsiteY59" fmla="*/ 217320 h 1093334"/>
                    <a:gd name="connsiteX60" fmla="*/ 1005441 w 1087364"/>
                    <a:gd name="connsiteY60" fmla="*/ 238024 h 1093334"/>
                    <a:gd name="connsiteX61" fmla="*/ 1026144 w 1087364"/>
                    <a:gd name="connsiteY61" fmla="*/ 287051 h 1093334"/>
                    <a:gd name="connsiteX62" fmla="*/ 1026144 w 1087364"/>
                    <a:gd name="connsiteY62" fmla="*/ 288194 h 1093334"/>
                    <a:gd name="connsiteX63" fmla="*/ 1005441 w 1087364"/>
                    <a:gd name="connsiteY63" fmla="*/ 337221 h 1093334"/>
                    <a:gd name="connsiteX64" fmla="*/ 956413 w 1087364"/>
                    <a:gd name="connsiteY64" fmla="*/ 357925 h 1093334"/>
                    <a:gd name="connsiteX65" fmla="*/ 628210 w 1087364"/>
                    <a:gd name="connsiteY65" fmla="*/ 357925 h 1093334"/>
                    <a:gd name="connsiteX66" fmla="*/ 618811 w 1087364"/>
                    <a:gd name="connsiteY66" fmla="*/ 367324 h 1093334"/>
                    <a:gd name="connsiteX67" fmla="*/ 618811 w 1087364"/>
                    <a:gd name="connsiteY67" fmla="*/ 560893 h 1093334"/>
                    <a:gd name="connsiteX68" fmla="*/ 628210 w 1087364"/>
                    <a:gd name="connsiteY68" fmla="*/ 570292 h 1093334"/>
                    <a:gd name="connsiteX69" fmla="*/ 910307 w 1087364"/>
                    <a:gd name="connsiteY69" fmla="*/ 570292 h 1093334"/>
                    <a:gd name="connsiteX70" fmla="*/ 959335 w 1087364"/>
                    <a:gd name="connsiteY70" fmla="*/ 590995 h 1093334"/>
                    <a:gd name="connsiteX71" fmla="*/ 980038 w 1087364"/>
                    <a:gd name="connsiteY71" fmla="*/ 640022 h 1093334"/>
                    <a:gd name="connsiteX72" fmla="*/ 959335 w 1087364"/>
                    <a:gd name="connsiteY72" fmla="*/ 689049 h 1093334"/>
                    <a:gd name="connsiteX73" fmla="*/ 910307 w 1087364"/>
                    <a:gd name="connsiteY73" fmla="*/ 709753 h 1093334"/>
                    <a:gd name="connsiteX74" fmla="*/ 628210 w 1087364"/>
                    <a:gd name="connsiteY74" fmla="*/ 709753 h 1093334"/>
                    <a:gd name="connsiteX75" fmla="*/ 618811 w 1087364"/>
                    <a:gd name="connsiteY75" fmla="*/ 719152 h 1093334"/>
                    <a:gd name="connsiteX76" fmla="*/ 618811 w 1087364"/>
                    <a:gd name="connsiteY76" fmla="*/ 943458 h 10933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Lst>
                  <a:rect l="l" t="t" r="r" b="b"/>
                  <a:pathLst>
                    <a:path w="1087364" h="1093334">
                      <a:moveTo>
                        <a:pt x="618684" y="943331"/>
                      </a:moveTo>
                      <a:cubicBezTo>
                        <a:pt x="618684" y="949682"/>
                        <a:pt x="621859" y="952730"/>
                        <a:pt x="628083" y="952730"/>
                      </a:cubicBezTo>
                      <a:lnTo>
                        <a:pt x="1017634" y="952730"/>
                      </a:lnTo>
                      <a:cubicBezTo>
                        <a:pt x="1036559" y="952730"/>
                        <a:pt x="1052817" y="959589"/>
                        <a:pt x="1066661" y="973433"/>
                      </a:cubicBezTo>
                      <a:cubicBezTo>
                        <a:pt x="1080379" y="987151"/>
                        <a:pt x="1087365" y="1003535"/>
                        <a:pt x="1087365" y="1022460"/>
                      </a:cubicBezTo>
                      <a:lnTo>
                        <a:pt x="1087365" y="1023604"/>
                      </a:lnTo>
                      <a:cubicBezTo>
                        <a:pt x="1087365" y="1042529"/>
                        <a:pt x="1080506" y="1058786"/>
                        <a:pt x="1066661" y="1072631"/>
                      </a:cubicBezTo>
                      <a:cubicBezTo>
                        <a:pt x="1052944" y="1086348"/>
                        <a:pt x="1036559" y="1093334"/>
                        <a:pt x="1017634" y="1093334"/>
                      </a:cubicBezTo>
                      <a:lnTo>
                        <a:pt x="69731" y="1093334"/>
                      </a:lnTo>
                      <a:cubicBezTo>
                        <a:pt x="50805" y="1093334"/>
                        <a:pt x="34548" y="1086475"/>
                        <a:pt x="20703" y="1072631"/>
                      </a:cubicBezTo>
                      <a:cubicBezTo>
                        <a:pt x="6859" y="1058786"/>
                        <a:pt x="0" y="1042529"/>
                        <a:pt x="0" y="1023604"/>
                      </a:cubicBezTo>
                      <a:lnTo>
                        <a:pt x="0" y="1022460"/>
                      </a:lnTo>
                      <a:cubicBezTo>
                        <a:pt x="0" y="1003535"/>
                        <a:pt x="6859" y="987278"/>
                        <a:pt x="20703" y="973433"/>
                      </a:cubicBezTo>
                      <a:cubicBezTo>
                        <a:pt x="34421" y="959716"/>
                        <a:pt x="50805" y="952730"/>
                        <a:pt x="69731" y="952730"/>
                      </a:cubicBezTo>
                      <a:lnTo>
                        <a:pt x="458138" y="952730"/>
                      </a:lnTo>
                      <a:cubicBezTo>
                        <a:pt x="464489" y="952730"/>
                        <a:pt x="467538" y="949555"/>
                        <a:pt x="467538" y="943331"/>
                      </a:cubicBezTo>
                      <a:lnTo>
                        <a:pt x="467538" y="719025"/>
                      </a:lnTo>
                      <a:cubicBezTo>
                        <a:pt x="467538" y="712674"/>
                        <a:pt x="464362" y="709626"/>
                        <a:pt x="458138" y="709626"/>
                      </a:cubicBezTo>
                      <a:lnTo>
                        <a:pt x="209064" y="709626"/>
                      </a:lnTo>
                      <a:cubicBezTo>
                        <a:pt x="190140" y="709626"/>
                        <a:pt x="173882" y="702767"/>
                        <a:pt x="160037" y="688922"/>
                      </a:cubicBezTo>
                      <a:cubicBezTo>
                        <a:pt x="146320" y="675205"/>
                        <a:pt x="139334" y="658820"/>
                        <a:pt x="139334" y="639895"/>
                      </a:cubicBezTo>
                      <a:cubicBezTo>
                        <a:pt x="139334" y="620970"/>
                        <a:pt x="146193" y="604712"/>
                        <a:pt x="160037" y="590868"/>
                      </a:cubicBezTo>
                      <a:cubicBezTo>
                        <a:pt x="173755" y="577150"/>
                        <a:pt x="190140" y="570165"/>
                        <a:pt x="209064" y="570165"/>
                      </a:cubicBezTo>
                      <a:lnTo>
                        <a:pt x="458138" y="570165"/>
                      </a:lnTo>
                      <a:cubicBezTo>
                        <a:pt x="464489" y="570165"/>
                        <a:pt x="467538" y="566989"/>
                        <a:pt x="467538" y="560766"/>
                      </a:cubicBezTo>
                      <a:lnTo>
                        <a:pt x="467538" y="367197"/>
                      </a:lnTo>
                      <a:cubicBezTo>
                        <a:pt x="467538" y="360846"/>
                        <a:pt x="464362" y="357798"/>
                        <a:pt x="458138" y="357798"/>
                      </a:cubicBezTo>
                      <a:lnTo>
                        <a:pt x="226720" y="357798"/>
                      </a:lnTo>
                      <a:cubicBezTo>
                        <a:pt x="220369" y="357798"/>
                        <a:pt x="215669" y="360592"/>
                        <a:pt x="212494" y="366054"/>
                      </a:cubicBezTo>
                      <a:cubicBezTo>
                        <a:pt x="189631" y="408603"/>
                        <a:pt x="167658" y="445564"/>
                        <a:pt x="146447" y="477064"/>
                      </a:cubicBezTo>
                      <a:cubicBezTo>
                        <a:pt x="135397" y="492813"/>
                        <a:pt x="120028" y="501831"/>
                        <a:pt x="100468" y="504244"/>
                      </a:cubicBezTo>
                      <a:cubicBezTo>
                        <a:pt x="96531" y="505007"/>
                        <a:pt x="92974" y="505388"/>
                        <a:pt x="89799" y="505388"/>
                      </a:cubicBezTo>
                      <a:cubicBezTo>
                        <a:pt x="74049" y="505388"/>
                        <a:pt x="59950" y="501069"/>
                        <a:pt x="47249" y="492432"/>
                      </a:cubicBezTo>
                      <a:cubicBezTo>
                        <a:pt x="43312" y="489257"/>
                        <a:pt x="39374" y="486082"/>
                        <a:pt x="35437" y="483033"/>
                      </a:cubicBezTo>
                      <a:cubicBezTo>
                        <a:pt x="20449" y="473634"/>
                        <a:pt x="11431" y="459790"/>
                        <a:pt x="8256" y="441754"/>
                      </a:cubicBezTo>
                      <a:cubicBezTo>
                        <a:pt x="7494" y="437816"/>
                        <a:pt x="7113" y="433879"/>
                        <a:pt x="7113" y="429941"/>
                      </a:cubicBezTo>
                      <a:cubicBezTo>
                        <a:pt x="7113" y="417367"/>
                        <a:pt x="11050" y="405174"/>
                        <a:pt x="18925" y="393361"/>
                      </a:cubicBezTo>
                      <a:cubicBezTo>
                        <a:pt x="48011" y="353987"/>
                        <a:pt x="75192" y="308389"/>
                        <a:pt x="100341" y="256441"/>
                      </a:cubicBezTo>
                      <a:cubicBezTo>
                        <a:pt x="127903" y="199793"/>
                        <a:pt x="151146" y="141620"/>
                        <a:pt x="169944" y="81797"/>
                      </a:cubicBezTo>
                      <a:cubicBezTo>
                        <a:pt x="175406" y="62872"/>
                        <a:pt x="186837" y="48392"/>
                        <a:pt x="204238" y="38104"/>
                      </a:cubicBezTo>
                      <a:cubicBezTo>
                        <a:pt x="215288" y="30991"/>
                        <a:pt x="227482" y="27435"/>
                        <a:pt x="240818" y="27435"/>
                      </a:cubicBezTo>
                      <a:cubicBezTo>
                        <a:pt x="246280" y="27435"/>
                        <a:pt x="251868" y="28197"/>
                        <a:pt x="257330" y="29848"/>
                      </a:cubicBezTo>
                      <a:lnTo>
                        <a:pt x="269142" y="32261"/>
                      </a:lnTo>
                      <a:cubicBezTo>
                        <a:pt x="288067" y="36199"/>
                        <a:pt x="302166" y="46487"/>
                        <a:pt x="311692" y="62999"/>
                      </a:cubicBezTo>
                      <a:cubicBezTo>
                        <a:pt x="318042" y="73287"/>
                        <a:pt x="321091" y="83448"/>
                        <a:pt x="321091" y="93736"/>
                      </a:cubicBezTo>
                      <a:cubicBezTo>
                        <a:pt x="321091" y="100849"/>
                        <a:pt x="319948" y="107454"/>
                        <a:pt x="317534" y="113804"/>
                      </a:cubicBezTo>
                      <a:cubicBezTo>
                        <a:pt x="308135" y="142128"/>
                        <a:pt x="297085" y="174009"/>
                        <a:pt x="284511" y="209446"/>
                      </a:cubicBezTo>
                      <a:cubicBezTo>
                        <a:pt x="283749" y="211859"/>
                        <a:pt x="283876" y="213764"/>
                        <a:pt x="285146" y="215288"/>
                      </a:cubicBezTo>
                      <a:cubicBezTo>
                        <a:pt x="286289" y="216812"/>
                        <a:pt x="288067" y="217702"/>
                        <a:pt x="290480" y="217702"/>
                      </a:cubicBezTo>
                      <a:lnTo>
                        <a:pt x="459282" y="217702"/>
                      </a:lnTo>
                      <a:cubicBezTo>
                        <a:pt x="464743" y="217702"/>
                        <a:pt x="467538" y="214907"/>
                        <a:pt x="467538" y="209446"/>
                      </a:cubicBezTo>
                      <a:lnTo>
                        <a:pt x="467538" y="69731"/>
                      </a:lnTo>
                      <a:cubicBezTo>
                        <a:pt x="467538" y="50805"/>
                        <a:pt x="474396" y="34548"/>
                        <a:pt x="488241" y="20703"/>
                      </a:cubicBezTo>
                      <a:cubicBezTo>
                        <a:pt x="502085" y="6859"/>
                        <a:pt x="518343" y="0"/>
                        <a:pt x="537268" y="0"/>
                      </a:cubicBezTo>
                      <a:lnTo>
                        <a:pt x="549080" y="0"/>
                      </a:lnTo>
                      <a:cubicBezTo>
                        <a:pt x="568005" y="0"/>
                        <a:pt x="584263" y="6859"/>
                        <a:pt x="598108" y="20703"/>
                      </a:cubicBezTo>
                      <a:cubicBezTo>
                        <a:pt x="611825" y="34421"/>
                        <a:pt x="618811" y="50805"/>
                        <a:pt x="618811" y="69731"/>
                      </a:cubicBezTo>
                      <a:lnTo>
                        <a:pt x="618811" y="209065"/>
                      </a:lnTo>
                      <a:cubicBezTo>
                        <a:pt x="618811" y="214526"/>
                        <a:pt x="621986" y="217320"/>
                        <a:pt x="628210" y="217320"/>
                      </a:cubicBezTo>
                      <a:lnTo>
                        <a:pt x="956413" y="217320"/>
                      </a:lnTo>
                      <a:cubicBezTo>
                        <a:pt x="975338" y="217320"/>
                        <a:pt x="991596" y="224179"/>
                        <a:pt x="1005441" y="238024"/>
                      </a:cubicBezTo>
                      <a:cubicBezTo>
                        <a:pt x="1019158" y="251741"/>
                        <a:pt x="1026144" y="268126"/>
                        <a:pt x="1026144" y="287051"/>
                      </a:cubicBezTo>
                      <a:lnTo>
                        <a:pt x="1026144" y="288194"/>
                      </a:lnTo>
                      <a:cubicBezTo>
                        <a:pt x="1026144" y="307119"/>
                        <a:pt x="1019285" y="323377"/>
                        <a:pt x="1005441" y="337221"/>
                      </a:cubicBezTo>
                      <a:cubicBezTo>
                        <a:pt x="991596" y="351066"/>
                        <a:pt x="975338" y="357925"/>
                        <a:pt x="956413" y="357925"/>
                      </a:cubicBezTo>
                      <a:lnTo>
                        <a:pt x="628210" y="357925"/>
                      </a:lnTo>
                      <a:cubicBezTo>
                        <a:pt x="621859" y="357925"/>
                        <a:pt x="618811" y="361100"/>
                        <a:pt x="618811" y="367324"/>
                      </a:cubicBezTo>
                      <a:lnTo>
                        <a:pt x="618811" y="560893"/>
                      </a:lnTo>
                      <a:cubicBezTo>
                        <a:pt x="618811" y="567243"/>
                        <a:pt x="621986" y="570292"/>
                        <a:pt x="628210" y="570292"/>
                      </a:cubicBezTo>
                      <a:lnTo>
                        <a:pt x="910307" y="570292"/>
                      </a:lnTo>
                      <a:cubicBezTo>
                        <a:pt x="929232" y="570292"/>
                        <a:pt x="945490" y="577150"/>
                        <a:pt x="959335" y="590995"/>
                      </a:cubicBezTo>
                      <a:cubicBezTo>
                        <a:pt x="973052" y="604712"/>
                        <a:pt x="980038" y="621097"/>
                        <a:pt x="980038" y="640022"/>
                      </a:cubicBezTo>
                      <a:cubicBezTo>
                        <a:pt x="980038" y="658947"/>
                        <a:pt x="973179" y="675205"/>
                        <a:pt x="959335" y="689049"/>
                      </a:cubicBezTo>
                      <a:cubicBezTo>
                        <a:pt x="945617" y="702767"/>
                        <a:pt x="929232" y="709753"/>
                        <a:pt x="910307" y="709753"/>
                      </a:cubicBezTo>
                      <a:lnTo>
                        <a:pt x="628210" y="709753"/>
                      </a:lnTo>
                      <a:cubicBezTo>
                        <a:pt x="621859" y="709753"/>
                        <a:pt x="618811" y="712928"/>
                        <a:pt x="618811" y="719152"/>
                      </a:cubicBezTo>
                      <a:lnTo>
                        <a:pt x="618811" y="943458"/>
                      </a:lnTo>
                      <a:close/>
                    </a:path>
                  </a:pathLst>
                </a:custGeom>
                <a:solidFill>
                  <a:schemeClr val="bg1"/>
                </a:solidFill>
                <a:ln w="0" cap="flat">
                  <a:noFill/>
                  <a:prstDash val="solid"/>
                  <a:miter/>
                </a:ln>
              </p:spPr>
              <p:txBody>
                <a:bodyPr rtlCol="0" anchor="ctr"/>
                <a:lstStyle/>
                <a:p>
                  <a:endParaRPr lang="ja-JP" altLang="en-US"/>
                </a:p>
              </p:txBody>
            </p:sp>
            <p:sp>
              <p:nvSpPr>
                <p:cNvPr id="60" name="フリーフォーム: 図形 59">
                  <a:extLst>
                    <a:ext uri="{FF2B5EF4-FFF2-40B4-BE49-F238E27FC236}">
                      <a16:creationId xmlns:a16="http://schemas.microsoft.com/office/drawing/2014/main" id="{3CE6678A-2FAB-A89B-D741-3663A4A4F487}"/>
                    </a:ext>
                  </a:extLst>
                </p:cNvPr>
                <p:cNvSpPr/>
                <p:nvPr/>
              </p:nvSpPr>
              <p:spPr>
                <a:xfrm>
                  <a:off x="4021827" y="2766025"/>
                  <a:ext cx="1657349" cy="1681218"/>
                </a:xfrm>
                <a:custGeom>
                  <a:avLst/>
                  <a:gdLst>
                    <a:gd name="connsiteX0" fmla="*/ 868774 w 1102352"/>
                    <a:gd name="connsiteY0" fmla="*/ 449883 h 1118228"/>
                    <a:gd name="connsiteX1" fmla="*/ 904211 w 1102352"/>
                    <a:gd name="connsiteY1" fmla="*/ 408603 h 1118228"/>
                    <a:gd name="connsiteX2" fmla="*/ 939648 w 1102352"/>
                    <a:gd name="connsiteY2" fmla="*/ 397934 h 1118228"/>
                    <a:gd name="connsiteX3" fmla="*/ 957302 w 1102352"/>
                    <a:gd name="connsiteY3" fmla="*/ 400347 h 1118228"/>
                    <a:gd name="connsiteX4" fmla="*/ 965558 w 1102352"/>
                    <a:gd name="connsiteY4" fmla="*/ 402761 h 1118228"/>
                    <a:gd name="connsiteX5" fmla="*/ 1006838 w 1102352"/>
                    <a:gd name="connsiteY5" fmla="*/ 434641 h 1118228"/>
                    <a:gd name="connsiteX6" fmla="*/ 1015094 w 1102352"/>
                    <a:gd name="connsiteY6" fmla="*/ 464108 h 1118228"/>
                    <a:gd name="connsiteX7" fmla="*/ 1011537 w 1102352"/>
                    <a:gd name="connsiteY7" fmla="*/ 485319 h 1118228"/>
                    <a:gd name="connsiteX8" fmla="*/ 830924 w 1102352"/>
                    <a:gd name="connsiteY8" fmla="*/ 826478 h 1118228"/>
                    <a:gd name="connsiteX9" fmla="*/ 828511 w 1102352"/>
                    <a:gd name="connsiteY9" fmla="*/ 841847 h 1118228"/>
                    <a:gd name="connsiteX10" fmla="*/ 938250 w 1102352"/>
                    <a:gd name="connsiteY10" fmla="*/ 971655 h 1118228"/>
                    <a:gd name="connsiteX11" fmla="*/ 984229 w 1102352"/>
                    <a:gd name="connsiteY11" fmla="*/ 830035 h 1118228"/>
                    <a:gd name="connsiteX12" fmla="*/ 1004298 w 1102352"/>
                    <a:gd name="connsiteY12" fmla="*/ 800568 h 1118228"/>
                    <a:gd name="connsiteX13" fmla="*/ 1019666 w 1102352"/>
                    <a:gd name="connsiteY13" fmla="*/ 797011 h 1118228"/>
                    <a:gd name="connsiteX14" fmla="*/ 1040877 w 1102352"/>
                    <a:gd name="connsiteY14" fmla="*/ 804124 h 1118228"/>
                    <a:gd name="connsiteX15" fmla="*/ 1047990 w 1102352"/>
                    <a:gd name="connsiteY15" fmla="*/ 808823 h 1118228"/>
                    <a:gd name="connsiteX16" fmla="*/ 1090540 w 1102352"/>
                    <a:gd name="connsiteY16" fmla="*/ 853659 h 1118228"/>
                    <a:gd name="connsiteX17" fmla="*/ 1102352 w 1102352"/>
                    <a:gd name="connsiteY17" fmla="*/ 896209 h 1118228"/>
                    <a:gd name="connsiteX18" fmla="*/ 1101209 w 1102352"/>
                    <a:gd name="connsiteY18" fmla="*/ 910434 h 1118228"/>
                    <a:gd name="connsiteX19" fmla="*/ 1042783 w 1102352"/>
                    <a:gd name="connsiteY19" fmla="*/ 1074536 h 1118228"/>
                    <a:gd name="connsiteX20" fmla="*/ 926565 w 1102352"/>
                    <a:gd name="connsiteY20" fmla="*/ 1118229 h 1118228"/>
                    <a:gd name="connsiteX21" fmla="*/ 725883 w 1102352"/>
                    <a:gd name="connsiteY21" fmla="*/ 965939 h 1118228"/>
                    <a:gd name="connsiteX22" fmla="*/ 715214 w 1102352"/>
                    <a:gd name="connsiteY22" fmla="*/ 964796 h 1118228"/>
                    <a:gd name="connsiteX23" fmla="*/ 575880 w 1102352"/>
                    <a:gd name="connsiteY23" fmla="*/ 1084062 h 1118228"/>
                    <a:gd name="connsiteX24" fmla="*/ 535744 w 1102352"/>
                    <a:gd name="connsiteY24" fmla="*/ 1097018 h 1118228"/>
                    <a:gd name="connsiteX25" fmla="*/ 522789 w 1102352"/>
                    <a:gd name="connsiteY25" fmla="*/ 1095874 h 1118228"/>
                    <a:gd name="connsiteX26" fmla="*/ 474396 w 1102352"/>
                    <a:gd name="connsiteY26" fmla="*/ 1068693 h 1118228"/>
                    <a:gd name="connsiteX27" fmla="*/ 461441 w 1102352"/>
                    <a:gd name="connsiteY27" fmla="*/ 1054468 h 1118228"/>
                    <a:gd name="connsiteX28" fmla="*/ 447215 w 1102352"/>
                    <a:gd name="connsiteY28" fmla="*/ 1017888 h 1118228"/>
                    <a:gd name="connsiteX29" fmla="*/ 447215 w 1102352"/>
                    <a:gd name="connsiteY29" fmla="*/ 1009632 h 1118228"/>
                    <a:gd name="connsiteX30" fmla="*/ 473126 w 1102352"/>
                    <a:gd name="connsiteY30" fmla="*/ 968353 h 1118228"/>
                    <a:gd name="connsiteX31" fmla="*/ 653740 w 1102352"/>
                    <a:gd name="connsiteY31" fmla="*/ 814920 h 1118228"/>
                    <a:gd name="connsiteX32" fmla="*/ 657296 w 1102352"/>
                    <a:gd name="connsiteY32" fmla="*/ 800695 h 1118228"/>
                    <a:gd name="connsiteX33" fmla="*/ 577023 w 1102352"/>
                    <a:gd name="connsiteY33" fmla="*/ 330871 h 1118228"/>
                    <a:gd name="connsiteX34" fmla="*/ 567624 w 1102352"/>
                    <a:gd name="connsiteY34" fmla="*/ 321472 h 1118228"/>
                    <a:gd name="connsiteX35" fmla="*/ 234722 w 1102352"/>
                    <a:gd name="connsiteY35" fmla="*/ 321472 h 1118228"/>
                    <a:gd name="connsiteX36" fmla="*/ 226465 w 1102352"/>
                    <a:gd name="connsiteY36" fmla="*/ 330871 h 1118228"/>
                    <a:gd name="connsiteX37" fmla="*/ 226465 w 1102352"/>
                    <a:gd name="connsiteY37" fmla="*/ 441881 h 1118228"/>
                    <a:gd name="connsiteX38" fmla="*/ 234722 w 1102352"/>
                    <a:gd name="connsiteY38" fmla="*/ 451280 h 1118228"/>
                    <a:gd name="connsiteX39" fmla="*/ 455471 w 1102352"/>
                    <a:gd name="connsiteY39" fmla="*/ 451280 h 1118228"/>
                    <a:gd name="connsiteX40" fmla="*/ 503863 w 1102352"/>
                    <a:gd name="connsiteY40" fmla="*/ 471348 h 1118228"/>
                    <a:gd name="connsiteX41" fmla="*/ 522789 w 1102352"/>
                    <a:gd name="connsiteY41" fmla="*/ 519740 h 1118228"/>
                    <a:gd name="connsiteX42" fmla="*/ 512119 w 1102352"/>
                    <a:gd name="connsiteY42" fmla="*/ 793582 h 1118228"/>
                    <a:gd name="connsiteX43" fmla="*/ 484938 w 1102352"/>
                    <a:gd name="connsiteY43" fmla="*/ 902179 h 1118228"/>
                    <a:gd name="connsiteX44" fmla="*/ 401109 w 1102352"/>
                    <a:gd name="connsiteY44" fmla="*/ 950571 h 1118228"/>
                    <a:gd name="connsiteX45" fmla="*/ 331506 w 1102352"/>
                    <a:gd name="connsiteY45" fmla="*/ 954127 h 1118228"/>
                    <a:gd name="connsiteX46" fmla="*/ 280700 w 1102352"/>
                    <a:gd name="connsiteY46" fmla="*/ 935202 h 1118228"/>
                    <a:gd name="connsiteX47" fmla="*/ 249963 w 1102352"/>
                    <a:gd name="connsiteY47" fmla="*/ 885667 h 1118228"/>
                    <a:gd name="connsiteX48" fmla="*/ 248820 w 1102352"/>
                    <a:gd name="connsiteY48" fmla="*/ 883253 h 1118228"/>
                    <a:gd name="connsiteX49" fmla="*/ 247677 w 1102352"/>
                    <a:gd name="connsiteY49" fmla="*/ 869028 h 1118228"/>
                    <a:gd name="connsiteX50" fmla="*/ 255933 w 1102352"/>
                    <a:gd name="connsiteY50" fmla="*/ 841847 h 1118228"/>
                    <a:gd name="connsiteX51" fmla="*/ 290226 w 1102352"/>
                    <a:gd name="connsiteY51" fmla="*/ 822922 h 1118228"/>
                    <a:gd name="connsiteX52" fmla="*/ 291370 w 1102352"/>
                    <a:gd name="connsiteY52" fmla="*/ 822922 h 1118228"/>
                    <a:gd name="connsiteX53" fmla="*/ 326806 w 1102352"/>
                    <a:gd name="connsiteY53" fmla="*/ 824065 h 1118228"/>
                    <a:gd name="connsiteX54" fmla="*/ 362243 w 1102352"/>
                    <a:gd name="connsiteY54" fmla="*/ 809840 h 1118228"/>
                    <a:gd name="connsiteX55" fmla="*/ 383454 w 1102352"/>
                    <a:gd name="connsiteY55" fmla="*/ 591503 h 1118228"/>
                    <a:gd name="connsiteX56" fmla="*/ 374055 w 1102352"/>
                    <a:gd name="connsiteY56" fmla="*/ 582104 h 1118228"/>
                    <a:gd name="connsiteX57" fmla="*/ 234722 w 1102352"/>
                    <a:gd name="connsiteY57" fmla="*/ 582104 h 1118228"/>
                    <a:gd name="connsiteX58" fmla="*/ 225322 w 1102352"/>
                    <a:gd name="connsiteY58" fmla="*/ 591503 h 1118228"/>
                    <a:gd name="connsiteX59" fmla="*/ 130951 w 1102352"/>
                    <a:gd name="connsiteY59" fmla="*/ 1081395 h 1118228"/>
                    <a:gd name="connsiteX60" fmla="*/ 93228 w 1102352"/>
                    <a:gd name="connsiteY60" fmla="*/ 1108576 h 1118228"/>
                    <a:gd name="connsiteX61" fmla="*/ 83829 w 1102352"/>
                    <a:gd name="connsiteY61" fmla="*/ 1109719 h 1118228"/>
                    <a:gd name="connsiteX62" fmla="*/ 46106 w 1102352"/>
                    <a:gd name="connsiteY62" fmla="*/ 1094350 h 1118228"/>
                    <a:gd name="connsiteX63" fmla="*/ 31880 w 1102352"/>
                    <a:gd name="connsiteY63" fmla="*/ 1083681 h 1118228"/>
                    <a:gd name="connsiteX64" fmla="*/ 2413 w 1102352"/>
                    <a:gd name="connsiteY64" fmla="*/ 1037702 h 1118228"/>
                    <a:gd name="connsiteX65" fmla="*/ 0 w 1102352"/>
                    <a:gd name="connsiteY65" fmla="*/ 1016491 h 1118228"/>
                    <a:gd name="connsiteX66" fmla="*/ 7113 w 1102352"/>
                    <a:gd name="connsiteY66" fmla="*/ 982197 h 1118228"/>
                    <a:gd name="connsiteX67" fmla="*/ 75573 w 1102352"/>
                    <a:gd name="connsiteY67" fmla="*/ 531298 h 1118228"/>
                    <a:gd name="connsiteX68" fmla="*/ 75573 w 1102352"/>
                    <a:gd name="connsiteY68" fmla="*/ 248058 h 1118228"/>
                    <a:gd name="connsiteX69" fmla="*/ 95641 w 1102352"/>
                    <a:gd name="connsiteY69" fmla="*/ 199030 h 1118228"/>
                    <a:gd name="connsiteX70" fmla="*/ 145177 w 1102352"/>
                    <a:gd name="connsiteY70" fmla="*/ 178327 h 1118228"/>
                    <a:gd name="connsiteX71" fmla="*/ 559495 w 1102352"/>
                    <a:gd name="connsiteY71" fmla="*/ 178327 h 1118228"/>
                    <a:gd name="connsiteX72" fmla="*/ 567751 w 1102352"/>
                    <a:gd name="connsiteY72" fmla="*/ 170071 h 1118228"/>
                    <a:gd name="connsiteX73" fmla="*/ 564195 w 1102352"/>
                    <a:gd name="connsiteY73" fmla="*/ 67317 h 1118228"/>
                    <a:gd name="connsiteX74" fmla="*/ 584263 w 1102352"/>
                    <a:gd name="connsiteY74" fmla="*/ 20068 h 1118228"/>
                    <a:gd name="connsiteX75" fmla="*/ 632655 w 1102352"/>
                    <a:gd name="connsiteY75" fmla="*/ 0 h 1118228"/>
                    <a:gd name="connsiteX76" fmla="*/ 644468 w 1102352"/>
                    <a:gd name="connsiteY76" fmla="*/ 0 h 1118228"/>
                    <a:gd name="connsiteX77" fmla="*/ 694003 w 1102352"/>
                    <a:gd name="connsiteY77" fmla="*/ 20068 h 1118228"/>
                    <a:gd name="connsiteX78" fmla="*/ 714071 w 1102352"/>
                    <a:gd name="connsiteY78" fmla="*/ 69604 h 1118228"/>
                    <a:gd name="connsiteX79" fmla="*/ 716485 w 1102352"/>
                    <a:gd name="connsiteY79" fmla="*/ 169944 h 1118228"/>
                    <a:gd name="connsiteX80" fmla="*/ 725883 w 1102352"/>
                    <a:gd name="connsiteY80" fmla="*/ 178200 h 1118228"/>
                    <a:gd name="connsiteX81" fmla="*/ 893542 w 1102352"/>
                    <a:gd name="connsiteY81" fmla="*/ 178200 h 1118228"/>
                    <a:gd name="connsiteX82" fmla="*/ 895955 w 1102352"/>
                    <a:gd name="connsiteY82" fmla="*/ 176422 h 1118228"/>
                    <a:gd name="connsiteX83" fmla="*/ 894811 w 1102352"/>
                    <a:gd name="connsiteY83" fmla="*/ 173501 h 1118228"/>
                    <a:gd name="connsiteX84" fmla="*/ 799170 w 1102352"/>
                    <a:gd name="connsiteY84" fmla="*/ 106183 h 1118228"/>
                    <a:gd name="connsiteX85" fmla="*/ 776689 w 1102352"/>
                    <a:gd name="connsiteY85" fmla="*/ 69604 h 1118228"/>
                    <a:gd name="connsiteX86" fmla="*/ 776689 w 1102352"/>
                    <a:gd name="connsiteY86" fmla="*/ 63761 h 1118228"/>
                    <a:gd name="connsiteX87" fmla="*/ 790914 w 1102352"/>
                    <a:gd name="connsiteY87" fmla="*/ 30737 h 1118228"/>
                    <a:gd name="connsiteX88" fmla="*/ 836893 w 1102352"/>
                    <a:gd name="connsiteY88" fmla="*/ 7113 h 1118228"/>
                    <a:gd name="connsiteX89" fmla="*/ 848706 w 1102352"/>
                    <a:gd name="connsiteY89" fmla="*/ 5970 h 1118228"/>
                    <a:gd name="connsiteX90" fmla="*/ 887699 w 1102352"/>
                    <a:gd name="connsiteY90" fmla="*/ 16639 h 1118228"/>
                    <a:gd name="connsiteX91" fmla="*/ 977370 w 1102352"/>
                    <a:gd name="connsiteY91" fmla="*/ 73287 h 1118228"/>
                    <a:gd name="connsiteX92" fmla="*/ 1002138 w 1102352"/>
                    <a:gd name="connsiteY92" fmla="*/ 122822 h 1118228"/>
                    <a:gd name="connsiteX93" fmla="*/ 983213 w 1102352"/>
                    <a:gd name="connsiteY93" fmla="*/ 167658 h 1118228"/>
                    <a:gd name="connsiteX94" fmla="*/ 979657 w 1102352"/>
                    <a:gd name="connsiteY94" fmla="*/ 172358 h 1118228"/>
                    <a:gd name="connsiteX95" fmla="*/ 978514 w 1102352"/>
                    <a:gd name="connsiteY95" fmla="*/ 175914 h 1118228"/>
                    <a:gd name="connsiteX96" fmla="*/ 982070 w 1102352"/>
                    <a:gd name="connsiteY96" fmla="*/ 178327 h 1118228"/>
                    <a:gd name="connsiteX97" fmla="*/ 1029319 w 1102352"/>
                    <a:gd name="connsiteY97" fmla="*/ 178327 h 1118228"/>
                    <a:gd name="connsiteX98" fmla="*/ 1078347 w 1102352"/>
                    <a:gd name="connsiteY98" fmla="*/ 199030 h 1118228"/>
                    <a:gd name="connsiteX99" fmla="*/ 1099050 w 1102352"/>
                    <a:gd name="connsiteY99" fmla="*/ 248058 h 1118228"/>
                    <a:gd name="connsiteX100" fmla="*/ 1099050 w 1102352"/>
                    <a:gd name="connsiteY100" fmla="*/ 251614 h 1118228"/>
                    <a:gd name="connsiteX101" fmla="*/ 1078347 w 1102352"/>
                    <a:gd name="connsiteY101" fmla="*/ 301150 h 1118228"/>
                    <a:gd name="connsiteX102" fmla="*/ 1029319 w 1102352"/>
                    <a:gd name="connsiteY102" fmla="*/ 321218 h 1118228"/>
                    <a:gd name="connsiteX103" fmla="*/ 734266 w 1102352"/>
                    <a:gd name="connsiteY103" fmla="*/ 321218 h 1118228"/>
                    <a:gd name="connsiteX104" fmla="*/ 726011 w 1102352"/>
                    <a:gd name="connsiteY104" fmla="*/ 330617 h 1118228"/>
                    <a:gd name="connsiteX105" fmla="*/ 771989 w 1102352"/>
                    <a:gd name="connsiteY105" fmla="*/ 643452 h 1118228"/>
                    <a:gd name="connsiteX106" fmla="*/ 774403 w 1102352"/>
                    <a:gd name="connsiteY106" fmla="*/ 646373 h 1118228"/>
                    <a:gd name="connsiteX107" fmla="*/ 777959 w 1102352"/>
                    <a:gd name="connsiteY107" fmla="*/ 644595 h 1118228"/>
                    <a:gd name="connsiteX108" fmla="*/ 868901 w 1102352"/>
                    <a:gd name="connsiteY108" fmla="*/ 449883 h 111822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Lst>
                  <a:rect l="l" t="t" r="r" b="b"/>
                  <a:pathLst>
                    <a:path w="1102352" h="1118228">
                      <a:moveTo>
                        <a:pt x="868774" y="449883"/>
                      </a:moveTo>
                      <a:cubicBezTo>
                        <a:pt x="875125" y="431847"/>
                        <a:pt x="886810" y="418002"/>
                        <a:pt x="904211" y="408603"/>
                      </a:cubicBezTo>
                      <a:cubicBezTo>
                        <a:pt x="915261" y="401490"/>
                        <a:pt x="927073" y="397934"/>
                        <a:pt x="939648" y="397934"/>
                      </a:cubicBezTo>
                      <a:cubicBezTo>
                        <a:pt x="945109" y="397934"/>
                        <a:pt x="951079" y="398696"/>
                        <a:pt x="957302" y="400347"/>
                      </a:cubicBezTo>
                      <a:lnTo>
                        <a:pt x="965558" y="402761"/>
                      </a:lnTo>
                      <a:cubicBezTo>
                        <a:pt x="984484" y="407460"/>
                        <a:pt x="998201" y="418129"/>
                        <a:pt x="1006838" y="434641"/>
                      </a:cubicBezTo>
                      <a:cubicBezTo>
                        <a:pt x="1012299" y="444040"/>
                        <a:pt x="1015094" y="453947"/>
                        <a:pt x="1015094" y="464108"/>
                      </a:cubicBezTo>
                      <a:cubicBezTo>
                        <a:pt x="1015094" y="471221"/>
                        <a:pt x="1013950" y="478334"/>
                        <a:pt x="1011537" y="485319"/>
                      </a:cubicBezTo>
                      <a:cubicBezTo>
                        <a:pt x="965050" y="612079"/>
                        <a:pt x="904846" y="725756"/>
                        <a:pt x="830924" y="826478"/>
                      </a:cubicBezTo>
                      <a:cubicBezTo>
                        <a:pt x="827748" y="831178"/>
                        <a:pt x="826986" y="836385"/>
                        <a:pt x="828511" y="841847"/>
                      </a:cubicBezTo>
                      <a:cubicBezTo>
                        <a:pt x="864709" y="928470"/>
                        <a:pt x="901289" y="971655"/>
                        <a:pt x="938250" y="971655"/>
                      </a:cubicBezTo>
                      <a:cubicBezTo>
                        <a:pt x="961113" y="971655"/>
                        <a:pt x="976354" y="924406"/>
                        <a:pt x="984229" y="830035"/>
                      </a:cubicBezTo>
                      <a:cubicBezTo>
                        <a:pt x="984991" y="815809"/>
                        <a:pt x="991723" y="806029"/>
                        <a:pt x="1004298" y="800568"/>
                      </a:cubicBezTo>
                      <a:cubicBezTo>
                        <a:pt x="1009759" y="798154"/>
                        <a:pt x="1014967" y="797011"/>
                        <a:pt x="1019666" y="797011"/>
                      </a:cubicBezTo>
                      <a:cubicBezTo>
                        <a:pt x="1027541" y="797011"/>
                        <a:pt x="1034654" y="799424"/>
                        <a:pt x="1040877" y="804124"/>
                      </a:cubicBezTo>
                      <a:cubicBezTo>
                        <a:pt x="1043291" y="805648"/>
                        <a:pt x="1045577" y="807299"/>
                        <a:pt x="1047990" y="808823"/>
                      </a:cubicBezTo>
                      <a:cubicBezTo>
                        <a:pt x="1066026" y="820636"/>
                        <a:pt x="1080252" y="835623"/>
                        <a:pt x="1090540" y="853659"/>
                      </a:cubicBezTo>
                      <a:cubicBezTo>
                        <a:pt x="1098415" y="866996"/>
                        <a:pt x="1102352" y="881221"/>
                        <a:pt x="1102352" y="896209"/>
                      </a:cubicBezTo>
                      <a:cubicBezTo>
                        <a:pt x="1102352" y="900908"/>
                        <a:pt x="1101971" y="905608"/>
                        <a:pt x="1101209" y="910434"/>
                      </a:cubicBezTo>
                      <a:cubicBezTo>
                        <a:pt x="1088635" y="990707"/>
                        <a:pt x="1069074" y="1045323"/>
                        <a:pt x="1042783" y="1074536"/>
                      </a:cubicBezTo>
                      <a:cubicBezTo>
                        <a:pt x="1016364" y="1103622"/>
                        <a:pt x="977625" y="1118229"/>
                        <a:pt x="926565" y="1118229"/>
                      </a:cubicBezTo>
                      <a:cubicBezTo>
                        <a:pt x="848706" y="1118229"/>
                        <a:pt x="781769" y="1067423"/>
                        <a:pt x="725883" y="965939"/>
                      </a:cubicBezTo>
                      <a:cubicBezTo>
                        <a:pt x="722708" y="961240"/>
                        <a:pt x="719152" y="960859"/>
                        <a:pt x="715214" y="964796"/>
                      </a:cubicBezTo>
                      <a:cubicBezTo>
                        <a:pt x="671903" y="1008870"/>
                        <a:pt x="625543" y="1048625"/>
                        <a:pt x="575880" y="1084062"/>
                      </a:cubicBezTo>
                      <a:cubicBezTo>
                        <a:pt x="563306" y="1092699"/>
                        <a:pt x="549969" y="1097018"/>
                        <a:pt x="535744" y="1097018"/>
                      </a:cubicBezTo>
                      <a:cubicBezTo>
                        <a:pt x="531044" y="1097018"/>
                        <a:pt x="526726" y="1096637"/>
                        <a:pt x="522789" y="1095874"/>
                      </a:cubicBezTo>
                      <a:cubicBezTo>
                        <a:pt x="503101" y="1092699"/>
                        <a:pt x="486971" y="1083681"/>
                        <a:pt x="474396" y="1068693"/>
                      </a:cubicBezTo>
                      <a:cubicBezTo>
                        <a:pt x="470459" y="1063994"/>
                        <a:pt x="466140" y="1059294"/>
                        <a:pt x="461441" y="1054468"/>
                      </a:cubicBezTo>
                      <a:cubicBezTo>
                        <a:pt x="452042" y="1043418"/>
                        <a:pt x="447215" y="1031224"/>
                        <a:pt x="447215" y="1017888"/>
                      </a:cubicBezTo>
                      <a:lnTo>
                        <a:pt x="447215" y="1009632"/>
                      </a:lnTo>
                      <a:cubicBezTo>
                        <a:pt x="449629" y="992358"/>
                        <a:pt x="458265" y="978514"/>
                        <a:pt x="473126" y="968353"/>
                      </a:cubicBezTo>
                      <a:cubicBezTo>
                        <a:pt x="540062" y="925041"/>
                        <a:pt x="600267" y="873981"/>
                        <a:pt x="653740" y="814920"/>
                      </a:cubicBezTo>
                      <a:cubicBezTo>
                        <a:pt x="657677" y="810983"/>
                        <a:pt x="658820" y="806283"/>
                        <a:pt x="657296" y="800695"/>
                      </a:cubicBezTo>
                      <a:cubicBezTo>
                        <a:pt x="621097" y="675586"/>
                        <a:pt x="594297" y="518978"/>
                        <a:pt x="577023" y="330871"/>
                      </a:cubicBezTo>
                      <a:cubicBezTo>
                        <a:pt x="577023" y="324520"/>
                        <a:pt x="573848" y="321472"/>
                        <a:pt x="567624" y="321472"/>
                      </a:cubicBezTo>
                      <a:lnTo>
                        <a:pt x="234722" y="321472"/>
                      </a:lnTo>
                      <a:cubicBezTo>
                        <a:pt x="229260" y="321472"/>
                        <a:pt x="226465" y="324647"/>
                        <a:pt x="226465" y="330871"/>
                      </a:cubicBezTo>
                      <a:lnTo>
                        <a:pt x="226465" y="441881"/>
                      </a:lnTo>
                      <a:cubicBezTo>
                        <a:pt x="226465" y="448231"/>
                        <a:pt x="229260" y="451280"/>
                        <a:pt x="234722" y="451280"/>
                      </a:cubicBezTo>
                      <a:lnTo>
                        <a:pt x="455471" y="451280"/>
                      </a:lnTo>
                      <a:cubicBezTo>
                        <a:pt x="474396" y="451280"/>
                        <a:pt x="490527" y="458011"/>
                        <a:pt x="503863" y="471348"/>
                      </a:cubicBezTo>
                      <a:cubicBezTo>
                        <a:pt x="516438" y="484684"/>
                        <a:pt x="522789" y="500815"/>
                        <a:pt x="522789" y="519740"/>
                      </a:cubicBezTo>
                      <a:cubicBezTo>
                        <a:pt x="522789" y="625924"/>
                        <a:pt x="519232" y="717246"/>
                        <a:pt x="512119" y="793582"/>
                      </a:cubicBezTo>
                      <a:cubicBezTo>
                        <a:pt x="507420" y="848706"/>
                        <a:pt x="498402" y="884905"/>
                        <a:pt x="484938" y="902179"/>
                      </a:cubicBezTo>
                      <a:cubicBezTo>
                        <a:pt x="466013" y="928089"/>
                        <a:pt x="438070" y="944347"/>
                        <a:pt x="401109" y="950571"/>
                      </a:cubicBezTo>
                      <a:cubicBezTo>
                        <a:pt x="385360" y="952984"/>
                        <a:pt x="362116" y="954127"/>
                        <a:pt x="331506" y="954127"/>
                      </a:cubicBezTo>
                      <a:cubicBezTo>
                        <a:pt x="312581" y="954127"/>
                        <a:pt x="295688" y="947776"/>
                        <a:pt x="280700" y="935202"/>
                      </a:cubicBezTo>
                      <a:cubicBezTo>
                        <a:pt x="265713" y="921866"/>
                        <a:pt x="255552" y="905354"/>
                        <a:pt x="249963" y="885667"/>
                      </a:cubicBezTo>
                      <a:cubicBezTo>
                        <a:pt x="249963" y="884905"/>
                        <a:pt x="249582" y="884143"/>
                        <a:pt x="248820" y="883253"/>
                      </a:cubicBezTo>
                      <a:cubicBezTo>
                        <a:pt x="248058" y="878554"/>
                        <a:pt x="247677" y="873854"/>
                        <a:pt x="247677" y="869028"/>
                      </a:cubicBezTo>
                      <a:cubicBezTo>
                        <a:pt x="247677" y="859629"/>
                        <a:pt x="250471" y="850484"/>
                        <a:pt x="255933" y="841847"/>
                      </a:cubicBezTo>
                      <a:cubicBezTo>
                        <a:pt x="264569" y="829273"/>
                        <a:pt x="276001" y="822922"/>
                        <a:pt x="290226" y="822922"/>
                      </a:cubicBezTo>
                      <a:lnTo>
                        <a:pt x="291370" y="822922"/>
                      </a:lnTo>
                      <a:cubicBezTo>
                        <a:pt x="305595" y="823684"/>
                        <a:pt x="317280" y="824065"/>
                        <a:pt x="326806" y="824065"/>
                      </a:cubicBezTo>
                      <a:cubicBezTo>
                        <a:pt x="343318" y="824065"/>
                        <a:pt x="355130" y="819366"/>
                        <a:pt x="362243" y="809840"/>
                      </a:cubicBezTo>
                      <a:cubicBezTo>
                        <a:pt x="372404" y="794852"/>
                        <a:pt x="379517" y="722073"/>
                        <a:pt x="383454" y="591503"/>
                      </a:cubicBezTo>
                      <a:cubicBezTo>
                        <a:pt x="383454" y="585152"/>
                        <a:pt x="380279" y="582104"/>
                        <a:pt x="374055" y="582104"/>
                      </a:cubicBezTo>
                      <a:lnTo>
                        <a:pt x="234722" y="582104"/>
                      </a:lnTo>
                      <a:cubicBezTo>
                        <a:pt x="229260" y="582104"/>
                        <a:pt x="226084" y="585279"/>
                        <a:pt x="225322" y="591503"/>
                      </a:cubicBezTo>
                      <a:cubicBezTo>
                        <a:pt x="218972" y="801584"/>
                        <a:pt x="187599" y="964923"/>
                        <a:pt x="130951" y="1081395"/>
                      </a:cubicBezTo>
                      <a:cubicBezTo>
                        <a:pt x="123838" y="1097145"/>
                        <a:pt x="111264" y="1106163"/>
                        <a:pt x="93228" y="1108576"/>
                      </a:cubicBezTo>
                      <a:cubicBezTo>
                        <a:pt x="90053" y="1109338"/>
                        <a:pt x="86877" y="1109719"/>
                        <a:pt x="83829" y="1109719"/>
                      </a:cubicBezTo>
                      <a:cubicBezTo>
                        <a:pt x="69603" y="1109719"/>
                        <a:pt x="57029" y="1104638"/>
                        <a:pt x="46106" y="1094350"/>
                      </a:cubicBezTo>
                      <a:cubicBezTo>
                        <a:pt x="41406" y="1091175"/>
                        <a:pt x="36707" y="1087619"/>
                        <a:pt x="31880" y="1083681"/>
                      </a:cubicBezTo>
                      <a:cubicBezTo>
                        <a:pt x="16893" y="1071869"/>
                        <a:pt x="7113" y="1056500"/>
                        <a:pt x="2413" y="1037702"/>
                      </a:cubicBezTo>
                      <a:cubicBezTo>
                        <a:pt x="889" y="1030589"/>
                        <a:pt x="0" y="1023477"/>
                        <a:pt x="0" y="1016491"/>
                      </a:cubicBezTo>
                      <a:cubicBezTo>
                        <a:pt x="0" y="1005441"/>
                        <a:pt x="2413" y="994009"/>
                        <a:pt x="7113" y="982197"/>
                      </a:cubicBezTo>
                      <a:cubicBezTo>
                        <a:pt x="52711" y="880713"/>
                        <a:pt x="75573" y="730329"/>
                        <a:pt x="75573" y="531298"/>
                      </a:cubicBezTo>
                      <a:lnTo>
                        <a:pt x="75573" y="248058"/>
                      </a:lnTo>
                      <a:cubicBezTo>
                        <a:pt x="75573" y="229133"/>
                        <a:pt x="82305" y="212875"/>
                        <a:pt x="95641" y="199030"/>
                      </a:cubicBezTo>
                      <a:cubicBezTo>
                        <a:pt x="108978" y="185313"/>
                        <a:pt x="125490" y="178327"/>
                        <a:pt x="145177" y="178327"/>
                      </a:cubicBezTo>
                      <a:lnTo>
                        <a:pt x="559495" y="178327"/>
                      </a:lnTo>
                      <a:cubicBezTo>
                        <a:pt x="564957" y="178327"/>
                        <a:pt x="567751" y="175533"/>
                        <a:pt x="567751" y="170071"/>
                      </a:cubicBezTo>
                      <a:cubicBezTo>
                        <a:pt x="565338" y="111899"/>
                        <a:pt x="564195" y="77605"/>
                        <a:pt x="564195" y="67317"/>
                      </a:cubicBezTo>
                      <a:cubicBezTo>
                        <a:pt x="564195" y="49281"/>
                        <a:pt x="570926" y="33532"/>
                        <a:pt x="584263" y="20068"/>
                      </a:cubicBezTo>
                      <a:cubicBezTo>
                        <a:pt x="597599" y="6732"/>
                        <a:pt x="613730" y="0"/>
                        <a:pt x="632655" y="0"/>
                      </a:cubicBezTo>
                      <a:lnTo>
                        <a:pt x="644468" y="0"/>
                      </a:lnTo>
                      <a:cubicBezTo>
                        <a:pt x="664155" y="0"/>
                        <a:pt x="680667" y="6732"/>
                        <a:pt x="694003" y="20068"/>
                      </a:cubicBezTo>
                      <a:cubicBezTo>
                        <a:pt x="707339" y="33405"/>
                        <a:pt x="714071" y="49916"/>
                        <a:pt x="714071" y="69604"/>
                      </a:cubicBezTo>
                      <a:cubicBezTo>
                        <a:pt x="714071" y="100341"/>
                        <a:pt x="714833" y="133745"/>
                        <a:pt x="716485" y="169944"/>
                      </a:cubicBezTo>
                      <a:cubicBezTo>
                        <a:pt x="716485" y="175406"/>
                        <a:pt x="719660" y="178200"/>
                        <a:pt x="725883" y="178200"/>
                      </a:cubicBezTo>
                      <a:lnTo>
                        <a:pt x="893542" y="178200"/>
                      </a:lnTo>
                      <a:cubicBezTo>
                        <a:pt x="894304" y="178200"/>
                        <a:pt x="895066" y="177565"/>
                        <a:pt x="895955" y="176422"/>
                      </a:cubicBezTo>
                      <a:cubicBezTo>
                        <a:pt x="896717" y="175279"/>
                        <a:pt x="896336" y="174263"/>
                        <a:pt x="894811" y="173501"/>
                      </a:cubicBezTo>
                      <a:cubicBezTo>
                        <a:pt x="869663" y="153052"/>
                        <a:pt x="837782" y="130570"/>
                        <a:pt x="799170" y="106183"/>
                      </a:cubicBezTo>
                      <a:cubicBezTo>
                        <a:pt x="785834" y="97547"/>
                        <a:pt x="778340" y="85353"/>
                        <a:pt x="776689" y="69604"/>
                      </a:cubicBezTo>
                      <a:lnTo>
                        <a:pt x="776689" y="63761"/>
                      </a:lnTo>
                      <a:cubicBezTo>
                        <a:pt x="776689" y="51187"/>
                        <a:pt x="781388" y="40136"/>
                        <a:pt x="790914" y="30737"/>
                      </a:cubicBezTo>
                      <a:cubicBezTo>
                        <a:pt x="803489" y="17401"/>
                        <a:pt x="818858" y="9526"/>
                        <a:pt x="836893" y="7113"/>
                      </a:cubicBezTo>
                      <a:cubicBezTo>
                        <a:pt x="840831" y="6351"/>
                        <a:pt x="844768" y="5970"/>
                        <a:pt x="848706" y="5970"/>
                      </a:cubicBezTo>
                      <a:cubicBezTo>
                        <a:pt x="862931" y="5970"/>
                        <a:pt x="875887" y="9526"/>
                        <a:pt x="887699" y="16639"/>
                      </a:cubicBezTo>
                      <a:cubicBezTo>
                        <a:pt x="919960" y="35564"/>
                        <a:pt x="949809" y="54362"/>
                        <a:pt x="977370" y="73287"/>
                      </a:cubicBezTo>
                      <a:cubicBezTo>
                        <a:pt x="993882" y="85099"/>
                        <a:pt x="1002138" y="101611"/>
                        <a:pt x="1002138" y="122822"/>
                      </a:cubicBezTo>
                      <a:cubicBezTo>
                        <a:pt x="1002138" y="140096"/>
                        <a:pt x="995788" y="155084"/>
                        <a:pt x="983213" y="167658"/>
                      </a:cubicBezTo>
                      <a:lnTo>
                        <a:pt x="979657" y="172358"/>
                      </a:lnTo>
                      <a:cubicBezTo>
                        <a:pt x="978133" y="173120"/>
                        <a:pt x="977625" y="174390"/>
                        <a:pt x="978514" y="175914"/>
                      </a:cubicBezTo>
                      <a:cubicBezTo>
                        <a:pt x="979276" y="177438"/>
                        <a:pt x="980419" y="178327"/>
                        <a:pt x="982070" y="178327"/>
                      </a:cubicBezTo>
                      <a:lnTo>
                        <a:pt x="1029319" y="178327"/>
                      </a:lnTo>
                      <a:cubicBezTo>
                        <a:pt x="1048244" y="178327"/>
                        <a:pt x="1064502" y="185186"/>
                        <a:pt x="1078347" y="199030"/>
                      </a:cubicBezTo>
                      <a:cubicBezTo>
                        <a:pt x="1092064" y="212748"/>
                        <a:pt x="1099050" y="229133"/>
                        <a:pt x="1099050" y="248058"/>
                      </a:cubicBezTo>
                      <a:lnTo>
                        <a:pt x="1099050" y="251614"/>
                      </a:lnTo>
                      <a:cubicBezTo>
                        <a:pt x="1099050" y="271301"/>
                        <a:pt x="1092191" y="287813"/>
                        <a:pt x="1078347" y="301150"/>
                      </a:cubicBezTo>
                      <a:cubicBezTo>
                        <a:pt x="1064629" y="314486"/>
                        <a:pt x="1048244" y="321218"/>
                        <a:pt x="1029319" y="321218"/>
                      </a:cubicBezTo>
                      <a:lnTo>
                        <a:pt x="734266" y="321218"/>
                      </a:lnTo>
                      <a:cubicBezTo>
                        <a:pt x="728805" y="321218"/>
                        <a:pt x="726011" y="324393"/>
                        <a:pt x="726011" y="330617"/>
                      </a:cubicBezTo>
                      <a:cubicBezTo>
                        <a:pt x="737061" y="443151"/>
                        <a:pt x="752302" y="547429"/>
                        <a:pt x="771989" y="643452"/>
                      </a:cubicBezTo>
                      <a:cubicBezTo>
                        <a:pt x="771989" y="644976"/>
                        <a:pt x="772751" y="645992"/>
                        <a:pt x="774403" y="646373"/>
                      </a:cubicBezTo>
                      <a:cubicBezTo>
                        <a:pt x="775927" y="646754"/>
                        <a:pt x="777197" y="646246"/>
                        <a:pt x="777959" y="644595"/>
                      </a:cubicBezTo>
                      <a:cubicBezTo>
                        <a:pt x="814158" y="582485"/>
                        <a:pt x="844387" y="517454"/>
                        <a:pt x="868901" y="449883"/>
                      </a:cubicBezTo>
                      <a:close/>
                    </a:path>
                  </a:pathLst>
                </a:custGeom>
                <a:solidFill>
                  <a:schemeClr val="bg1"/>
                </a:solidFill>
                <a:ln w="0" cap="flat">
                  <a:noFill/>
                  <a:prstDash val="solid"/>
                  <a:miter/>
                </a:ln>
              </p:spPr>
              <p:txBody>
                <a:bodyPr rtlCol="0" anchor="ctr"/>
                <a:lstStyle/>
                <a:p>
                  <a:endParaRPr lang="ja-JP" altLang="en-US"/>
                </a:p>
              </p:txBody>
            </p:sp>
            <p:grpSp>
              <p:nvGrpSpPr>
                <p:cNvPr id="169" name="グループ化 168">
                  <a:extLst>
                    <a:ext uri="{FF2B5EF4-FFF2-40B4-BE49-F238E27FC236}">
                      <a16:creationId xmlns:a16="http://schemas.microsoft.com/office/drawing/2014/main" id="{B1C1318A-08F7-2A88-7A2B-9B5A70300524}"/>
                    </a:ext>
                  </a:extLst>
                </p:cNvPr>
                <p:cNvGrpSpPr/>
                <p:nvPr/>
              </p:nvGrpSpPr>
              <p:grpSpPr>
                <a:xfrm>
                  <a:off x="6056426" y="2952900"/>
                  <a:ext cx="2242796" cy="1437822"/>
                  <a:chOff x="6110856" y="2989867"/>
                  <a:chExt cx="2242796" cy="1437822"/>
                </a:xfrm>
              </p:grpSpPr>
              <p:sp>
                <p:nvSpPr>
                  <p:cNvPr id="166" name="フリーフォーム: 図形 165">
                    <a:extLst>
                      <a:ext uri="{FF2B5EF4-FFF2-40B4-BE49-F238E27FC236}">
                        <a16:creationId xmlns:a16="http://schemas.microsoft.com/office/drawing/2014/main" id="{8C1DAE8A-F6F7-06FA-7891-A9431F2DEB75}"/>
                      </a:ext>
                    </a:extLst>
                  </p:cNvPr>
                  <p:cNvSpPr/>
                  <p:nvPr/>
                </p:nvSpPr>
                <p:spPr>
                  <a:xfrm>
                    <a:off x="6110856" y="2989867"/>
                    <a:ext cx="1191123" cy="1437822"/>
                  </a:xfrm>
                  <a:custGeom>
                    <a:avLst/>
                    <a:gdLst>
                      <a:gd name="connsiteX0" fmla="*/ 579909 w 617192"/>
                      <a:gd name="connsiteY0" fmla="*/ 745021 h 745021"/>
                      <a:gd name="connsiteX1" fmla="*/ 548598 w 617192"/>
                      <a:gd name="connsiteY1" fmla="*/ 720650 h 745021"/>
                      <a:gd name="connsiteX2" fmla="*/ 489364 w 617192"/>
                      <a:gd name="connsiteY2" fmla="*/ 533588 h 745021"/>
                      <a:gd name="connsiteX3" fmla="*/ 130088 w 617192"/>
                      <a:gd name="connsiteY3" fmla="*/ 533588 h 745021"/>
                      <a:gd name="connsiteX4" fmla="*/ 69725 w 617192"/>
                      <a:gd name="connsiteY4" fmla="*/ 720650 h 745021"/>
                      <a:gd name="connsiteX5" fmla="*/ 35992 w 617192"/>
                      <a:gd name="connsiteY5" fmla="*/ 745021 h 745021"/>
                      <a:gd name="connsiteX6" fmla="*/ 0 w 617192"/>
                      <a:gd name="connsiteY6" fmla="*/ 710159 h 745021"/>
                      <a:gd name="connsiteX7" fmla="*/ 2260 w 617192"/>
                      <a:gd name="connsiteY7" fmla="*/ 698538 h 745021"/>
                      <a:gd name="connsiteX8" fmla="*/ 218535 w 617192"/>
                      <a:gd name="connsiteY8" fmla="*/ 25501 h 745021"/>
                      <a:gd name="connsiteX9" fmla="*/ 252268 w 617192"/>
                      <a:gd name="connsiteY9" fmla="*/ 0 h 745021"/>
                      <a:gd name="connsiteX10" fmla="*/ 369605 w 617192"/>
                      <a:gd name="connsiteY10" fmla="*/ 0 h 745021"/>
                      <a:gd name="connsiteX11" fmla="*/ 403338 w 617192"/>
                      <a:gd name="connsiteY11" fmla="*/ 25501 h 745021"/>
                      <a:gd name="connsiteX12" fmla="*/ 616063 w 617192"/>
                      <a:gd name="connsiteY12" fmla="*/ 698377 h 745021"/>
                      <a:gd name="connsiteX13" fmla="*/ 617193 w 617192"/>
                      <a:gd name="connsiteY13" fmla="*/ 708868 h 745021"/>
                      <a:gd name="connsiteX14" fmla="*/ 580071 w 617192"/>
                      <a:gd name="connsiteY14" fmla="*/ 744860 h 745021"/>
                      <a:gd name="connsiteX15" fmla="*/ 342813 w 617192"/>
                      <a:gd name="connsiteY15" fmla="*/ 70855 h 745021"/>
                      <a:gd name="connsiteX16" fmla="*/ 277769 w 617192"/>
                      <a:gd name="connsiteY16" fmla="*/ 70855 h 745021"/>
                      <a:gd name="connsiteX17" fmla="*/ 152200 w 617192"/>
                      <a:gd name="connsiteY17" fmla="*/ 462572 h 745021"/>
                      <a:gd name="connsiteX18" fmla="*/ 467091 w 617192"/>
                      <a:gd name="connsiteY18" fmla="*/ 462572 h 745021"/>
                      <a:gd name="connsiteX19" fmla="*/ 342813 w 617192"/>
                      <a:gd name="connsiteY19" fmla="*/ 70855 h 74502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617192" h="745021">
                        <a:moveTo>
                          <a:pt x="579909" y="745021"/>
                        </a:moveTo>
                        <a:cubicBezTo>
                          <a:pt x="568288" y="745021"/>
                          <a:pt x="553117" y="736951"/>
                          <a:pt x="548598" y="720650"/>
                        </a:cubicBezTo>
                        <a:lnTo>
                          <a:pt x="489364" y="533588"/>
                        </a:lnTo>
                        <a:lnTo>
                          <a:pt x="130088" y="533588"/>
                        </a:lnTo>
                        <a:lnTo>
                          <a:pt x="69725" y="720650"/>
                        </a:lnTo>
                        <a:cubicBezTo>
                          <a:pt x="65044" y="734530"/>
                          <a:pt x="50034" y="745021"/>
                          <a:pt x="35992" y="745021"/>
                        </a:cubicBezTo>
                        <a:cubicBezTo>
                          <a:pt x="13880" y="745021"/>
                          <a:pt x="0" y="728720"/>
                          <a:pt x="0" y="710159"/>
                        </a:cubicBezTo>
                        <a:cubicBezTo>
                          <a:pt x="0" y="706608"/>
                          <a:pt x="1130" y="702089"/>
                          <a:pt x="2260" y="698538"/>
                        </a:cubicBezTo>
                        <a:lnTo>
                          <a:pt x="218535" y="25501"/>
                        </a:lnTo>
                        <a:cubicBezTo>
                          <a:pt x="223216" y="10330"/>
                          <a:pt x="237096" y="0"/>
                          <a:pt x="252268" y="0"/>
                        </a:cubicBezTo>
                        <a:lnTo>
                          <a:pt x="369605" y="0"/>
                        </a:lnTo>
                        <a:cubicBezTo>
                          <a:pt x="384777" y="0"/>
                          <a:pt x="398657" y="10491"/>
                          <a:pt x="403338" y="25501"/>
                        </a:cubicBezTo>
                        <a:lnTo>
                          <a:pt x="616063" y="698377"/>
                        </a:lnTo>
                        <a:cubicBezTo>
                          <a:pt x="617193" y="701928"/>
                          <a:pt x="617193" y="705317"/>
                          <a:pt x="617193" y="708868"/>
                        </a:cubicBezTo>
                        <a:cubicBezTo>
                          <a:pt x="617193" y="727429"/>
                          <a:pt x="602021" y="744860"/>
                          <a:pt x="580071" y="744860"/>
                        </a:cubicBezTo>
                        <a:close/>
                        <a:moveTo>
                          <a:pt x="342813" y="70855"/>
                        </a:moveTo>
                        <a:lnTo>
                          <a:pt x="277769" y="70855"/>
                        </a:lnTo>
                        <a:lnTo>
                          <a:pt x="152200" y="462572"/>
                        </a:lnTo>
                        <a:lnTo>
                          <a:pt x="467091" y="462572"/>
                        </a:lnTo>
                        <a:lnTo>
                          <a:pt x="342813" y="70855"/>
                        </a:lnTo>
                        <a:close/>
                      </a:path>
                    </a:pathLst>
                  </a:custGeom>
                  <a:solidFill>
                    <a:schemeClr val="bg1"/>
                  </a:solidFill>
                  <a:ln w="111125" cap="rnd">
                    <a:solidFill>
                      <a:schemeClr val="bg1"/>
                    </a:solidFill>
                    <a:prstDash val="solid"/>
                    <a:round/>
                  </a:ln>
                </p:spPr>
                <p:txBody>
                  <a:bodyPr rtlCol="0" anchor="ctr"/>
                  <a:lstStyle/>
                  <a:p>
                    <a:endParaRPr lang="ja-JP" altLang="en-US"/>
                  </a:p>
                </p:txBody>
              </p:sp>
              <p:sp>
                <p:nvSpPr>
                  <p:cNvPr id="167" name="フリーフォーム: 図形 166">
                    <a:extLst>
                      <a:ext uri="{FF2B5EF4-FFF2-40B4-BE49-F238E27FC236}">
                        <a16:creationId xmlns:a16="http://schemas.microsoft.com/office/drawing/2014/main" id="{C7756DC8-5829-3E73-1D7E-EA42D5680D43}"/>
                      </a:ext>
                    </a:extLst>
                  </p:cNvPr>
                  <p:cNvSpPr/>
                  <p:nvPr/>
                </p:nvSpPr>
                <p:spPr>
                  <a:xfrm>
                    <a:off x="7648415" y="2989867"/>
                    <a:ext cx="705237" cy="1437822"/>
                  </a:xfrm>
                  <a:custGeom>
                    <a:avLst/>
                    <a:gdLst>
                      <a:gd name="connsiteX0" fmla="*/ 323122 w 357984"/>
                      <a:gd name="connsiteY0" fmla="*/ 729850 h 729849"/>
                      <a:gd name="connsiteX1" fmla="*/ 35992 w 357984"/>
                      <a:gd name="connsiteY1" fmla="*/ 729850 h 729849"/>
                      <a:gd name="connsiteX2" fmla="*/ 0 w 357984"/>
                      <a:gd name="connsiteY2" fmla="*/ 694988 h 729849"/>
                      <a:gd name="connsiteX3" fmla="*/ 35992 w 357984"/>
                      <a:gd name="connsiteY3" fmla="*/ 658995 h 729849"/>
                      <a:gd name="connsiteX4" fmla="*/ 142839 w 357984"/>
                      <a:gd name="connsiteY4" fmla="*/ 658995 h 729849"/>
                      <a:gd name="connsiteX5" fmla="*/ 142839 w 357984"/>
                      <a:gd name="connsiteY5" fmla="*/ 70855 h 729849"/>
                      <a:gd name="connsiteX6" fmla="*/ 35992 w 357984"/>
                      <a:gd name="connsiteY6" fmla="*/ 70855 h 729849"/>
                      <a:gd name="connsiteX7" fmla="*/ 0 w 357984"/>
                      <a:gd name="connsiteY7" fmla="*/ 35992 h 729849"/>
                      <a:gd name="connsiteX8" fmla="*/ 35992 w 357984"/>
                      <a:gd name="connsiteY8" fmla="*/ 0 h 729849"/>
                      <a:gd name="connsiteX9" fmla="*/ 323122 w 357984"/>
                      <a:gd name="connsiteY9" fmla="*/ 0 h 729849"/>
                      <a:gd name="connsiteX10" fmla="*/ 357985 w 357984"/>
                      <a:gd name="connsiteY10" fmla="*/ 35992 h 729849"/>
                      <a:gd name="connsiteX11" fmla="*/ 323122 w 357984"/>
                      <a:gd name="connsiteY11" fmla="*/ 70855 h 729849"/>
                      <a:gd name="connsiteX12" fmla="*/ 213855 w 357984"/>
                      <a:gd name="connsiteY12" fmla="*/ 70855 h 729849"/>
                      <a:gd name="connsiteX13" fmla="*/ 213855 w 357984"/>
                      <a:gd name="connsiteY13" fmla="*/ 658995 h 729849"/>
                      <a:gd name="connsiteX14" fmla="*/ 323122 w 357984"/>
                      <a:gd name="connsiteY14" fmla="*/ 658995 h 729849"/>
                      <a:gd name="connsiteX15" fmla="*/ 357985 w 357984"/>
                      <a:gd name="connsiteY15" fmla="*/ 694988 h 729849"/>
                      <a:gd name="connsiteX16" fmla="*/ 323122 w 357984"/>
                      <a:gd name="connsiteY16" fmla="*/ 729850 h 7298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357984" h="729849">
                        <a:moveTo>
                          <a:pt x="323122" y="729850"/>
                        </a:moveTo>
                        <a:lnTo>
                          <a:pt x="35992" y="729850"/>
                        </a:lnTo>
                        <a:cubicBezTo>
                          <a:pt x="16301" y="729850"/>
                          <a:pt x="0" y="713548"/>
                          <a:pt x="0" y="694988"/>
                        </a:cubicBezTo>
                        <a:cubicBezTo>
                          <a:pt x="0" y="675297"/>
                          <a:pt x="16301" y="658995"/>
                          <a:pt x="35992" y="658995"/>
                        </a:cubicBezTo>
                        <a:lnTo>
                          <a:pt x="142839" y="658995"/>
                        </a:lnTo>
                        <a:lnTo>
                          <a:pt x="142839" y="70855"/>
                        </a:lnTo>
                        <a:lnTo>
                          <a:pt x="35992" y="70855"/>
                        </a:lnTo>
                        <a:cubicBezTo>
                          <a:pt x="16301" y="70855"/>
                          <a:pt x="0" y="55683"/>
                          <a:pt x="0" y="35992"/>
                        </a:cubicBezTo>
                        <a:cubicBezTo>
                          <a:pt x="0" y="16301"/>
                          <a:pt x="16301" y="0"/>
                          <a:pt x="35992" y="0"/>
                        </a:cubicBezTo>
                        <a:lnTo>
                          <a:pt x="323122" y="0"/>
                        </a:lnTo>
                        <a:cubicBezTo>
                          <a:pt x="342813" y="0"/>
                          <a:pt x="357985" y="16301"/>
                          <a:pt x="357985" y="35992"/>
                        </a:cubicBezTo>
                        <a:cubicBezTo>
                          <a:pt x="357985" y="55683"/>
                          <a:pt x="342813" y="70855"/>
                          <a:pt x="323122" y="70855"/>
                        </a:cubicBezTo>
                        <a:lnTo>
                          <a:pt x="213855" y="70855"/>
                        </a:lnTo>
                        <a:lnTo>
                          <a:pt x="213855" y="658995"/>
                        </a:lnTo>
                        <a:lnTo>
                          <a:pt x="323122" y="658995"/>
                        </a:lnTo>
                        <a:cubicBezTo>
                          <a:pt x="342813" y="658995"/>
                          <a:pt x="357985" y="675297"/>
                          <a:pt x="357985" y="694988"/>
                        </a:cubicBezTo>
                        <a:cubicBezTo>
                          <a:pt x="357985" y="713548"/>
                          <a:pt x="342813" y="729850"/>
                          <a:pt x="323122" y="729850"/>
                        </a:cubicBezTo>
                        <a:close/>
                      </a:path>
                    </a:pathLst>
                  </a:custGeom>
                  <a:solidFill>
                    <a:schemeClr val="bg1"/>
                  </a:solidFill>
                  <a:ln w="111125" cap="rnd">
                    <a:solidFill>
                      <a:schemeClr val="bg1"/>
                    </a:solidFill>
                    <a:prstDash val="solid"/>
                    <a:round/>
                  </a:ln>
                </p:spPr>
                <p:txBody>
                  <a:bodyPr rtlCol="0" anchor="ctr"/>
                  <a:lstStyle/>
                  <a:p>
                    <a:endParaRPr lang="ja-JP" altLang="en-US"/>
                  </a:p>
                </p:txBody>
              </p:sp>
            </p:grpSp>
          </p:grpSp>
        </p:grpSp>
      </p:grpSp>
      <p:sp>
        <p:nvSpPr>
          <p:cNvPr id="2" name="テキスト ボックス 1">
            <a:extLst>
              <a:ext uri="{FF2B5EF4-FFF2-40B4-BE49-F238E27FC236}">
                <a16:creationId xmlns:a16="http://schemas.microsoft.com/office/drawing/2014/main" id="{BBEE4EFE-7025-9405-3D4A-CB9419F5B288}"/>
              </a:ext>
            </a:extLst>
          </p:cNvPr>
          <p:cNvSpPr txBox="1"/>
          <p:nvPr/>
        </p:nvSpPr>
        <p:spPr>
          <a:xfrm>
            <a:off x="7714233" y="6179264"/>
            <a:ext cx="1210268" cy="486672"/>
          </a:xfrm>
          <a:prstGeom prst="rect">
            <a:avLst/>
          </a:prstGeom>
          <a:noFill/>
        </p:spPr>
        <p:txBody>
          <a:bodyPr wrap="none" lIns="0" tIns="0" rIns="0" bIns="0" rtlCol="0" anchor="b">
            <a:spAutoFit/>
          </a:bodyPr>
          <a:lstStyle/>
          <a:p>
            <a:pPr algn="r">
              <a:lnSpc>
                <a:spcPct val="120000"/>
              </a:lnSpc>
            </a:pPr>
            <a:r>
              <a:rPr kumimoji="1" lang="en-US" altLang="ja-JP" sz="2800" spc="100" dirty="0">
                <a:solidFill>
                  <a:schemeClr val="bg1"/>
                </a:solidFill>
                <a:ea typeface="+mj-ea"/>
              </a:rPr>
              <a:t>ver1.0</a:t>
            </a:r>
            <a:endParaRPr kumimoji="1" lang="ja-JP" altLang="en-US" sz="2800" spc="100" dirty="0">
              <a:solidFill>
                <a:schemeClr val="bg1"/>
              </a:solidFill>
              <a:ea typeface="+mj-ea"/>
            </a:endParaRPr>
          </a:p>
        </p:txBody>
      </p:sp>
    </p:spTree>
    <p:extLst>
      <p:ext uri="{BB962C8B-B14F-4D97-AF65-F5344CB8AC3E}">
        <p14:creationId xmlns:p14="http://schemas.microsoft.com/office/powerpoint/2010/main" val="134219308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91EF58D5-5DE2-D7D9-CBED-22C84C722EA4}"/>
              </a:ext>
            </a:extLst>
          </p:cNvPr>
          <p:cNvSpPr>
            <a:spLocks noGrp="1"/>
          </p:cNvSpPr>
          <p:nvPr>
            <p:ph type="title"/>
          </p:nvPr>
        </p:nvSpPr>
        <p:spPr>
          <a:xfrm>
            <a:off x="891741" y="506301"/>
            <a:ext cx="3848811" cy="492443"/>
          </a:xfrm>
        </p:spPr>
        <p:txBody>
          <a:bodyPr/>
          <a:lstStyle/>
          <a:p>
            <a:r>
              <a:rPr lang="ja-JP" altLang="en-US" dirty="0"/>
              <a:t>生成</a:t>
            </a:r>
            <a:r>
              <a:rPr lang="en-US" altLang="ja-JP" dirty="0"/>
              <a:t>AI</a:t>
            </a:r>
            <a:r>
              <a:rPr lang="ja-JP" altLang="en-US" dirty="0"/>
              <a:t>は急速に普及</a:t>
            </a:r>
          </a:p>
        </p:txBody>
      </p:sp>
      <p:sp>
        <p:nvSpPr>
          <p:cNvPr id="3" name="テキスト ボックス 2">
            <a:extLst>
              <a:ext uri="{FF2B5EF4-FFF2-40B4-BE49-F238E27FC236}">
                <a16:creationId xmlns:a16="http://schemas.microsoft.com/office/drawing/2014/main" id="{F7FA691A-7C18-C83D-46E8-F2F1A242B049}"/>
              </a:ext>
            </a:extLst>
          </p:cNvPr>
          <p:cNvSpPr txBox="1"/>
          <p:nvPr/>
        </p:nvSpPr>
        <p:spPr>
          <a:xfrm>
            <a:off x="372103" y="9832817"/>
            <a:ext cx="1691169"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s: Reuters</a:t>
            </a:r>
          </a:p>
        </p:txBody>
      </p:sp>
      <p:sp>
        <p:nvSpPr>
          <p:cNvPr id="11" name="Oval 47">
            <a:extLst>
              <a:ext uri="{FF2B5EF4-FFF2-40B4-BE49-F238E27FC236}">
                <a16:creationId xmlns:a16="http://schemas.microsoft.com/office/drawing/2014/main" id="{DF8066AB-14E8-74E9-23BF-30C830FCDB72}"/>
              </a:ext>
            </a:extLst>
          </p:cNvPr>
          <p:cNvSpPr/>
          <p:nvPr/>
        </p:nvSpPr>
        <p:spPr>
          <a:xfrm>
            <a:off x="8614584" y="5352276"/>
            <a:ext cx="1058833" cy="1059243"/>
          </a:xfrm>
          <a:prstGeom prst="ellipse">
            <a:avLst/>
          </a:prstGeom>
          <a:solidFill>
            <a:schemeClr val="bg1"/>
          </a:solidFill>
          <a:ln w="9525" cap="rnd" cmpd="sng" algn="ctr">
            <a:noFill/>
            <a:prstDash val="solid"/>
            <a:round/>
            <a:headEnd type="none" w="med" len="med"/>
            <a:tailEnd type="none" w="med" len="med"/>
          </a:ln>
          <a:effectLst/>
        </p:spPr>
        <p:txBody>
          <a:bodyPr rot="0" spcFirstLastPara="0" vertOverflow="overflow" horzOverflow="overflow" vert="horz" wrap="none" lIns="0" tIns="36000" rIns="0" bIns="0" numCol="1" spcCol="0" rtlCol="0" fromWordArt="0" anchor="ctr" anchorCtr="0" forceAA="0" compatLnSpc="1">
            <a:prstTxWarp prst="textNoShape">
              <a:avLst/>
            </a:prstTxWarp>
            <a:noAutofit/>
          </a:bodyPr>
          <a:lstStyle/>
          <a:p>
            <a:pPr marL="0" marR="0" lvl="0" indent="0" algn="ctr" defTabSz="914400" eaLnBrk="1" fontAlgn="auto" latinLnBrk="0" hangingPunct="1">
              <a:lnSpc>
                <a:spcPct val="100000"/>
              </a:lnSpc>
              <a:spcBef>
                <a:spcPts val="0"/>
              </a:spcBef>
              <a:spcAft>
                <a:spcPts val="0"/>
              </a:spcAft>
              <a:buClrTx/>
              <a:buSzTx/>
              <a:buFontTx/>
              <a:buNone/>
              <a:tabLst/>
              <a:defRPr/>
            </a:pPr>
            <a:r>
              <a:rPr kumimoji="0" lang="en-US" altLang="ja-JP" sz="4400" b="0" i="0" u="none" strike="noStrike" kern="0" cap="none" spc="0" normalizeH="0" baseline="0" noProof="0" dirty="0">
                <a:ln>
                  <a:noFill/>
                </a:ln>
                <a:effectLst/>
                <a:uLnTx/>
                <a:uFillTx/>
                <a:latin typeface="+mj-ea"/>
                <a:ea typeface="+mj-ea"/>
                <a:cs typeface="+mn-cs"/>
                <a:sym typeface="Trebuchet MS" panose="020B0603020202020204" pitchFamily="34" charset="0"/>
              </a:rPr>
              <a:t>VS</a:t>
            </a:r>
            <a:endParaRPr kumimoji="0" lang="en-US" sz="4400" b="0" i="0" u="none" strike="noStrike" kern="0" cap="none" spc="0" normalizeH="0" baseline="0" noProof="0" dirty="0">
              <a:ln>
                <a:noFill/>
              </a:ln>
              <a:effectLst/>
              <a:uLnTx/>
              <a:uFillTx/>
              <a:latin typeface="+mj-ea"/>
              <a:ea typeface="+mj-ea"/>
              <a:cs typeface="+mn-cs"/>
              <a:sym typeface="Trebuchet MS" panose="020B0603020202020204" pitchFamily="34" charset="0"/>
            </a:endParaRPr>
          </a:p>
        </p:txBody>
      </p:sp>
      <p:grpSp>
        <p:nvGrpSpPr>
          <p:cNvPr id="24" name="グループ化 23">
            <a:extLst>
              <a:ext uri="{FF2B5EF4-FFF2-40B4-BE49-F238E27FC236}">
                <a16:creationId xmlns:a16="http://schemas.microsoft.com/office/drawing/2014/main" id="{AAC98109-72EE-827B-6FD3-43BB84DF32D3}"/>
              </a:ext>
            </a:extLst>
          </p:cNvPr>
          <p:cNvGrpSpPr/>
          <p:nvPr/>
        </p:nvGrpSpPr>
        <p:grpSpPr>
          <a:xfrm>
            <a:off x="4979708" y="1277260"/>
            <a:ext cx="8328585" cy="764697"/>
            <a:chOff x="4979708" y="1347313"/>
            <a:chExt cx="8328585" cy="764697"/>
          </a:xfrm>
        </p:grpSpPr>
        <p:sp>
          <p:nvSpPr>
            <p:cNvPr id="18" name="テキスト ボックス 17">
              <a:extLst>
                <a:ext uri="{FF2B5EF4-FFF2-40B4-BE49-F238E27FC236}">
                  <a16:creationId xmlns:a16="http://schemas.microsoft.com/office/drawing/2014/main" id="{A6AF165A-E0FA-B1D8-3516-AA00B9ACA2A0}"/>
                </a:ext>
              </a:extLst>
            </p:cNvPr>
            <p:cNvSpPr txBox="1"/>
            <p:nvPr/>
          </p:nvSpPr>
          <p:spPr>
            <a:xfrm>
              <a:off x="5342053" y="1347313"/>
              <a:ext cx="7418698" cy="764697"/>
            </a:xfrm>
            <a:prstGeom prst="rect">
              <a:avLst/>
            </a:prstGeom>
            <a:noFill/>
          </p:spPr>
          <p:txBody>
            <a:bodyPr wrap="none" lIns="0" tIns="0" rIns="0" bIns="0" rtlCol="0" anchor="ctr">
              <a:spAutoFit/>
            </a:bodyPr>
            <a:lstStyle/>
            <a:p>
              <a:pPr algn="ctr">
                <a:lnSpc>
                  <a:spcPct val="120000"/>
                </a:lnSpc>
                <a:spcAft>
                  <a:spcPts val="1500"/>
                </a:spcAft>
              </a:pPr>
              <a:r>
                <a:rPr lang="ja-JP" altLang="en-US" sz="4400" spc="50" dirty="0">
                  <a:solidFill>
                    <a:schemeClr val="accent1"/>
                  </a:solidFill>
                  <a:latin typeface="+mj-ea"/>
                  <a:ea typeface="+mj-ea"/>
                </a:rPr>
                <a:t>１億ユーザー達成までの期間</a:t>
              </a:r>
            </a:p>
          </p:txBody>
        </p:sp>
        <p:grpSp>
          <p:nvGrpSpPr>
            <p:cNvPr id="19" name="グループ化 18">
              <a:extLst>
                <a:ext uri="{FF2B5EF4-FFF2-40B4-BE49-F238E27FC236}">
                  <a16:creationId xmlns:a16="http://schemas.microsoft.com/office/drawing/2014/main" id="{51A8BC81-F8F5-B94E-BC10-82B21920C5AE}"/>
                </a:ext>
              </a:extLst>
            </p:cNvPr>
            <p:cNvGrpSpPr/>
            <p:nvPr/>
          </p:nvGrpSpPr>
          <p:grpSpPr>
            <a:xfrm>
              <a:off x="4979708" y="1493862"/>
              <a:ext cx="8328585" cy="556178"/>
              <a:chOff x="5949387" y="2277388"/>
              <a:chExt cx="8328585" cy="556178"/>
            </a:xfrm>
          </p:grpSpPr>
          <p:cxnSp>
            <p:nvCxnSpPr>
              <p:cNvPr id="20" name="直線コネクタ 19">
                <a:extLst>
                  <a:ext uri="{FF2B5EF4-FFF2-40B4-BE49-F238E27FC236}">
                    <a16:creationId xmlns:a16="http://schemas.microsoft.com/office/drawing/2014/main" id="{5097A6F9-6E05-FCAB-70A2-D08889980FAF}"/>
                  </a:ext>
                </a:extLst>
              </p:cNvPr>
              <p:cNvCxnSpPr>
                <a:cxnSpLocks/>
              </p:cNvCxnSpPr>
              <p:nvPr/>
            </p:nvCxnSpPr>
            <p:spPr>
              <a:xfrm>
                <a:off x="5949387"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直線コネクタ 20">
                <a:extLst>
                  <a:ext uri="{FF2B5EF4-FFF2-40B4-BE49-F238E27FC236}">
                    <a16:creationId xmlns:a16="http://schemas.microsoft.com/office/drawing/2014/main" id="{E92C2B10-5CB2-D199-42F8-18A12C38D359}"/>
                  </a:ext>
                </a:extLst>
              </p:cNvPr>
              <p:cNvCxnSpPr>
                <a:cxnSpLocks/>
              </p:cNvCxnSpPr>
              <p:nvPr/>
            </p:nvCxnSpPr>
            <p:spPr>
              <a:xfrm flipH="1">
                <a:off x="13977030"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5" name="スライド番号プレースホルダー 4">
            <a:extLst>
              <a:ext uri="{FF2B5EF4-FFF2-40B4-BE49-F238E27FC236}">
                <a16:creationId xmlns:a16="http://schemas.microsoft.com/office/drawing/2014/main" id="{A5493933-7C2A-ABC2-1244-533EF7015E84}"/>
              </a:ext>
            </a:extLst>
          </p:cNvPr>
          <p:cNvSpPr>
            <a:spLocks noGrp="1"/>
          </p:cNvSpPr>
          <p:nvPr>
            <p:ph type="sldNum" sz="quarter" idx="11"/>
          </p:nvPr>
        </p:nvSpPr>
        <p:spPr>
          <a:xfrm>
            <a:off x="17695001" y="9786651"/>
            <a:ext cx="327013" cy="307777"/>
          </a:xfrm>
        </p:spPr>
        <p:txBody>
          <a:bodyPr/>
          <a:lstStyle/>
          <a:p>
            <a:r>
              <a:rPr lang="en-US" altLang="ja-JP"/>
              <a:t>10</a:t>
            </a:r>
            <a:endParaRPr lang="ja-JP" altLang="en-US" dirty="0"/>
          </a:p>
        </p:txBody>
      </p:sp>
      <p:grpSp>
        <p:nvGrpSpPr>
          <p:cNvPr id="6" name="グループ化 5">
            <a:extLst>
              <a:ext uri="{FF2B5EF4-FFF2-40B4-BE49-F238E27FC236}">
                <a16:creationId xmlns:a16="http://schemas.microsoft.com/office/drawing/2014/main" id="{49EDBAAF-4305-3842-BE11-0D2ED17A46AB}"/>
              </a:ext>
            </a:extLst>
          </p:cNvPr>
          <p:cNvGrpSpPr/>
          <p:nvPr/>
        </p:nvGrpSpPr>
        <p:grpSpPr>
          <a:xfrm>
            <a:off x="1556714" y="2366321"/>
            <a:ext cx="6616603" cy="7031152"/>
            <a:chOff x="1556714" y="2366321"/>
            <a:chExt cx="6616603" cy="7031152"/>
          </a:xfrm>
        </p:grpSpPr>
        <p:sp>
          <p:nvSpPr>
            <p:cNvPr id="8" name="四角形: 角を丸くする 7">
              <a:extLst>
                <a:ext uri="{FF2B5EF4-FFF2-40B4-BE49-F238E27FC236}">
                  <a16:creationId xmlns:a16="http://schemas.microsoft.com/office/drawing/2014/main" id="{AABEB655-1343-91D5-19A7-25776138E5BB}"/>
                </a:ext>
              </a:extLst>
            </p:cNvPr>
            <p:cNvSpPr>
              <a:spLocks noChangeAspect="1"/>
            </p:cNvSpPr>
            <p:nvPr/>
          </p:nvSpPr>
          <p:spPr>
            <a:xfrm>
              <a:off x="1556714" y="2781393"/>
              <a:ext cx="6616603" cy="6616080"/>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grpSp>
          <p:nvGrpSpPr>
            <p:cNvPr id="115" name="グループ化 114">
              <a:extLst>
                <a:ext uri="{FF2B5EF4-FFF2-40B4-BE49-F238E27FC236}">
                  <a16:creationId xmlns:a16="http://schemas.microsoft.com/office/drawing/2014/main" id="{6851DC59-4BB8-0CCD-C953-3C1502DF8F95}"/>
                </a:ext>
              </a:extLst>
            </p:cNvPr>
            <p:cNvGrpSpPr/>
            <p:nvPr/>
          </p:nvGrpSpPr>
          <p:grpSpPr>
            <a:xfrm>
              <a:off x="3225784" y="5812274"/>
              <a:ext cx="3278462" cy="2646878"/>
              <a:chOff x="2830663" y="5862515"/>
              <a:chExt cx="3278462" cy="2646878"/>
            </a:xfrm>
          </p:grpSpPr>
          <p:sp>
            <p:nvSpPr>
              <p:cNvPr id="65" name="正方形/長方形 64">
                <a:extLst>
                  <a:ext uri="{FF2B5EF4-FFF2-40B4-BE49-F238E27FC236}">
                    <a16:creationId xmlns:a16="http://schemas.microsoft.com/office/drawing/2014/main" id="{9D394AC5-607D-7078-4869-3294D8335115}"/>
                  </a:ext>
                </a:extLst>
              </p:cNvPr>
              <p:cNvSpPr/>
              <p:nvPr/>
            </p:nvSpPr>
            <p:spPr>
              <a:xfrm>
                <a:off x="2830663" y="7735615"/>
                <a:ext cx="3278462" cy="33633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テキスト ボックス 12">
                <a:extLst>
                  <a:ext uri="{FF2B5EF4-FFF2-40B4-BE49-F238E27FC236}">
                    <a16:creationId xmlns:a16="http://schemas.microsoft.com/office/drawing/2014/main" id="{D4A942CA-68E2-F333-59AA-E29815EEC796}"/>
                  </a:ext>
                </a:extLst>
              </p:cNvPr>
              <p:cNvSpPr txBox="1"/>
              <p:nvPr/>
            </p:nvSpPr>
            <p:spPr>
              <a:xfrm>
                <a:off x="2830663" y="5862515"/>
                <a:ext cx="3278462" cy="2646878"/>
              </a:xfrm>
              <a:prstGeom prst="rect">
                <a:avLst/>
              </a:prstGeom>
              <a:noFill/>
            </p:spPr>
            <p:txBody>
              <a:bodyPr wrap="none" rtlCol="0">
                <a:spAutoFit/>
              </a:bodyPr>
              <a:lstStyle/>
              <a:p>
                <a:pPr algn="ctr"/>
                <a:r>
                  <a:rPr lang="en-US" altLang="ja-JP" sz="16600" b="1" spc="100" dirty="0">
                    <a:gradFill>
                      <a:gsLst>
                        <a:gs pos="0">
                          <a:srgbClr val="00ABDF"/>
                        </a:gs>
                        <a:gs pos="100000">
                          <a:srgbClr val="006DFB"/>
                        </a:gs>
                      </a:gsLst>
                      <a:lin ang="2700000" scaled="1"/>
                    </a:gradFill>
                    <a:latin typeface="+mj-ea"/>
                    <a:ea typeface="+mj-ea"/>
                  </a:rPr>
                  <a:t>2</a:t>
                </a:r>
                <a:r>
                  <a:rPr lang="ja-JP" altLang="en-US" sz="6600" b="1" spc="100" dirty="0">
                    <a:gradFill>
                      <a:gsLst>
                        <a:gs pos="0">
                          <a:srgbClr val="00ABDF"/>
                        </a:gs>
                        <a:gs pos="100000">
                          <a:srgbClr val="006DFB"/>
                        </a:gs>
                      </a:gsLst>
                      <a:lin ang="2700000" scaled="1"/>
                    </a:gradFill>
                    <a:latin typeface="+mj-ea"/>
                    <a:ea typeface="+mj-ea"/>
                  </a:rPr>
                  <a:t>ヶ月</a:t>
                </a:r>
                <a:endParaRPr kumimoji="1" lang="ja-JP" altLang="en-US" sz="11500" spc="100" dirty="0">
                  <a:gradFill>
                    <a:gsLst>
                      <a:gs pos="0">
                        <a:srgbClr val="00ABDF"/>
                      </a:gs>
                      <a:gs pos="100000">
                        <a:srgbClr val="006DFB"/>
                      </a:gs>
                    </a:gsLst>
                    <a:lin ang="2700000" scaled="1"/>
                  </a:gradFill>
                </a:endParaRPr>
              </a:p>
            </p:txBody>
          </p:sp>
        </p:grpSp>
        <p:sp>
          <p:nvSpPr>
            <p:cNvPr id="113" name="四角形: 角を丸くする 112">
              <a:extLst>
                <a:ext uri="{FF2B5EF4-FFF2-40B4-BE49-F238E27FC236}">
                  <a16:creationId xmlns:a16="http://schemas.microsoft.com/office/drawing/2014/main" id="{C1CAA2E0-FBC1-9F1F-FE2F-979563B95ABD}"/>
                </a:ext>
              </a:extLst>
            </p:cNvPr>
            <p:cNvSpPr/>
            <p:nvPr/>
          </p:nvSpPr>
          <p:spPr>
            <a:xfrm>
              <a:off x="3762538" y="2366321"/>
              <a:ext cx="2204955" cy="830143"/>
            </a:xfrm>
            <a:prstGeom prst="roundRect">
              <a:avLst>
                <a:gd name="adj" fmla="val 50000"/>
              </a:avLst>
            </a:prstGeom>
            <a:gradFill>
              <a:gsLst>
                <a:gs pos="0">
                  <a:schemeClr val="accent2"/>
                </a:gs>
                <a:gs pos="100000">
                  <a:srgbClr val="0072FB"/>
                </a:gs>
              </a:gsLst>
              <a:lin ang="10800000" scaled="1"/>
            </a:gra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18000" rIns="216000" bIns="18000" rtlCol="0" anchor="ctr">
              <a:spAutoFit/>
            </a:bodyPr>
            <a:lstStyle/>
            <a:p>
              <a:pPr algn="ctr"/>
              <a:r>
                <a:rPr kumimoji="1" lang="ja-JP" altLang="en-US" sz="3600" spc="100" dirty="0">
                  <a:solidFill>
                    <a:schemeClr val="bg1"/>
                  </a:solidFill>
                  <a:latin typeface="+mj-ea"/>
                  <a:ea typeface="+mj-ea"/>
                </a:rPr>
                <a:t>生成</a:t>
              </a:r>
              <a:r>
                <a:rPr kumimoji="1" lang="en-US" altLang="ja-JP" sz="3600" spc="100" dirty="0">
                  <a:solidFill>
                    <a:schemeClr val="bg1"/>
                  </a:solidFill>
                  <a:latin typeface="+mj-ea"/>
                  <a:ea typeface="+mj-ea"/>
                </a:rPr>
                <a:t>AI</a:t>
              </a:r>
              <a:endParaRPr kumimoji="1" lang="ja-JP" altLang="en-US" sz="3600" spc="100" dirty="0">
                <a:solidFill>
                  <a:schemeClr val="bg1"/>
                </a:solidFill>
                <a:latin typeface="+mj-ea"/>
                <a:ea typeface="+mj-ea"/>
              </a:endParaRPr>
            </a:p>
          </p:txBody>
        </p:sp>
        <p:sp>
          <p:nvSpPr>
            <p:cNvPr id="2" name="テキスト ボックス 1">
              <a:extLst>
                <a:ext uri="{FF2B5EF4-FFF2-40B4-BE49-F238E27FC236}">
                  <a16:creationId xmlns:a16="http://schemas.microsoft.com/office/drawing/2014/main" id="{3E2AD427-92A3-619F-51DD-1B584910F798}"/>
                </a:ext>
              </a:extLst>
            </p:cNvPr>
            <p:cNvSpPr txBox="1"/>
            <p:nvPr/>
          </p:nvSpPr>
          <p:spPr>
            <a:xfrm>
              <a:off x="2549477" y="4225759"/>
              <a:ext cx="4631076" cy="1390381"/>
            </a:xfrm>
            <a:prstGeom prst="rect">
              <a:avLst/>
            </a:prstGeom>
            <a:noFill/>
          </p:spPr>
          <p:txBody>
            <a:bodyPr wrap="none" lIns="0" tIns="0" rIns="0" bIns="0" rtlCol="0" anchor="ctr">
              <a:spAutoFit/>
            </a:bodyPr>
            <a:lstStyle/>
            <a:p>
              <a:pPr algn="ctr">
                <a:lnSpc>
                  <a:spcPct val="120000"/>
                </a:lnSpc>
                <a:spcAft>
                  <a:spcPts val="1500"/>
                </a:spcAft>
              </a:pPr>
              <a:r>
                <a:rPr lang="en-US" altLang="ja-JP" sz="8000" spc="50" dirty="0">
                  <a:latin typeface="+mj-ea"/>
                  <a:ea typeface="+mj-ea"/>
                </a:rPr>
                <a:t>ChatGPT</a:t>
              </a:r>
              <a:endParaRPr lang="ja-JP" altLang="en-US" sz="8000" spc="50" dirty="0">
                <a:latin typeface="+mj-ea"/>
                <a:ea typeface="+mj-ea"/>
              </a:endParaRPr>
            </a:p>
          </p:txBody>
        </p:sp>
      </p:grpSp>
      <p:grpSp>
        <p:nvGrpSpPr>
          <p:cNvPr id="9" name="グループ化 8">
            <a:extLst>
              <a:ext uri="{FF2B5EF4-FFF2-40B4-BE49-F238E27FC236}">
                <a16:creationId xmlns:a16="http://schemas.microsoft.com/office/drawing/2014/main" id="{2ACFFCDA-D3F3-D159-196A-C99BC1C8E653}"/>
              </a:ext>
            </a:extLst>
          </p:cNvPr>
          <p:cNvGrpSpPr/>
          <p:nvPr/>
        </p:nvGrpSpPr>
        <p:grpSpPr>
          <a:xfrm>
            <a:off x="10114684" y="2343397"/>
            <a:ext cx="6616603" cy="7058011"/>
            <a:chOff x="10114684" y="2343397"/>
            <a:chExt cx="6616603" cy="7058011"/>
          </a:xfrm>
        </p:grpSpPr>
        <p:sp>
          <p:nvSpPr>
            <p:cNvPr id="7" name="四角形: 角を丸くする 6">
              <a:extLst>
                <a:ext uri="{FF2B5EF4-FFF2-40B4-BE49-F238E27FC236}">
                  <a16:creationId xmlns:a16="http://schemas.microsoft.com/office/drawing/2014/main" id="{7510CB8A-413D-39FF-669B-4412AC131B66}"/>
                </a:ext>
              </a:extLst>
            </p:cNvPr>
            <p:cNvSpPr/>
            <p:nvPr/>
          </p:nvSpPr>
          <p:spPr>
            <a:xfrm>
              <a:off x="10114684" y="2787551"/>
              <a:ext cx="6616603" cy="6613857"/>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71" name="グループ化 70">
              <a:extLst>
                <a:ext uri="{FF2B5EF4-FFF2-40B4-BE49-F238E27FC236}">
                  <a16:creationId xmlns:a16="http://schemas.microsoft.com/office/drawing/2014/main" id="{E6D0829C-8B63-034A-91F6-2B0F3F3E6F2C}"/>
                </a:ext>
              </a:extLst>
            </p:cNvPr>
            <p:cNvGrpSpPr/>
            <p:nvPr/>
          </p:nvGrpSpPr>
          <p:grpSpPr>
            <a:xfrm>
              <a:off x="10832168" y="7335373"/>
              <a:ext cx="1950203" cy="1446550"/>
              <a:chOff x="10961726" y="4417266"/>
              <a:chExt cx="1950203" cy="1446550"/>
            </a:xfrm>
          </p:grpSpPr>
          <p:sp>
            <p:nvSpPr>
              <p:cNvPr id="72" name="正方形/長方形 71">
                <a:extLst>
                  <a:ext uri="{FF2B5EF4-FFF2-40B4-BE49-F238E27FC236}">
                    <a16:creationId xmlns:a16="http://schemas.microsoft.com/office/drawing/2014/main" id="{F489FF10-65C6-BDC0-DA29-C8D566177463}"/>
                  </a:ext>
                </a:extLst>
              </p:cNvPr>
              <p:cNvSpPr/>
              <p:nvPr/>
            </p:nvSpPr>
            <p:spPr>
              <a:xfrm>
                <a:off x="10961726" y="5383641"/>
                <a:ext cx="1950203" cy="29174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9" name="テキスト ボックス 78">
                <a:extLst>
                  <a:ext uri="{FF2B5EF4-FFF2-40B4-BE49-F238E27FC236}">
                    <a16:creationId xmlns:a16="http://schemas.microsoft.com/office/drawing/2014/main" id="{6FD3CD3E-8E2D-4B1F-DECA-2F5D5C48B62D}"/>
                  </a:ext>
                </a:extLst>
              </p:cNvPr>
              <p:cNvSpPr txBox="1"/>
              <p:nvPr/>
            </p:nvSpPr>
            <p:spPr>
              <a:xfrm>
                <a:off x="11002118" y="4417266"/>
                <a:ext cx="1869422" cy="1446550"/>
              </a:xfrm>
              <a:prstGeom prst="rect">
                <a:avLst/>
              </a:prstGeom>
              <a:noFill/>
            </p:spPr>
            <p:txBody>
              <a:bodyPr wrap="none" rtlCol="0">
                <a:spAutoFit/>
              </a:bodyPr>
              <a:lstStyle/>
              <a:p>
                <a:pPr algn="ctr"/>
                <a:r>
                  <a:rPr lang="en-US" altLang="ja-JP" sz="8800" b="1" spc="100" dirty="0">
                    <a:latin typeface="+mj-ea"/>
                    <a:ea typeface="+mj-ea"/>
                  </a:rPr>
                  <a:t>4</a:t>
                </a:r>
                <a:r>
                  <a:rPr lang="ja-JP" altLang="en-US" sz="3600" b="1" spc="100" dirty="0">
                    <a:latin typeface="+mj-ea"/>
                    <a:ea typeface="+mj-ea"/>
                  </a:rPr>
                  <a:t>年半</a:t>
                </a:r>
                <a:endParaRPr kumimoji="1" lang="ja-JP" altLang="en-US" sz="7200" spc="100" dirty="0"/>
              </a:p>
            </p:txBody>
          </p:sp>
        </p:grpSp>
        <p:grpSp>
          <p:nvGrpSpPr>
            <p:cNvPr id="86" name="グループ化 85">
              <a:extLst>
                <a:ext uri="{FF2B5EF4-FFF2-40B4-BE49-F238E27FC236}">
                  <a16:creationId xmlns:a16="http://schemas.microsoft.com/office/drawing/2014/main" id="{C1747BF3-BB6C-0083-ADC8-7B3C4213BF8F}"/>
                </a:ext>
              </a:extLst>
            </p:cNvPr>
            <p:cNvGrpSpPr/>
            <p:nvPr/>
          </p:nvGrpSpPr>
          <p:grpSpPr>
            <a:xfrm>
              <a:off x="13919542" y="7335373"/>
              <a:ext cx="1950203" cy="1446550"/>
              <a:chOff x="10961726" y="4417266"/>
              <a:chExt cx="1950203" cy="1446550"/>
            </a:xfrm>
          </p:grpSpPr>
          <p:sp>
            <p:nvSpPr>
              <p:cNvPr id="87" name="正方形/長方形 86">
                <a:extLst>
                  <a:ext uri="{FF2B5EF4-FFF2-40B4-BE49-F238E27FC236}">
                    <a16:creationId xmlns:a16="http://schemas.microsoft.com/office/drawing/2014/main" id="{4B2E6F9D-D876-8DD7-1F94-1A4A9CEDAED0}"/>
                  </a:ext>
                </a:extLst>
              </p:cNvPr>
              <p:cNvSpPr/>
              <p:nvPr/>
            </p:nvSpPr>
            <p:spPr>
              <a:xfrm>
                <a:off x="10961726" y="5383641"/>
                <a:ext cx="1950203" cy="29174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3" name="テキスト ボックス 92">
                <a:extLst>
                  <a:ext uri="{FF2B5EF4-FFF2-40B4-BE49-F238E27FC236}">
                    <a16:creationId xmlns:a16="http://schemas.microsoft.com/office/drawing/2014/main" id="{16D64567-DB1E-E8D0-0487-ADD26B1C1C6F}"/>
                  </a:ext>
                </a:extLst>
              </p:cNvPr>
              <p:cNvSpPr txBox="1"/>
              <p:nvPr/>
            </p:nvSpPr>
            <p:spPr>
              <a:xfrm>
                <a:off x="11239360" y="4417266"/>
                <a:ext cx="1394933" cy="1446550"/>
              </a:xfrm>
              <a:prstGeom prst="rect">
                <a:avLst/>
              </a:prstGeom>
              <a:noFill/>
            </p:spPr>
            <p:txBody>
              <a:bodyPr wrap="none" rtlCol="0">
                <a:spAutoFit/>
              </a:bodyPr>
              <a:lstStyle/>
              <a:p>
                <a:pPr algn="ctr"/>
                <a:r>
                  <a:rPr lang="en-US" altLang="ja-JP" sz="8800" b="1" spc="100" dirty="0">
                    <a:latin typeface="+mj-ea"/>
                    <a:ea typeface="+mj-ea"/>
                  </a:rPr>
                  <a:t>5</a:t>
                </a:r>
                <a:r>
                  <a:rPr lang="ja-JP" altLang="en-US" sz="3600" b="1" spc="100" dirty="0">
                    <a:latin typeface="+mj-ea"/>
                    <a:ea typeface="+mj-ea"/>
                  </a:rPr>
                  <a:t>年</a:t>
                </a:r>
                <a:endParaRPr kumimoji="1" lang="ja-JP" altLang="en-US" sz="7200" spc="100" dirty="0"/>
              </a:p>
            </p:txBody>
          </p:sp>
        </p:grpSp>
        <p:grpSp>
          <p:nvGrpSpPr>
            <p:cNvPr id="70" name="グループ化 69">
              <a:extLst>
                <a:ext uri="{FF2B5EF4-FFF2-40B4-BE49-F238E27FC236}">
                  <a16:creationId xmlns:a16="http://schemas.microsoft.com/office/drawing/2014/main" id="{D21AF87C-2889-0235-3AAC-2488DBB773F3}"/>
                </a:ext>
              </a:extLst>
            </p:cNvPr>
            <p:cNvGrpSpPr/>
            <p:nvPr/>
          </p:nvGrpSpPr>
          <p:grpSpPr>
            <a:xfrm>
              <a:off x="10832168" y="4497382"/>
              <a:ext cx="1950203" cy="1446550"/>
              <a:chOff x="10961726" y="4417266"/>
              <a:chExt cx="1950203" cy="1446550"/>
            </a:xfrm>
          </p:grpSpPr>
          <p:sp>
            <p:nvSpPr>
              <p:cNvPr id="67" name="正方形/長方形 66">
                <a:extLst>
                  <a:ext uri="{FF2B5EF4-FFF2-40B4-BE49-F238E27FC236}">
                    <a16:creationId xmlns:a16="http://schemas.microsoft.com/office/drawing/2014/main" id="{9043F148-13EC-139E-485D-1329BBE2081D}"/>
                  </a:ext>
                </a:extLst>
              </p:cNvPr>
              <p:cNvSpPr/>
              <p:nvPr/>
            </p:nvSpPr>
            <p:spPr>
              <a:xfrm>
                <a:off x="10961726" y="5383641"/>
                <a:ext cx="1950203" cy="29174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6" name="テキスト ボックス 65">
                <a:extLst>
                  <a:ext uri="{FF2B5EF4-FFF2-40B4-BE49-F238E27FC236}">
                    <a16:creationId xmlns:a16="http://schemas.microsoft.com/office/drawing/2014/main" id="{F6621179-5A9F-27FA-7173-374139CBB101}"/>
                  </a:ext>
                </a:extLst>
              </p:cNvPr>
              <p:cNvSpPr txBox="1"/>
              <p:nvPr/>
            </p:nvSpPr>
            <p:spPr>
              <a:xfrm>
                <a:off x="11002116" y="4417266"/>
                <a:ext cx="1869423" cy="1446550"/>
              </a:xfrm>
              <a:prstGeom prst="rect">
                <a:avLst/>
              </a:prstGeom>
              <a:noFill/>
            </p:spPr>
            <p:txBody>
              <a:bodyPr wrap="none" rtlCol="0">
                <a:spAutoFit/>
              </a:bodyPr>
              <a:lstStyle/>
              <a:p>
                <a:pPr algn="ctr"/>
                <a:r>
                  <a:rPr lang="en-US" altLang="ja-JP" sz="8800" b="1" spc="100" dirty="0">
                    <a:latin typeface="+mj-ea"/>
                    <a:ea typeface="+mj-ea"/>
                  </a:rPr>
                  <a:t>9</a:t>
                </a:r>
                <a:r>
                  <a:rPr lang="ja-JP" altLang="en-US" sz="3600" b="1" spc="100" dirty="0">
                    <a:latin typeface="+mj-ea"/>
                    <a:ea typeface="+mj-ea"/>
                  </a:rPr>
                  <a:t>ヶ月</a:t>
                </a:r>
                <a:endParaRPr kumimoji="1" lang="ja-JP" altLang="en-US" sz="6000" spc="100" dirty="0"/>
              </a:p>
            </p:txBody>
          </p:sp>
        </p:grpSp>
        <p:grpSp>
          <p:nvGrpSpPr>
            <p:cNvPr id="101" name="グループ化 100">
              <a:extLst>
                <a:ext uri="{FF2B5EF4-FFF2-40B4-BE49-F238E27FC236}">
                  <a16:creationId xmlns:a16="http://schemas.microsoft.com/office/drawing/2014/main" id="{02E7AA22-D7C9-3779-9387-E7310B30B3CF}"/>
                </a:ext>
              </a:extLst>
            </p:cNvPr>
            <p:cNvGrpSpPr/>
            <p:nvPr/>
          </p:nvGrpSpPr>
          <p:grpSpPr>
            <a:xfrm>
              <a:off x="13919542" y="4491480"/>
              <a:ext cx="1950203" cy="1446550"/>
              <a:chOff x="10961726" y="4417266"/>
              <a:chExt cx="1950203" cy="1446550"/>
            </a:xfrm>
          </p:grpSpPr>
          <p:sp>
            <p:nvSpPr>
              <p:cNvPr id="108" name="正方形/長方形 107">
                <a:extLst>
                  <a:ext uri="{FF2B5EF4-FFF2-40B4-BE49-F238E27FC236}">
                    <a16:creationId xmlns:a16="http://schemas.microsoft.com/office/drawing/2014/main" id="{F417C480-CA6F-2904-9170-E266ECFB17B4}"/>
                  </a:ext>
                </a:extLst>
              </p:cNvPr>
              <p:cNvSpPr/>
              <p:nvPr/>
            </p:nvSpPr>
            <p:spPr>
              <a:xfrm>
                <a:off x="10961726" y="5383641"/>
                <a:ext cx="1950203" cy="291740"/>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9" name="テキスト ボックス 108">
                <a:extLst>
                  <a:ext uri="{FF2B5EF4-FFF2-40B4-BE49-F238E27FC236}">
                    <a16:creationId xmlns:a16="http://schemas.microsoft.com/office/drawing/2014/main" id="{A95E2081-0B5E-C7B0-5025-C5BF0C39E759}"/>
                  </a:ext>
                </a:extLst>
              </p:cNvPr>
              <p:cNvSpPr txBox="1"/>
              <p:nvPr/>
            </p:nvSpPr>
            <p:spPr>
              <a:xfrm>
                <a:off x="11002116" y="4417266"/>
                <a:ext cx="1869422" cy="1446550"/>
              </a:xfrm>
              <a:prstGeom prst="rect">
                <a:avLst/>
              </a:prstGeom>
              <a:noFill/>
            </p:spPr>
            <p:txBody>
              <a:bodyPr wrap="none" rtlCol="0">
                <a:spAutoFit/>
              </a:bodyPr>
              <a:lstStyle/>
              <a:p>
                <a:pPr algn="ctr"/>
                <a:r>
                  <a:rPr lang="en-US" altLang="ja-JP" sz="8800" b="1" spc="100" dirty="0">
                    <a:latin typeface="+mj-ea"/>
                    <a:ea typeface="+mj-ea"/>
                  </a:rPr>
                  <a:t>2</a:t>
                </a:r>
                <a:r>
                  <a:rPr lang="ja-JP" altLang="en-US" sz="3600" b="1" spc="100" dirty="0">
                    <a:latin typeface="+mj-ea"/>
                    <a:ea typeface="+mj-ea"/>
                  </a:rPr>
                  <a:t>年半</a:t>
                </a:r>
                <a:endParaRPr kumimoji="1" lang="ja-JP" altLang="en-US" sz="7200" spc="100" dirty="0"/>
              </a:p>
            </p:txBody>
          </p:sp>
        </p:grpSp>
        <p:sp>
          <p:nvSpPr>
            <p:cNvPr id="114" name="四角形: 角を丸くする 113">
              <a:extLst>
                <a:ext uri="{FF2B5EF4-FFF2-40B4-BE49-F238E27FC236}">
                  <a16:creationId xmlns:a16="http://schemas.microsoft.com/office/drawing/2014/main" id="{7607E909-33A9-7AF5-7C7E-561E2A7A884A}"/>
                </a:ext>
              </a:extLst>
            </p:cNvPr>
            <p:cNvSpPr/>
            <p:nvPr/>
          </p:nvSpPr>
          <p:spPr>
            <a:xfrm>
              <a:off x="12108433" y="2343397"/>
              <a:ext cx="2629104" cy="830143"/>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18000" rIns="216000" bIns="18000" rtlCol="0" anchor="ctr">
              <a:spAutoFit/>
            </a:bodyPr>
            <a:lstStyle/>
            <a:p>
              <a:pPr algn="ctr"/>
              <a:r>
                <a:rPr lang="ja-JP" altLang="en-US" sz="3600" spc="100" dirty="0">
                  <a:solidFill>
                    <a:schemeClr val="bg1"/>
                  </a:solidFill>
                  <a:latin typeface="+mj-ea"/>
                  <a:ea typeface="+mj-ea"/>
                </a:rPr>
                <a:t>主要</a:t>
              </a:r>
              <a:r>
                <a:rPr lang="en-US" altLang="ja-JP" sz="3600" spc="100" dirty="0">
                  <a:solidFill>
                    <a:schemeClr val="bg1"/>
                  </a:solidFill>
                  <a:latin typeface="+mj-ea"/>
                  <a:ea typeface="+mj-ea"/>
                </a:rPr>
                <a:t>SNS</a:t>
              </a:r>
              <a:endParaRPr kumimoji="1" lang="ja-JP" altLang="en-US" sz="3600" spc="100" dirty="0">
                <a:solidFill>
                  <a:schemeClr val="bg1"/>
                </a:solidFill>
                <a:latin typeface="+mj-ea"/>
                <a:ea typeface="+mj-ea"/>
              </a:endParaRPr>
            </a:p>
          </p:txBody>
        </p:sp>
        <p:sp>
          <p:nvSpPr>
            <p:cNvPr id="12" name="テキスト ボックス 11">
              <a:extLst>
                <a:ext uri="{FF2B5EF4-FFF2-40B4-BE49-F238E27FC236}">
                  <a16:creationId xmlns:a16="http://schemas.microsoft.com/office/drawing/2014/main" id="{032C9FBE-3EA1-6F6D-EC7D-58698A8D3BD5}"/>
                </a:ext>
              </a:extLst>
            </p:cNvPr>
            <p:cNvSpPr txBox="1"/>
            <p:nvPr/>
          </p:nvSpPr>
          <p:spPr>
            <a:xfrm>
              <a:off x="10763029" y="3817431"/>
              <a:ext cx="1990930" cy="764697"/>
            </a:xfrm>
            <a:prstGeom prst="rect">
              <a:avLst/>
            </a:prstGeom>
            <a:noFill/>
          </p:spPr>
          <p:txBody>
            <a:bodyPr wrap="none" lIns="0" tIns="0" rIns="0" bIns="0" rtlCol="0" anchor="b">
              <a:spAutoFit/>
            </a:bodyPr>
            <a:lstStyle/>
            <a:p>
              <a:pPr algn="ctr">
                <a:lnSpc>
                  <a:spcPct val="120000"/>
                </a:lnSpc>
                <a:spcAft>
                  <a:spcPts val="1500"/>
                </a:spcAft>
              </a:pPr>
              <a:r>
                <a:rPr lang="en-US" altLang="ja-JP" sz="4400" spc="50" dirty="0">
                  <a:latin typeface="+mj-ea"/>
                  <a:ea typeface="+mj-ea"/>
                </a:rPr>
                <a:t>TikTok</a:t>
              </a:r>
              <a:endParaRPr lang="ja-JP" altLang="en-US" sz="4400" spc="50" dirty="0">
                <a:latin typeface="+mj-ea"/>
                <a:ea typeface="+mj-ea"/>
              </a:endParaRPr>
            </a:p>
          </p:txBody>
        </p:sp>
        <p:sp>
          <p:nvSpPr>
            <p:cNvPr id="15" name="テキスト ボックス 14">
              <a:extLst>
                <a:ext uri="{FF2B5EF4-FFF2-40B4-BE49-F238E27FC236}">
                  <a16:creationId xmlns:a16="http://schemas.microsoft.com/office/drawing/2014/main" id="{58CD5B63-029B-B4A5-37D6-7F52CE83DE0A}"/>
                </a:ext>
              </a:extLst>
            </p:cNvPr>
            <p:cNvSpPr txBox="1"/>
            <p:nvPr/>
          </p:nvSpPr>
          <p:spPr>
            <a:xfrm>
              <a:off x="13407695" y="3817431"/>
              <a:ext cx="2933495" cy="764697"/>
            </a:xfrm>
            <a:prstGeom prst="rect">
              <a:avLst/>
            </a:prstGeom>
            <a:noFill/>
          </p:spPr>
          <p:txBody>
            <a:bodyPr wrap="none" lIns="0" tIns="0" rIns="0" bIns="0" rtlCol="0" anchor="b">
              <a:spAutoFit/>
            </a:bodyPr>
            <a:lstStyle/>
            <a:p>
              <a:pPr algn="ctr">
                <a:lnSpc>
                  <a:spcPct val="120000"/>
                </a:lnSpc>
                <a:spcAft>
                  <a:spcPts val="1500"/>
                </a:spcAft>
              </a:pPr>
              <a:r>
                <a:rPr lang="en-US" altLang="ja-JP" sz="4400" spc="50" dirty="0">
                  <a:latin typeface="+mj-ea"/>
                  <a:ea typeface="+mj-ea"/>
                </a:rPr>
                <a:t>Instagram</a:t>
              </a:r>
              <a:endParaRPr lang="ja-JP" altLang="en-US" sz="4400" spc="50" dirty="0">
                <a:latin typeface="+mj-ea"/>
                <a:ea typeface="+mj-ea"/>
              </a:endParaRPr>
            </a:p>
          </p:txBody>
        </p:sp>
        <p:sp>
          <p:nvSpPr>
            <p:cNvPr id="28" name="テキスト ボックス 27">
              <a:extLst>
                <a:ext uri="{FF2B5EF4-FFF2-40B4-BE49-F238E27FC236}">
                  <a16:creationId xmlns:a16="http://schemas.microsoft.com/office/drawing/2014/main" id="{DB693AA8-1FE4-727A-6117-369B119DFBA3}"/>
                </a:ext>
              </a:extLst>
            </p:cNvPr>
            <p:cNvSpPr txBox="1"/>
            <p:nvPr/>
          </p:nvSpPr>
          <p:spPr>
            <a:xfrm>
              <a:off x="10466969" y="6570676"/>
              <a:ext cx="2675412" cy="764697"/>
            </a:xfrm>
            <a:prstGeom prst="rect">
              <a:avLst/>
            </a:prstGeom>
            <a:noFill/>
          </p:spPr>
          <p:txBody>
            <a:bodyPr wrap="none" lIns="0" tIns="0" rIns="0" bIns="0" rtlCol="0" anchor="b">
              <a:spAutoFit/>
            </a:bodyPr>
            <a:lstStyle/>
            <a:p>
              <a:pPr algn="ctr">
                <a:lnSpc>
                  <a:spcPct val="120000"/>
                </a:lnSpc>
                <a:spcAft>
                  <a:spcPts val="1500"/>
                </a:spcAft>
              </a:pPr>
              <a:r>
                <a:rPr lang="en-US" altLang="ja-JP" sz="4400" spc="50" dirty="0">
                  <a:latin typeface="+mj-ea"/>
                  <a:ea typeface="+mj-ea"/>
                </a:rPr>
                <a:t>Facebook</a:t>
              </a:r>
              <a:endParaRPr lang="ja-JP" altLang="en-US" sz="4400" spc="50" dirty="0">
                <a:latin typeface="+mj-ea"/>
                <a:ea typeface="+mj-ea"/>
              </a:endParaRPr>
            </a:p>
          </p:txBody>
        </p:sp>
        <p:sp>
          <p:nvSpPr>
            <p:cNvPr id="29" name="テキスト ボックス 28">
              <a:extLst>
                <a:ext uri="{FF2B5EF4-FFF2-40B4-BE49-F238E27FC236}">
                  <a16:creationId xmlns:a16="http://schemas.microsoft.com/office/drawing/2014/main" id="{C667FCB6-7B24-B6A5-5D9E-F758B385D634}"/>
                </a:ext>
              </a:extLst>
            </p:cNvPr>
            <p:cNvSpPr txBox="1"/>
            <p:nvPr/>
          </p:nvSpPr>
          <p:spPr>
            <a:xfrm>
              <a:off x="13907831" y="6171284"/>
              <a:ext cx="1933222" cy="1160126"/>
            </a:xfrm>
            <a:prstGeom prst="rect">
              <a:avLst/>
            </a:prstGeom>
            <a:noFill/>
          </p:spPr>
          <p:txBody>
            <a:bodyPr wrap="none" lIns="0" tIns="0" rIns="0" bIns="0" rtlCol="0" anchor="b">
              <a:spAutoFit/>
            </a:bodyPr>
            <a:lstStyle/>
            <a:p>
              <a:pPr algn="ctr">
                <a:lnSpc>
                  <a:spcPct val="120000"/>
                </a:lnSpc>
                <a:spcAft>
                  <a:spcPts val="1500"/>
                </a:spcAft>
              </a:pPr>
              <a:r>
                <a:rPr lang="en-US" altLang="ja-JP" sz="4400" spc="50" dirty="0">
                  <a:latin typeface="+mj-ea"/>
                  <a:ea typeface="+mj-ea"/>
                </a:rPr>
                <a:t>X</a:t>
              </a:r>
              <a:br>
                <a:rPr lang="en-US" altLang="ja-JP" sz="4400" spc="50" dirty="0">
                  <a:latin typeface="+mj-ea"/>
                  <a:ea typeface="+mj-ea"/>
                </a:rPr>
              </a:br>
              <a:r>
                <a:rPr lang="ja-JP" altLang="en-US" sz="2000" spc="50" dirty="0">
                  <a:latin typeface="+mj-ea"/>
                  <a:ea typeface="+mj-ea"/>
                </a:rPr>
                <a:t>（旧 </a:t>
              </a:r>
              <a:r>
                <a:rPr lang="en-US" altLang="ja-JP" sz="2000" spc="50" dirty="0">
                  <a:latin typeface="+mj-ea"/>
                  <a:ea typeface="+mj-ea"/>
                </a:rPr>
                <a:t>Twitter</a:t>
              </a:r>
              <a:r>
                <a:rPr lang="ja-JP" altLang="en-US" sz="2000" spc="50" dirty="0">
                  <a:latin typeface="+mj-ea"/>
                  <a:ea typeface="+mj-ea"/>
                </a:rPr>
                <a:t>）</a:t>
              </a:r>
              <a:endParaRPr lang="ja-JP" altLang="en-US" sz="4400" spc="50" dirty="0">
                <a:latin typeface="+mj-ea"/>
                <a:ea typeface="+mj-ea"/>
              </a:endParaRPr>
            </a:p>
          </p:txBody>
        </p:sp>
      </p:grpSp>
    </p:spTree>
    <p:extLst>
      <p:ext uri="{BB962C8B-B14F-4D97-AF65-F5344CB8AC3E}">
        <p14:creationId xmlns:p14="http://schemas.microsoft.com/office/powerpoint/2010/main" val="1889873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74C92599-3CAE-BCC7-F71A-94FAD2D112BB}"/>
              </a:ext>
            </a:extLst>
          </p:cNvPr>
          <p:cNvSpPr>
            <a:spLocks noGrp="1"/>
          </p:cNvSpPr>
          <p:nvPr>
            <p:ph type="title"/>
          </p:nvPr>
        </p:nvSpPr>
        <p:spPr>
          <a:xfrm>
            <a:off x="891741" y="506301"/>
            <a:ext cx="8503931" cy="492443"/>
          </a:xfrm>
        </p:spPr>
        <p:txBody>
          <a:bodyPr/>
          <a:lstStyle/>
          <a:p>
            <a:r>
              <a:rPr lang="ja-JP" altLang="en-US" dirty="0"/>
              <a:t>生成</a:t>
            </a:r>
            <a:r>
              <a:rPr lang="en-US" altLang="ja-JP" dirty="0"/>
              <a:t>AI</a:t>
            </a:r>
            <a:r>
              <a:rPr lang="ja-JP" altLang="en-US" dirty="0"/>
              <a:t>により生活・学習・仕事に大きな影響</a:t>
            </a:r>
          </a:p>
        </p:txBody>
      </p:sp>
      <p:sp>
        <p:nvSpPr>
          <p:cNvPr id="3" name="スライド番号プレースホルダー 2">
            <a:extLst>
              <a:ext uri="{FF2B5EF4-FFF2-40B4-BE49-F238E27FC236}">
                <a16:creationId xmlns:a16="http://schemas.microsoft.com/office/drawing/2014/main" id="{E46CC03C-A7A0-C2B2-D7AE-7999A29D3A61}"/>
              </a:ext>
            </a:extLst>
          </p:cNvPr>
          <p:cNvSpPr>
            <a:spLocks noGrp="1"/>
          </p:cNvSpPr>
          <p:nvPr>
            <p:ph type="sldNum" sz="quarter" idx="11"/>
          </p:nvPr>
        </p:nvSpPr>
        <p:spPr>
          <a:xfrm>
            <a:off x="17695001" y="9786651"/>
            <a:ext cx="327013" cy="307777"/>
          </a:xfrm>
        </p:spPr>
        <p:txBody>
          <a:bodyPr/>
          <a:lstStyle/>
          <a:p>
            <a:r>
              <a:rPr lang="en-US" altLang="ja-JP"/>
              <a:t>11</a:t>
            </a:r>
            <a:endParaRPr lang="ja-JP" altLang="en-US" dirty="0"/>
          </a:p>
        </p:txBody>
      </p:sp>
      <p:grpSp>
        <p:nvGrpSpPr>
          <p:cNvPr id="30" name="グループ化 29">
            <a:extLst>
              <a:ext uri="{FF2B5EF4-FFF2-40B4-BE49-F238E27FC236}">
                <a16:creationId xmlns:a16="http://schemas.microsoft.com/office/drawing/2014/main" id="{328A5814-6B8E-265A-33BD-03CA0EC9788F}"/>
              </a:ext>
            </a:extLst>
          </p:cNvPr>
          <p:cNvGrpSpPr/>
          <p:nvPr/>
        </p:nvGrpSpPr>
        <p:grpSpPr>
          <a:xfrm>
            <a:off x="891741" y="1607731"/>
            <a:ext cx="5217657" cy="8058782"/>
            <a:chOff x="891741" y="1607731"/>
            <a:chExt cx="5217657" cy="8058782"/>
          </a:xfrm>
        </p:grpSpPr>
        <p:sp>
          <p:nvSpPr>
            <p:cNvPr id="11" name="四角形: 角を丸くする 10">
              <a:extLst>
                <a:ext uri="{FF2B5EF4-FFF2-40B4-BE49-F238E27FC236}">
                  <a16:creationId xmlns:a16="http://schemas.microsoft.com/office/drawing/2014/main" id="{5295086A-01E1-5E72-5A50-B7130B9A3505}"/>
                </a:ext>
              </a:extLst>
            </p:cNvPr>
            <p:cNvSpPr/>
            <p:nvPr/>
          </p:nvSpPr>
          <p:spPr>
            <a:xfrm>
              <a:off x="891741"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7CC983FF-AAA8-CB21-F816-B99B08ED053B}"/>
                </a:ext>
              </a:extLst>
            </p:cNvPr>
            <p:cNvSpPr/>
            <p:nvPr/>
          </p:nvSpPr>
          <p:spPr>
            <a:xfrm>
              <a:off x="2152921" y="1607731"/>
              <a:ext cx="269529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生活の変化</a:t>
              </a:r>
            </a:p>
          </p:txBody>
        </p:sp>
        <p:grpSp>
          <p:nvGrpSpPr>
            <p:cNvPr id="17" name="グループ化 16">
              <a:extLst>
                <a:ext uri="{FF2B5EF4-FFF2-40B4-BE49-F238E27FC236}">
                  <a16:creationId xmlns:a16="http://schemas.microsoft.com/office/drawing/2014/main" id="{EC55229F-047A-6879-0A94-2E3C0181C814}"/>
                </a:ext>
              </a:extLst>
            </p:cNvPr>
            <p:cNvGrpSpPr/>
            <p:nvPr/>
          </p:nvGrpSpPr>
          <p:grpSpPr>
            <a:xfrm>
              <a:off x="1314074" y="5961442"/>
              <a:ext cx="4372992" cy="3161905"/>
              <a:chOff x="1314074" y="5625638"/>
              <a:chExt cx="4372992" cy="3161905"/>
            </a:xfrm>
          </p:grpSpPr>
          <p:sp>
            <p:nvSpPr>
              <p:cNvPr id="7" name="テキスト ボックス 6">
                <a:extLst>
                  <a:ext uri="{FF2B5EF4-FFF2-40B4-BE49-F238E27FC236}">
                    <a16:creationId xmlns:a16="http://schemas.microsoft.com/office/drawing/2014/main" id="{574F2188-C5FA-6408-44C3-DB2341FC268D}"/>
                  </a:ext>
                </a:extLst>
              </p:cNvPr>
              <p:cNvSpPr txBox="1"/>
              <p:nvPr/>
            </p:nvSpPr>
            <p:spPr>
              <a:xfrm>
                <a:off x="1395185" y="6886958"/>
                <a:ext cx="4210768" cy="1900585"/>
              </a:xfrm>
              <a:prstGeom prst="rect">
                <a:avLst/>
              </a:prstGeom>
              <a:noFill/>
            </p:spPr>
            <p:txBody>
              <a:bodyPr wrap="none" lIns="0" tIns="0" rIns="0" bIns="0" rtlCol="0">
                <a:spAutoFit/>
              </a:bodyPr>
              <a:lstStyle/>
              <a:p>
                <a:pPr marL="360000" indent="-360000">
                  <a:lnSpc>
                    <a:spcPct val="120000"/>
                  </a:lnSpc>
                  <a:spcAft>
                    <a:spcPts val="1200"/>
                  </a:spcAft>
                  <a:buClr>
                    <a:schemeClr val="accent1"/>
                  </a:buClr>
                  <a:buFont typeface="Wingdings" panose="05000000000000000000" pitchFamily="2" charset="2"/>
                  <a:buChar char="l"/>
                </a:pPr>
                <a:r>
                  <a:rPr kumimoji="1" lang="ja-JP" altLang="en-US" sz="2400" spc="100" dirty="0">
                    <a:latin typeface="+mn-ea"/>
                  </a:rPr>
                  <a:t>一人ひとりに合わせた商品</a:t>
                </a:r>
                <a:br>
                  <a:rPr kumimoji="1" lang="en-US" altLang="ja-JP" sz="2400" spc="100" dirty="0">
                    <a:latin typeface="+mn-ea"/>
                  </a:rPr>
                </a:br>
                <a:r>
                  <a:rPr kumimoji="1" lang="ja-JP" altLang="en-US" sz="2400" spc="100" dirty="0">
                    <a:latin typeface="+mn-ea"/>
                  </a:rPr>
                  <a:t>やサービスを受けられる</a:t>
                </a:r>
              </a:p>
              <a:p>
                <a:pPr marL="360000" indent="-360000">
                  <a:lnSpc>
                    <a:spcPct val="120000"/>
                  </a:lnSpc>
                  <a:spcAft>
                    <a:spcPts val="1200"/>
                  </a:spcAft>
                  <a:buClr>
                    <a:schemeClr val="accent1"/>
                  </a:buClr>
                  <a:buFont typeface="Wingdings" panose="05000000000000000000" pitchFamily="2" charset="2"/>
                  <a:buChar char="l"/>
                </a:pPr>
                <a:r>
                  <a:rPr kumimoji="1" lang="en-US" altLang="ja-JP" sz="2400" spc="100" dirty="0">
                    <a:latin typeface="+mn-ea"/>
                  </a:rPr>
                  <a:t>24</a:t>
                </a:r>
                <a:r>
                  <a:rPr kumimoji="1" lang="ja-JP" altLang="en-US" sz="2400" spc="100" dirty="0">
                    <a:latin typeface="+mn-ea"/>
                  </a:rPr>
                  <a:t>時間</a:t>
                </a:r>
                <a:r>
                  <a:rPr kumimoji="1" lang="en-US" altLang="ja-JP" sz="2400" spc="100" dirty="0">
                    <a:latin typeface="+mn-ea"/>
                  </a:rPr>
                  <a:t>365</a:t>
                </a:r>
                <a:r>
                  <a:rPr kumimoji="1" lang="ja-JP" altLang="en-US" sz="2400" spc="100" dirty="0">
                    <a:latin typeface="+mn-ea"/>
                  </a:rPr>
                  <a:t>日同じ</a:t>
                </a:r>
                <a:br>
                  <a:rPr kumimoji="1" lang="en-US" altLang="ja-JP" sz="2400" spc="100" dirty="0">
                    <a:latin typeface="+mn-ea"/>
                  </a:rPr>
                </a:br>
                <a:r>
                  <a:rPr kumimoji="1" lang="ja-JP" altLang="en-US" sz="2400" spc="100" dirty="0">
                    <a:latin typeface="+mn-ea"/>
                  </a:rPr>
                  <a:t>サービスを受けられる</a:t>
                </a:r>
                <a:r>
                  <a:rPr kumimoji="1" lang="ja-JP" altLang="en-US" sz="1800" spc="100" dirty="0">
                    <a:latin typeface="+mn-ea"/>
                  </a:rPr>
                  <a:t> など</a:t>
                </a:r>
              </a:p>
            </p:txBody>
          </p:sp>
          <p:sp>
            <p:nvSpPr>
              <p:cNvPr id="8" name="テキスト ボックス 7">
                <a:extLst>
                  <a:ext uri="{FF2B5EF4-FFF2-40B4-BE49-F238E27FC236}">
                    <a16:creationId xmlns:a16="http://schemas.microsoft.com/office/drawing/2014/main" id="{EAD657F6-3943-C36F-DD81-2762906AC9C1}"/>
                  </a:ext>
                </a:extLst>
              </p:cNvPr>
              <p:cNvSpPr txBox="1"/>
              <p:nvPr/>
            </p:nvSpPr>
            <p:spPr>
              <a:xfrm>
                <a:off x="1314074" y="5625638"/>
                <a:ext cx="4372992" cy="1075423"/>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000" spc="100" dirty="0">
                    <a:latin typeface="+mj-ea"/>
                    <a:ea typeface="+mj-ea"/>
                  </a:rPr>
                  <a:t>日々受けられる</a:t>
                </a:r>
                <a:br>
                  <a:rPr kumimoji="1" lang="en-US" altLang="ja-JP" sz="3000" spc="100" dirty="0">
                    <a:latin typeface="+mj-ea"/>
                    <a:ea typeface="+mj-ea"/>
                  </a:rPr>
                </a:br>
                <a:r>
                  <a:rPr kumimoji="1" lang="ja-JP" altLang="en-US" sz="3000" spc="100" dirty="0">
                    <a:latin typeface="+mj-ea"/>
                    <a:ea typeface="+mj-ea"/>
                  </a:rPr>
                  <a:t>サービスの質が向上する</a:t>
                </a:r>
              </a:p>
            </p:txBody>
          </p:sp>
        </p:grpSp>
        <p:sp>
          <p:nvSpPr>
            <p:cNvPr id="24" name="楕円 23">
              <a:extLst>
                <a:ext uri="{FF2B5EF4-FFF2-40B4-BE49-F238E27FC236}">
                  <a16:creationId xmlns:a16="http://schemas.microsoft.com/office/drawing/2014/main" id="{6D38EAD9-1E67-91C1-B6C2-4948AE69F5D8}"/>
                </a:ext>
              </a:extLst>
            </p:cNvPr>
            <p:cNvSpPr/>
            <p:nvPr/>
          </p:nvSpPr>
          <p:spPr>
            <a:xfrm>
              <a:off x="1173009" y="2260606"/>
              <a:ext cx="693683" cy="69368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例</a:t>
              </a:r>
              <a:endParaRPr kumimoji="1" lang="ja-JP" altLang="en-US" dirty="0">
                <a:solidFill>
                  <a:schemeClr val="tx1"/>
                </a:solidFill>
              </a:endParaRPr>
            </a:p>
          </p:txBody>
        </p:sp>
        <p:pic>
          <p:nvPicPr>
            <p:cNvPr id="5" name="図 4">
              <a:extLst>
                <a:ext uri="{FF2B5EF4-FFF2-40B4-BE49-F238E27FC236}">
                  <a16:creationId xmlns:a16="http://schemas.microsoft.com/office/drawing/2014/main" id="{B65C1C3F-73B6-B88E-D2C4-22E8C55FD1D7}"/>
                </a:ext>
              </a:extLst>
            </p:cNvPr>
            <p:cNvPicPr>
              <a:picLocks noChangeAspect="1"/>
            </p:cNvPicPr>
            <p:nvPr/>
          </p:nvPicPr>
          <p:blipFill>
            <a:blip r:embed="rId3"/>
            <a:stretch>
              <a:fillRect/>
            </a:stretch>
          </p:blipFill>
          <p:spPr>
            <a:xfrm>
              <a:off x="2031606" y="2616683"/>
              <a:ext cx="2895851" cy="3029975"/>
            </a:xfrm>
            <a:prstGeom prst="rect">
              <a:avLst/>
            </a:prstGeom>
          </p:spPr>
        </p:pic>
      </p:grpSp>
      <p:grpSp>
        <p:nvGrpSpPr>
          <p:cNvPr id="29" name="グループ化 28">
            <a:extLst>
              <a:ext uri="{FF2B5EF4-FFF2-40B4-BE49-F238E27FC236}">
                <a16:creationId xmlns:a16="http://schemas.microsoft.com/office/drawing/2014/main" id="{50C67D27-F6F5-B653-251B-7687FECC3D33}"/>
              </a:ext>
            </a:extLst>
          </p:cNvPr>
          <p:cNvGrpSpPr/>
          <p:nvPr/>
        </p:nvGrpSpPr>
        <p:grpSpPr>
          <a:xfrm>
            <a:off x="6535172" y="1607731"/>
            <a:ext cx="5217657" cy="8058782"/>
            <a:chOff x="6535172" y="1607731"/>
            <a:chExt cx="5217657" cy="8058782"/>
          </a:xfrm>
        </p:grpSpPr>
        <p:sp>
          <p:nvSpPr>
            <p:cNvPr id="12" name="四角形: 角を丸くする 11">
              <a:extLst>
                <a:ext uri="{FF2B5EF4-FFF2-40B4-BE49-F238E27FC236}">
                  <a16:creationId xmlns:a16="http://schemas.microsoft.com/office/drawing/2014/main" id="{C9FD0044-A5AE-CC33-B835-40423A00ADB9}"/>
                </a:ext>
              </a:extLst>
            </p:cNvPr>
            <p:cNvSpPr/>
            <p:nvPr/>
          </p:nvSpPr>
          <p:spPr>
            <a:xfrm>
              <a:off x="6535172"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FAF94DE2-14EC-BAF0-A28E-D0D60D2400E8}"/>
                </a:ext>
              </a:extLst>
            </p:cNvPr>
            <p:cNvSpPr/>
            <p:nvPr/>
          </p:nvSpPr>
          <p:spPr>
            <a:xfrm>
              <a:off x="7796353" y="1607731"/>
              <a:ext cx="269529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3200" spc="100" dirty="0">
                  <a:solidFill>
                    <a:schemeClr val="bg1"/>
                  </a:solidFill>
                  <a:latin typeface="+mj-ea"/>
                  <a:ea typeface="+mj-ea"/>
                </a:rPr>
                <a:t>学習の変化</a:t>
              </a:r>
              <a:endParaRPr kumimoji="1" lang="ja-JP" altLang="en-US" sz="3200" spc="100" dirty="0">
                <a:solidFill>
                  <a:schemeClr val="bg1"/>
                </a:solidFill>
                <a:latin typeface="+mj-ea"/>
                <a:ea typeface="+mj-ea"/>
              </a:endParaRPr>
            </a:p>
          </p:txBody>
        </p:sp>
        <p:grpSp>
          <p:nvGrpSpPr>
            <p:cNvPr id="18" name="グループ化 17">
              <a:extLst>
                <a:ext uri="{FF2B5EF4-FFF2-40B4-BE49-F238E27FC236}">
                  <a16:creationId xmlns:a16="http://schemas.microsoft.com/office/drawing/2014/main" id="{BF259436-07AD-5350-1DB8-E1BB9EE547BB}"/>
                </a:ext>
              </a:extLst>
            </p:cNvPr>
            <p:cNvGrpSpPr/>
            <p:nvPr/>
          </p:nvGrpSpPr>
          <p:grpSpPr>
            <a:xfrm>
              <a:off x="6878316" y="5961442"/>
              <a:ext cx="4531369" cy="2275508"/>
              <a:chOff x="1262777" y="5625638"/>
              <a:chExt cx="4531369" cy="2275508"/>
            </a:xfrm>
          </p:grpSpPr>
          <p:sp>
            <p:nvSpPr>
              <p:cNvPr id="19" name="テキスト ボックス 18">
                <a:extLst>
                  <a:ext uri="{FF2B5EF4-FFF2-40B4-BE49-F238E27FC236}">
                    <a16:creationId xmlns:a16="http://schemas.microsoft.com/office/drawing/2014/main" id="{308AEDEF-A450-DB35-3428-187C58718726}"/>
                  </a:ext>
                </a:extLst>
              </p:cNvPr>
              <p:cNvSpPr txBox="1"/>
              <p:nvPr/>
            </p:nvSpPr>
            <p:spPr>
              <a:xfrm>
                <a:off x="1262777" y="6886958"/>
                <a:ext cx="4531369" cy="1014188"/>
              </a:xfrm>
              <a:prstGeom prst="rect">
                <a:avLst/>
              </a:prstGeom>
              <a:noFill/>
            </p:spPr>
            <p:txBody>
              <a:bodyPr wrap="none" lIns="0" tIns="0" rIns="0" bIns="0" rtlCol="0">
                <a:spAutoFit/>
              </a:bodyPr>
              <a:lstStyle/>
              <a:p>
                <a:pPr marL="360000" indent="-360000">
                  <a:lnSpc>
                    <a:spcPct val="120000"/>
                  </a:lnSpc>
                  <a:spcAft>
                    <a:spcPts val="1200"/>
                  </a:spcAft>
                  <a:buClr>
                    <a:schemeClr val="accent1"/>
                  </a:buClr>
                  <a:buFont typeface="Wingdings" panose="05000000000000000000" pitchFamily="2" charset="2"/>
                  <a:buChar char="l"/>
                </a:pPr>
                <a:r>
                  <a:rPr kumimoji="1" lang="ja-JP" altLang="en-US" sz="2400" spc="100" dirty="0">
                    <a:latin typeface="+mn-ea"/>
                  </a:rPr>
                  <a:t>答えではなく、考え方を提示</a:t>
                </a:r>
              </a:p>
              <a:p>
                <a:pPr marL="360000" indent="-360000">
                  <a:lnSpc>
                    <a:spcPct val="120000"/>
                  </a:lnSpc>
                  <a:spcAft>
                    <a:spcPts val="1200"/>
                  </a:spcAft>
                  <a:buClr>
                    <a:schemeClr val="accent1"/>
                  </a:buClr>
                  <a:buFont typeface="Wingdings" panose="05000000000000000000" pitchFamily="2" charset="2"/>
                  <a:buChar char="l"/>
                </a:pPr>
                <a:r>
                  <a:rPr kumimoji="1" lang="ja-JP" altLang="en-US" sz="2400" spc="100" dirty="0">
                    <a:latin typeface="+mn-ea"/>
                  </a:rPr>
                  <a:t>英会話の練習相手</a:t>
                </a:r>
                <a:r>
                  <a:rPr kumimoji="1" lang="ja-JP" altLang="en-US" sz="1800" spc="100" dirty="0">
                    <a:latin typeface="+mn-ea"/>
                  </a:rPr>
                  <a:t> </a:t>
                </a:r>
                <a:r>
                  <a:rPr lang="ja-JP" altLang="en-US" sz="1800" spc="100" dirty="0">
                    <a:latin typeface="+mn-ea"/>
                  </a:rPr>
                  <a:t>など</a:t>
                </a:r>
                <a:endParaRPr kumimoji="1" lang="ja-JP" altLang="en-US" sz="1800" spc="100" dirty="0">
                  <a:latin typeface="+mn-ea"/>
                </a:endParaRPr>
              </a:p>
            </p:txBody>
          </p:sp>
          <p:sp>
            <p:nvSpPr>
              <p:cNvPr id="20" name="テキスト ボックス 19">
                <a:extLst>
                  <a:ext uri="{FF2B5EF4-FFF2-40B4-BE49-F238E27FC236}">
                    <a16:creationId xmlns:a16="http://schemas.microsoft.com/office/drawing/2014/main" id="{387D8729-E953-AAE2-94C7-F2C54EDA9248}"/>
                  </a:ext>
                </a:extLst>
              </p:cNvPr>
              <p:cNvSpPr txBox="1"/>
              <p:nvPr/>
            </p:nvSpPr>
            <p:spPr>
              <a:xfrm>
                <a:off x="2175527" y="5625638"/>
                <a:ext cx="2782813" cy="1075423"/>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000" spc="100" dirty="0">
                    <a:latin typeface="+mj-ea"/>
                    <a:ea typeface="+mj-ea"/>
                  </a:rPr>
                  <a:t>学習効率や</a:t>
                </a:r>
                <a:br>
                  <a:rPr kumimoji="1" lang="en-US" altLang="ja-JP" sz="3000" spc="100" dirty="0">
                    <a:latin typeface="+mj-ea"/>
                    <a:ea typeface="+mj-ea"/>
                  </a:rPr>
                </a:br>
                <a:r>
                  <a:rPr kumimoji="1" lang="ja-JP" altLang="en-US" sz="3000" spc="100" dirty="0">
                    <a:latin typeface="+mj-ea"/>
                    <a:ea typeface="+mj-ea"/>
                  </a:rPr>
                  <a:t>効果が向上する</a:t>
                </a:r>
              </a:p>
            </p:txBody>
          </p:sp>
        </p:grpSp>
        <p:sp>
          <p:nvSpPr>
            <p:cNvPr id="25" name="楕円 24">
              <a:extLst>
                <a:ext uri="{FF2B5EF4-FFF2-40B4-BE49-F238E27FC236}">
                  <a16:creationId xmlns:a16="http://schemas.microsoft.com/office/drawing/2014/main" id="{951292B4-2461-CE1E-6E1C-6D1D6C06BB60}"/>
                </a:ext>
              </a:extLst>
            </p:cNvPr>
            <p:cNvSpPr/>
            <p:nvPr/>
          </p:nvSpPr>
          <p:spPr>
            <a:xfrm>
              <a:off x="6818921" y="2260606"/>
              <a:ext cx="693683" cy="69368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例</a:t>
              </a:r>
              <a:endParaRPr kumimoji="1" lang="ja-JP" altLang="en-US" dirty="0">
                <a:solidFill>
                  <a:schemeClr val="tx1"/>
                </a:solidFill>
              </a:endParaRPr>
            </a:p>
          </p:txBody>
        </p:sp>
        <p:pic>
          <p:nvPicPr>
            <p:cNvPr id="9" name="図 8">
              <a:extLst>
                <a:ext uri="{FF2B5EF4-FFF2-40B4-BE49-F238E27FC236}">
                  <a16:creationId xmlns:a16="http://schemas.microsoft.com/office/drawing/2014/main" id="{E889F730-4955-189C-F155-AF49013F34A4}"/>
                </a:ext>
              </a:extLst>
            </p:cNvPr>
            <p:cNvPicPr>
              <a:picLocks noChangeAspect="1"/>
            </p:cNvPicPr>
            <p:nvPr/>
          </p:nvPicPr>
          <p:blipFill>
            <a:blip r:embed="rId4"/>
            <a:stretch>
              <a:fillRect/>
            </a:stretch>
          </p:blipFill>
          <p:spPr>
            <a:xfrm>
              <a:off x="7226642" y="2722196"/>
              <a:ext cx="3834716" cy="2804403"/>
            </a:xfrm>
            <a:prstGeom prst="rect">
              <a:avLst/>
            </a:prstGeom>
          </p:spPr>
        </p:pic>
      </p:grpSp>
      <p:grpSp>
        <p:nvGrpSpPr>
          <p:cNvPr id="28" name="グループ化 27">
            <a:extLst>
              <a:ext uri="{FF2B5EF4-FFF2-40B4-BE49-F238E27FC236}">
                <a16:creationId xmlns:a16="http://schemas.microsoft.com/office/drawing/2014/main" id="{8C06DF65-4A0D-514B-C960-87CAA6D36A4E}"/>
              </a:ext>
            </a:extLst>
          </p:cNvPr>
          <p:cNvGrpSpPr/>
          <p:nvPr/>
        </p:nvGrpSpPr>
        <p:grpSpPr>
          <a:xfrm>
            <a:off x="12178602" y="1629371"/>
            <a:ext cx="5217657" cy="8037142"/>
            <a:chOff x="12178602" y="1629371"/>
            <a:chExt cx="5217657" cy="8037142"/>
          </a:xfrm>
        </p:grpSpPr>
        <p:sp>
          <p:nvSpPr>
            <p:cNvPr id="13" name="四角形: 角を丸くする 12">
              <a:extLst>
                <a:ext uri="{FF2B5EF4-FFF2-40B4-BE49-F238E27FC236}">
                  <a16:creationId xmlns:a16="http://schemas.microsoft.com/office/drawing/2014/main" id="{66C144AF-A5F3-D51D-F897-366C33C15833}"/>
                </a:ext>
              </a:extLst>
            </p:cNvPr>
            <p:cNvSpPr/>
            <p:nvPr/>
          </p:nvSpPr>
          <p:spPr>
            <a:xfrm>
              <a:off x="12178602"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3BA2035A-B5CC-1AB4-6722-0F5C7B90029E}"/>
                </a:ext>
              </a:extLst>
            </p:cNvPr>
            <p:cNvSpPr/>
            <p:nvPr/>
          </p:nvSpPr>
          <p:spPr>
            <a:xfrm>
              <a:off x="13509487" y="1629371"/>
              <a:ext cx="2555893" cy="70030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3000" spc="100" dirty="0">
                  <a:solidFill>
                    <a:schemeClr val="bg1"/>
                  </a:solidFill>
                  <a:latin typeface="+mj-ea"/>
                  <a:ea typeface="+mj-ea"/>
                </a:rPr>
                <a:t>仕事の変化</a:t>
              </a:r>
              <a:endParaRPr kumimoji="1" lang="ja-JP" altLang="en-US" sz="3000" spc="100" dirty="0">
                <a:solidFill>
                  <a:schemeClr val="bg1"/>
                </a:solidFill>
                <a:latin typeface="+mj-ea"/>
                <a:ea typeface="+mj-ea"/>
              </a:endParaRPr>
            </a:p>
          </p:txBody>
        </p:sp>
        <p:grpSp>
          <p:nvGrpSpPr>
            <p:cNvPr id="21" name="グループ化 20">
              <a:extLst>
                <a:ext uri="{FF2B5EF4-FFF2-40B4-BE49-F238E27FC236}">
                  <a16:creationId xmlns:a16="http://schemas.microsoft.com/office/drawing/2014/main" id="{B323E62A-7BED-F1FE-D9A0-78D8007E7011}"/>
                </a:ext>
              </a:extLst>
            </p:cNvPr>
            <p:cNvGrpSpPr/>
            <p:nvPr/>
          </p:nvGrpSpPr>
          <p:grpSpPr>
            <a:xfrm>
              <a:off x="12467076" y="5998376"/>
              <a:ext cx="4655121" cy="3215380"/>
              <a:chOff x="1243999" y="5071641"/>
              <a:chExt cx="4655121" cy="3215380"/>
            </a:xfrm>
          </p:grpSpPr>
          <p:sp>
            <p:nvSpPr>
              <p:cNvPr id="22" name="テキスト ボックス 21">
                <a:extLst>
                  <a:ext uri="{FF2B5EF4-FFF2-40B4-BE49-F238E27FC236}">
                    <a16:creationId xmlns:a16="http://schemas.microsoft.com/office/drawing/2014/main" id="{ECB9A9D6-48F1-7732-2825-11B0FE7C13DD}"/>
                  </a:ext>
                </a:extLst>
              </p:cNvPr>
              <p:cNvSpPr txBox="1"/>
              <p:nvPr/>
            </p:nvSpPr>
            <p:spPr>
              <a:xfrm>
                <a:off x="1243999" y="6886958"/>
                <a:ext cx="4655121" cy="1400063"/>
              </a:xfrm>
              <a:prstGeom prst="rect">
                <a:avLst/>
              </a:prstGeom>
              <a:noFill/>
            </p:spPr>
            <p:txBody>
              <a:bodyPr wrap="none" lIns="0" tIns="0" rIns="0" bIns="0" rtlCol="0">
                <a:spAutoFit/>
              </a:bodyPr>
              <a:lstStyle/>
              <a:p>
                <a:pPr marL="324000" indent="-324000">
                  <a:lnSpc>
                    <a:spcPct val="120000"/>
                  </a:lnSpc>
                  <a:spcAft>
                    <a:spcPts val="800"/>
                  </a:spcAft>
                  <a:buClr>
                    <a:schemeClr val="accent1"/>
                  </a:buClr>
                  <a:buFont typeface="Wingdings" panose="05000000000000000000" pitchFamily="2" charset="2"/>
                  <a:buChar char="l"/>
                </a:pPr>
                <a:r>
                  <a:rPr kumimoji="1" lang="ja-JP" altLang="en-US" sz="2200" spc="50" dirty="0">
                    <a:latin typeface="+mn-ea"/>
                  </a:rPr>
                  <a:t>資料、議事録の自動作成</a:t>
                </a:r>
              </a:p>
              <a:p>
                <a:pPr marL="324000" indent="-324000">
                  <a:lnSpc>
                    <a:spcPct val="120000"/>
                  </a:lnSpc>
                  <a:spcAft>
                    <a:spcPts val="800"/>
                  </a:spcAft>
                  <a:buClr>
                    <a:schemeClr val="accent1"/>
                  </a:buClr>
                  <a:buFont typeface="Wingdings" panose="05000000000000000000" pitchFamily="2" charset="2"/>
                  <a:buChar char="l"/>
                </a:pPr>
                <a:r>
                  <a:rPr kumimoji="1" lang="ja-JP" altLang="en-US" sz="2200" spc="50" dirty="0">
                    <a:latin typeface="+mn-ea"/>
                  </a:rPr>
                  <a:t>データ分析による広告の自動生成</a:t>
                </a:r>
              </a:p>
              <a:p>
                <a:pPr marL="324000" indent="-324000">
                  <a:lnSpc>
                    <a:spcPct val="120000"/>
                  </a:lnSpc>
                  <a:spcAft>
                    <a:spcPts val="800"/>
                  </a:spcAft>
                  <a:buClr>
                    <a:schemeClr val="accent1"/>
                  </a:buClr>
                  <a:buFont typeface="Wingdings" panose="05000000000000000000" pitchFamily="2" charset="2"/>
                  <a:buChar char="l"/>
                </a:pPr>
                <a:r>
                  <a:rPr kumimoji="1" lang="ja-JP" altLang="en-US" sz="2200" spc="50" dirty="0">
                    <a:latin typeface="+mn-ea"/>
                  </a:rPr>
                  <a:t>企画段階の議論のパートナー </a:t>
                </a:r>
                <a:r>
                  <a:rPr kumimoji="1" lang="ja-JP" altLang="en-US" sz="1600" spc="50" dirty="0">
                    <a:latin typeface="+mn-ea"/>
                  </a:rPr>
                  <a:t>など</a:t>
                </a:r>
                <a:endParaRPr kumimoji="1" lang="ja-JP" altLang="en-US" sz="2200" spc="50" dirty="0">
                  <a:latin typeface="+mn-ea"/>
                </a:endParaRPr>
              </a:p>
            </p:txBody>
          </p:sp>
          <p:sp>
            <p:nvSpPr>
              <p:cNvPr id="23" name="テキスト ボックス 22">
                <a:extLst>
                  <a:ext uri="{FF2B5EF4-FFF2-40B4-BE49-F238E27FC236}">
                    <a16:creationId xmlns:a16="http://schemas.microsoft.com/office/drawing/2014/main" id="{48A8F322-3FDF-790E-D65D-3AC4C6EB4F52}"/>
                  </a:ext>
                </a:extLst>
              </p:cNvPr>
              <p:cNvSpPr txBox="1"/>
              <p:nvPr/>
            </p:nvSpPr>
            <p:spPr>
              <a:xfrm>
                <a:off x="1375277" y="5071641"/>
                <a:ext cx="4372992" cy="1629420"/>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000" spc="100" dirty="0">
                    <a:latin typeface="+mj-ea"/>
                    <a:ea typeface="+mj-ea"/>
                  </a:rPr>
                  <a:t>仕事の効率や</a:t>
                </a:r>
                <a:br>
                  <a:rPr kumimoji="1" lang="en-US" altLang="ja-JP" sz="3000" spc="100" dirty="0">
                    <a:latin typeface="+mj-ea"/>
                    <a:ea typeface="+mj-ea"/>
                  </a:rPr>
                </a:br>
                <a:r>
                  <a:rPr kumimoji="1" lang="ja-JP" altLang="en-US" sz="3000" spc="100" dirty="0">
                    <a:latin typeface="+mj-ea"/>
                    <a:ea typeface="+mj-ea"/>
                  </a:rPr>
                  <a:t>効果が向上するほか、</a:t>
                </a:r>
                <a:br>
                  <a:rPr kumimoji="1" lang="en-US" altLang="ja-JP" sz="3000" spc="100" dirty="0">
                    <a:latin typeface="+mj-ea"/>
                    <a:ea typeface="+mj-ea"/>
                  </a:rPr>
                </a:br>
                <a:r>
                  <a:rPr kumimoji="1" lang="ja-JP" altLang="en-US" sz="3000" spc="100" dirty="0">
                    <a:latin typeface="+mj-ea"/>
                    <a:ea typeface="+mj-ea"/>
                  </a:rPr>
                  <a:t>業務プロセスが変化する</a:t>
                </a:r>
              </a:p>
            </p:txBody>
          </p:sp>
        </p:grpSp>
        <p:sp>
          <p:nvSpPr>
            <p:cNvPr id="26" name="楕円 25">
              <a:extLst>
                <a:ext uri="{FF2B5EF4-FFF2-40B4-BE49-F238E27FC236}">
                  <a16:creationId xmlns:a16="http://schemas.microsoft.com/office/drawing/2014/main" id="{1632D831-4DFB-D4C0-2133-2F9996F26A08}"/>
                </a:ext>
              </a:extLst>
            </p:cNvPr>
            <p:cNvSpPr/>
            <p:nvPr/>
          </p:nvSpPr>
          <p:spPr>
            <a:xfrm>
              <a:off x="12467076" y="2260606"/>
              <a:ext cx="693683" cy="69368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例</a:t>
              </a:r>
              <a:endParaRPr kumimoji="1" lang="ja-JP" altLang="en-US" dirty="0">
                <a:solidFill>
                  <a:schemeClr val="tx1"/>
                </a:solidFill>
              </a:endParaRPr>
            </a:p>
          </p:txBody>
        </p:sp>
        <p:pic>
          <p:nvPicPr>
            <p:cNvPr id="27" name="図 26">
              <a:extLst>
                <a:ext uri="{FF2B5EF4-FFF2-40B4-BE49-F238E27FC236}">
                  <a16:creationId xmlns:a16="http://schemas.microsoft.com/office/drawing/2014/main" id="{B8428860-21C3-9B57-7E3B-F2166651D81D}"/>
                </a:ext>
              </a:extLst>
            </p:cNvPr>
            <p:cNvPicPr>
              <a:picLocks noChangeAspect="1"/>
            </p:cNvPicPr>
            <p:nvPr/>
          </p:nvPicPr>
          <p:blipFill>
            <a:blip r:embed="rId5"/>
            <a:stretch>
              <a:fillRect/>
            </a:stretch>
          </p:blipFill>
          <p:spPr>
            <a:xfrm>
              <a:off x="13029691" y="2515573"/>
              <a:ext cx="3529890" cy="3017782"/>
            </a:xfrm>
            <a:prstGeom prst="rect">
              <a:avLst/>
            </a:prstGeom>
          </p:spPr>
        </p:pic>
      </p:grpSp>
    </p:spTree>
    <p:extLst>
      <p:ext uri="{BB962C8B-B14F-4D97-AF65-F5344CB8AC3E}">
        <p14:creationId xmlns:p14="http://schemas.microsoft.com/office/powerpoint/2010/main" val="125408982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A5B05785-2E64-A894-4A43-11EB1B706600}"/>
              </a:ext>
            </a:extLst>
          </p:cNvPr>
          <p:cNvSpPr>
            <a:spLocks noGrp="1"/>
          </p:cNvSpPr>
          <p:nvPr>
            <p:ph type="sldNum" sz="quarter" idx="11"/>
          </p:nvPr>
        </p:nvSpPr>
        <p:spPr>
          <a:xfrm>
            <a:off x="17695001" y="9786651"/>
            <a:ext cx="327013" cy="307777"/>
          </a:xfrm>
        </p:spPr>
        <p:txBody>
          <a:bodyPr/>
          <a:lstStyle/>
          <a:p>
            <a:r>
              <a:rPr lang="en-US" altLang="ja-JP"/>
              <a:t>12</a:t>
            </a:r>
            <a:endParaRPr lang="ja-JP" altLang="en-US" dirty="0"/>
          </a:p>
        </p:txBody>
      </p:sp>
      <p:sp>
        <p:nvSpPr>
          <p:cNvPr id="2" name="テキスト ボックス 1">
            <a:extLst>
              <a:ext uri="{FF2B5EF4-FFF2-40B4-BE49-F238E27FC236}">
                <a16:creationId xmlns:a16="http://schemas.microsoft.com/office/drawing/2014/main" id="{A99DE297-6152-E639-A912-21040410EAE5}"/>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9EE408DD-0BA1-2BCD-3472-7B93F69E071C}"/>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426427307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2" name="タイトル 31">
            <a:extLst>
              <a:ext uri="{FF2B5EF4-FFF2-40B4-BE49-F238E27FC236}">
                <a16:creationId xmlns:a16="http://schemas.microsoft.com/office/drawing/2014/main" id="{10F213F6-C74B-DD73-0A54-F910427318F4}"/>
              </a:ext>
            </a:extLst>
          </p:cNvPr>
          <p:cNvSpPr>
            <a:spLocks noGrp="1"/>
          </p:cNvSpPr>
          <p:nvPr>
            <p:ph type="title"/>
          </p:nvPr>
        </p:nvSpPr>
        <p:spPr>
          <a:xfrm>
            <a:off x="891741" y="506301"/>
            <a:ext cx="9440085" cy="492443"/>
          </a:xfrm>
        </p:spPr>
        <p:txBody>
          <a:bodyPr/>
          <a:lstStyle/>
          <a:p>
            <a:r>
              <a:rPr lang="ja-JP" altLang="en-US" dirty="0"/>
              <a:t>生成</a:t>
            </a:r>
            <a:r>
              <a:rPr lang="en-US" altLang="ja-JP" dirty="0"/>
              <a:t>AI</a:t>
            </a:r>
            <a:r>
              <a:rPr lang="ja-JP" altLang="en-US" dirty="0"/>
              <a:t>は幅広い場面で活用できる </a:t>
            </a:r>
            <a:r>
              <a:rPr lang="en-US" altLang="ja-JP" dirty="0"/>
              <a:t>(</a:t>
            </a:r>
            <a:r>
              <a:rPr lang="ja-JP" altLang="en-US" dirty="0"/>
              <a:t>以下は代表例</a:t>
            </a:r>
            <a:r>
              <a:rPr lang="en-US" altLang="ja-JP" dirty="0"/>
              <a:t>)</a:t>
            </a:r>
            <a:endParaRPr lang="ja-JP" altLang="en-US" dirty="0"/>
          </a:p>
        </p:txBody>
      </p:sp>
      <p:sp>
        <p:nvSpPr>
          <p:cNvPr id="11" name="スライド番号プレースホルダー 10">
            <a:extLst>
              <a:ext uri="{FF2B5EF4-FFF2-40B4-BE49-F238E27FC236}">
                <a16:creationId xmlns:a16="http://schemas.microsoft.com/office/drawing/2014/main" id="{524255F0-7AE6-8B7C-A252-C76461472320}"/>
              </a:ext>
            </a:extLst>
          </p:cNvPr>
          <p:cNvSpPr>
            <a:spLocks noGrp="1"/>
          </p:cNvSpPr>
          <p:nvPr>
            <p:ph type="sldNum" sz="quarter" idx="11"/>
          </p:nvPr>
        </p:nvSpPr>
        <p:spPr>
          <a:xfrm>
            <a:off x="17695001" y="9786651"/>
            <a:ext cx="327013" cy="307777"/>
          </a:xfrm>
        </p:spPr>
        <p:txBody>
          <a:bodyPr/>
          <a:lstStyle/>
          <a:p>
            <a:r>
              <a:rPr lang="en-US" altLang="ja-JP"/>
              <a:t>13</a:t>
            </a:r>
            <a:endParaRPr lang="ja-JP" altLang="en-US" dirty="0"/>
          </a:p>
        </p:txBody>
      </p:sp>
      <p:grpSp>
        <p:nvGrpSpPr>
          <p:cNvPr id="60" name="グループ化 59">
            <a:extLst>
              <a:ext uri="{FF2B5EF4-FFF2-40B4-BE49-F238E27FC236}">
                <a16:creationId xmlns:a16="http://schemas.microsoft.com/office/drawing/2014/main" id="{0BBC9B15-1AC6-0772-EC9D-B4AAF22F39FB}"/>
              </a:ext>
            </a:extLst>
          </p:cNvPr>
          <p:cNvGrpSpPr/>
          <p:nvPr/>
        </p:nvGrpSpPr>
        <p:grpSpPr>
          <a:xfrm>
            <a:off x="891741" y="1446498"/>
            <a:ext cx="16504517" cy="3929543"/>
            <a:chOff x="891741" y="1446498"/>
            <a:chExt cx="16504517" cy="3929543"/>
          </a:xfrm>
        </p:grpSpPr>
        <p:sp>
          <p:nvSpPr>
            <p:cNvPr id="111" name="四角形: 角を丸くする 110">
              <a:extLst>
                <a:ext uri="{FF2B5EF4-FFF2-40B4-BE49-F238E27FC236}">
                  <a16:creationId xmlns:a16="http://schemas.microsoft.com/office/drawing/2014/main" id="{2CFF2840-7543-33C6-46AB-90BAE2AA50E9}"/>
                </a:ext>
              </a:extLst>
            </p:cNvPr>
            <p:cNvSpPr>
              <a:spLocks noChangeAspect="1"/>
            </p:cNvSpPr>
            <p:nvPr/>
          </p:nvSpPr>
          <p:spPr>
            <a:xfrm>
              <a:off x="891741" y="1818291"/>
              <a:ext cx="16504517"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0" name="四角形: 角を丸くする 139">
              <a:extLst>
                <a:ext uri="{FF2B5EF4-FFF2-40B4-BE49-F238E27FC236}">
                  <a16:creationId xmlns:a16="http://schemas.microsoft.com/office/drawing/2014/main" id="{AD09C133-957F-9EBD-DFCB-0FE8178BA612}"/>
                </a:ext>
              </a:extLst>
            </p:cNvPr>
            <p:cNvSpPr/>
            <p:nvPr/>
          </p:nvSpPr>
          <p:spPr>
            <a:xfrm>
              <a:off x="7594410" y="1446498"/>
              <a:ext cx="3099179"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テキスト生成</a:t>
              </a:r>
            </a:p>
          </p:txBody>
        </p:sp>
        <p:grpSp>
          <p:nvGrpSpPr>
            <p:cNvPr id="47" name="グループ化 46">
              <a:extLst>
                <a:ext uri="{FF2B5EF4-FFF2-40B4-BE49-F238E27FC236}">
                  <a16:creationId xmlns:a16="http://schemas.microsoft.com/office/drawing/2014/main" id="{6F444F67-1801-E17A-BA13-66DC7B4FF598}"/>
                </a:ext>
              </a:extLst>
            </p:cNvPr>
            <p:cNvGrpSpPr/>
            <p:nvPr/>
          </p:nvGrpSpPr>
          <p:grpSpPr>
            <a:xfrm>
              <a:off x="1753202" y="2249760"/>
              <a:ext cx="3385542" cy="2753710"/>
              <a:chOff x="1753202" y="2249760"/>
              <a:chExt cx="3385542" cy="2753710"/>
            </a:xfrm>
          </p:grpSpPr>
          <p:sp>
            <p:nvSpPr>
              <p:cNvPr id="38" name="テキスト ボックス 37">
                <a:extLst>
                  <a:ext uri="{FF2B5EF4-FFF2-40B4-BE49-F238E27FC236}">
                    <a16:creationId xmlns:a16="http://schemas.microsoft.com/office/drawing/2014/main" id="{7F0F85CE-FE91-FB35-7CED-986695ABC4D9}"/>
                  </a:ext>
                </a:extLst>
              </p:cNvPr>
              <p:cNvSpPr txBox="1"/>
              <p:nvPr/>
            </p:nvSpPr>
            <p:spPr>
              <a:xfrm>
                <a:off x="1753202" y="4447292"/>
                <a:ext cx="3385542" cy="556178"/>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文章の作成・要約</a:t>
                </a:r>
              </a:p>
            </p:txBody>
          </p:sp>
          <p:grpSp>
            <p:nvGrpSpPr>
              <p:cNvPr id="36" name="グループ化 35">
                <a:extLst>
                  <a:ext uri="{FF2B5EF4-FFF2-40B4-BE49-F238E27FC236}">
                    <a16:creationId xmlns:a16="http://schemas.microsoft.com/office/drawing/2014/main" id="{1351C655-9F4D-E6C1-C81E-D8424F2F0AE7}"/>
                  </a:ext>
                </a:extLst>
              </p:cNvPr>
              <p:cNvGrpSpPr/>
              <p:nvPr/>
            </p:nvGrpSpPr>
            <p:grpSpPr>
              <a:xfrm>
                <a:off x="2405449" y="2249760"/>
                <a:ext cx="2081048" cy="2081048"/>
                <a:chOff x="2337732" y="2249760"/>
                <a:chExt cx="2081048" cy="2081048"/>
              </a:xfrm>
            </p:grpSpPr>
            <p:sp>
              <p:nvSpPr>
                <p:cNvPr id="7" name="楕円 6">
                  <a:extLst>
                    <a:ext uri="{FF2B5EF4-FFF2-40B4-BE49-F238E27FC236}">
                      <a16:creationId xmlns:a16="http://schemas.microsoft.com/office/drawing/2014/main" id="{4E461C76-5328-A7D9-ACE3-252E2152FC26}"/>
                    </a:ext>
                  </a:extLst>
                </p:cNvPr>
                <p:cNvSpPr/>
                <p:nvPr/>
              </p:nvSpPr>
              <p:spPr>
                <a:xfrm>
                  <a:off x="2337732" y="2249760"/>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2" name="図 11">
                  <a:extLst>
                    <a:ext uri="{FF2B5EF4-FFF2-40B4-BE49-F238E27FC236}">
                      <a16:creationId xmlns:a16="http://schemas.microsoft.com/office/drawing/2014/main" id="{367DF585-B4CB-1D8D-8F21-0685A93DA1C4}"/>
                    </a:ext>
                  </a:extLst>
                </p:cNvPr>
                <p:cNvPicPr>
                  <a:picLocks noChangeAspect="1"/>
                </p:cNvPicPr>
                <p:nvPr/>
              </p:nvPicPr>
              <p:blipFill>
                <a:blip r:embed="rId3"/>
                <a:stretch>
                  <a:fillRect/>
                </a:stretch>
              </p:blipFill>
              <p:spPr>
                <a:xfrm>
                  <a:off x="2840513" y="2617584"/>
                  <a:ext cx="1243692" cy="1347333"/>
                </a:xfrm>
                <a:prstGeom prst="rect">
                  <a:avLst/>
                </a:prstGeom>
              </p:spPr>
            </p:pic>
          </p:grpSp>
        </p:grpSp>
        <p:grpSp>
          <p:nvGrpSpPr>
            <p:cNvPr id="46" name="グループ化 45">
              <a:extLst>
                <a:ext uri="{FF2B5EF4-FFF2-40B4-BE49-F238E27FC236}">
                  <a16:creationId xmlns:a16="http://schemas.microsoft.com/office/drawing/2014/main" id="{7F9151C4-0D64-385B-E7E0-C59891281E77}"/>
                </a:ext>
              </a:extLst>
            </p:cNvPr>
            <p:cNvGrpSpPr/>
            <p:nvPr/>
          </p:nvGrpSpPr>
          <p:grpSpPr>
            <a:xfrm>
              <a:off x="6158989" y="2249760"/>
              <a:ext cx="2081048" cy="2726995"/>
              <a:chOff x="6158989" y="2249760"/>
              <a:chExt cx="2081048" cy="2726995"/>
            </a:xfrm>
          </p:grpSpPr>
          <p:sp>
            <p:nvSpPr>
              <p:cNvPr id="45" name="テキスト ボックス 44">
                <a:extLst>
                  <a:ext uri="{FF2B5EF4-FFF2-40B4-BE49-F238E27FC236}">
                    <a16:creationId xmlns:a16="http://schemas.microsoft.com/office/drawing/2014/main" id="{140F99AF-1C2A-990E-2294-ED4B10FD9CD5}"/>
                  </a:ext>
                </a:extLst>
              </p:cNvPr>
              <p:cNvSpPr txBox="1"/>
              <p:nvPr/>
            </p:nvSpPr>
            <p:spPr>
              <a:xfrm>
                <a:off x="6434438" y="4474008"/>
                <a:ext cx="1530150" cy="502747"/>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情報検索</a:t>
                </a:r>
              </a:p>
            </p:txBody>
          </p:sp>
          <p:grpSp>
            <p:nvGrpSpPr>
              <p:cNvPr id="39" name="グループ化 38">
                <a:extLst>
                  <a:ext uri="{FF2B5EF4-FFF2-40B4-BE49-F238E27FC236}">
                    <a16:creationId xmlns:a16="http://schemas.microsoft.com/office/drawing/2014/main" id="{F75AA157-9F39-5E68-6CF2-D1261FEB5437}"/>
                  </a:ext>
                </a:extLst>
              </p:cNvPr>
              <p:cNvGrpSpPr/>
              <p:nvPr/>
            </p:nvGrpSpPr>
            <p:grpSpPr>
              <a:xfrm>
                <a:off x="6158989" y="2249760"/>
                <a:ext cx="2081048" cy="2081048"/>
                <a:chOff x="6158989" y="2249760"/>
                <a:chExt cx="2081048" cy="2081048"/>
              </a:xfrm>
            </p:grpSpPr>
            <p:sp>
              <p:nvSpPr>
                <p:cNvPr id="8" name="楕円 7">
                  <a:extLst>
                    <a:ext uri="{FF2B5EF4-FFF2-40B4-BE49-F238E27FC236}">
                      <a16:creationId xmlns:a16="http://schemas.microsoft.com/office/drawing/2014/main" id="{1B3084A6-59A3-36BF-617F-E24BB3D4B4CB}"/>
                    </a:ext>
                  </a:extLst>
                </p:cNvPr>
                <p:cNvSpPr/>
                <p:nvPr/>
              </p:nvSpPr>
              <p:spPr>
                <a:xfrm>
                  <a:off x="6158989" y="2249760"/>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8" name="図 17">
                  <a:extLst>
                    <a:ext uri="{FF2B5EF4-FFF2-40B4-BE49-F238E27FC236}">
                      <a16:creationId xmlns:a16="http://schemas.microsoft.com/office/drawing/2014/main" id="{41153B62-D858-732E-4CE6-54859043B011}"/>
                    </a:ext>
                  </a:extLst>
                </p:cNvPr>
                <p:cNvPicPr>
                  <a:picLocks noChangeAspect="1"/>
                </p:cNvPicPr>
                <p:nvPr/>
              </p:nvPicPr>
              <p:blipFill>
                <a:blip r:embed="rId4"/>
                <a:stretch>
                  <a:fillRect/>
                </a:stretch>
              </p:blipFill>
              <p:spPr>
                <a:xfrm>
                  <a:off x="6404175" y="2699734"/>
                  <a:ext cx="1585097" cy="1182727"/>
                </a:xfrm>
                <a:prstGeom prst="rect">
                  <a:avLst/>
                </a:prstGeom>
              </p:spPr>
            </p:pic>
          </p:grpSp>
        </p:grpSp>
        <p:grpSp>
          <p:nvGrpSpPr>
            <p:cNvPr id="44" name="グループ化 43">
              <a:extLst>
                <a:ext uri="{FF2B5EF4-FFF2-40B4-BE49-F238E27FC236}">
                  <a16:creationId xmlns:a16="http://schemas.microsoft.com/office/drawing/2014/main" id="{372D47C7-8374-F6D7-E427-F25FA4BE2368}"/>
                </a:ext>
              </a:extLst>
            </p:cNvPr>
            <p:cNvGrpSpPr/>
            <p:nvPr/>
          </p:nvGrpSpPr>
          <p:grpSpPr>
            <a:xfrm>
              <a:off x="9980246" y="2249760"/>
              <a:ext cx="2081048" cy="2726995"/>
              <a:chOff x="9980246" y="2249760"/>
              <a:chExt cx="2081048" cy="2726995"/>
            </a:xfrm>
          </p:grpSpPr>
          <p:sp>
            <p:nvSpPr>
              <p:cNvPr id="48" name="テキスト ボックス 47">
                <a:extLst>
                  <a:ext uri="{FF2B5EF4-FFF2-40B4-BE49-F238E27FC236}">
                    <a16:creationId xmlns:a16="http://schemas.microsoft.com/office/drawing/2014/main" id="{9AF25EF6-915A-32E2-20BE-F1943BB61604}"/>
                  </a:ext>
                </a:extLst>
              </p:cNvPr>
              <p:cNvSpPr txBox="1"/>
              <p:nvPr/>
            </p:nvSpPr>
            <p:spPr>
              <a:xfrm>
                <a:off x="10530251" y="4420577"/>
                <a:ext cx="981039" cy="556178"/>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翻 訳</a:t>
                </a:r>
              </a:p>
            </p:txBody>
          </p:sp>
          <p:grpSp>
            <p:nvGrpSpPr>
              <p:cNvPr id="40" name="グループ化 39">
                <a:extLst>
                  <a:ext uri="{FF2B5EF4-FFF2-40B4-BE49-F238E27FC236}">
                    <a16:creationId xmlns:a16="http://schemas.microsoft.com/office/drawing/2014/main" id="{95CA4223-68AF-DEF8-B2FE-52E89EFA77D9}"/>
                  </a:ext>
                </a:extLst>
              </p:cNvPr>
              <p:cNvGrpSpPr/>
              <p:nvPr/>
            </p:nvGrpSpPr>
            <p:grpSpPr>
              <a:xfrm>
                <a:off x="9980246" y="2249760"/>
                <a:ext cx="2081048" cy="2081048"/>
                <a:chOff x="9980246" y="2249760"/>
                <a:chExt cx="2081048" cy="2081048"/>
              </a:xfrm>
            </p:grpSpPr>
            <p:sp>
              <p:nvSpPr>
                <p:cNvPr id="9" name="楕円 8">
                  <a:extLst>
                    <a:ext uri="{FF2B5EF4-FFF2-40B4-BE49-F238E27FC236}">
                      <a16:creationId xmlns:a16="http://schemas.microsoft.com/office/drawing/2014/main" id="{41137845-2C63-C977-8BF4-03DC44A021B9}"/>
                    </a:ext>
                  </a:extLst>
                </p:cNvPr>
                <p:cNvSpPr/>
                <p:nvPr/>
              </p:nvSpPr>
              <p:spPr>
                <a:xfrm>
                  <a:off x="9980246" y="2249760"/>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0" name="図 19">
                  <a:extLst>
                    <a:ext uri="{FF2B5EF4-FFF2-40B4-BE49-F238E27FC236}">
                      <a16:creationId xmlns:a16="http://schemas.microsoft.com/office/drawing/2014/main" id="{80911D89-ABD9-C6B3-7A83-4629CEEA41E3}"/>
                    </a:ext>
                  </a:extLst>
                </p:cNvPr>
                <p:cNvPicPr>
                  <a:picLocks noChangeAspect="1"/>
                </p:cNvPicPr>
                <p:nvPr/>
              </p:nvPicPr>
              <p:blipFill>
                <a:blip r:embed="rId5"/>
                <a:stretch>
                  <a:fillRect/>
                </a:stretch>
              </p:blipFill>
              <p:spPr>
                <a:xfrm>
                  <a:off x="10333585" y="2721048"/>
                  <a:ext cx="1408298" cy="1213209"/>
                </a:xfrm>
                <a:prstGeom prst="rect">
                  <a:avLst/>
                </a:prstGeom>
              </p:spPr>
            </p:pic>
          </p:grpSp>
        </p:grpSp>
        <p:grpSp>
          <p:nvGrpSpPr>
            <p:cNvPr id="43" name="グループ化 42">
              <a:extLst>
                <a:ext uri="{FF2B5EF4-FFF2-40B4-BE49-F238E27FC236}">
                  <a16:creationId xmlns:a16="http://schemas.microsoft.com/office/drawing/2014/main" id="{6C84D9BD-E0CA-172A-27EA-AFB418A50C1D}"/>
                </a:ext>
              </a:extLst>
            </p:cNvPr>
            <p:cNvGrpSpPr/>
            <p:nvPr/>
          </p:nvGrpSpPr>
          <p:grpSpPr>
            <a:xfrm>
              <a:off x="13149256" y="2249760"/>
              <a:ext cx="3385542" cy="2753710"/>
              <a:chOff x="13149256" y="2249760"/>
              <a:chExt cx="3385542" cy="2753710"/>
            </a:xfrm>
          </p:grpSpPr>
          <p:sp>
            <p:nvSpPr>
              <p:cNvPr id="51" name="テキスト ボックス 50">
                <a:extLst>
                  <a:ext uri="{FF2B5EF4-FFF2-40B4-BE49-F238E27FC236}">
                    <a16:creationId xmlns:a16="http://schemas.microsoft.com/office/drawing/2014/main" id="{A055BC7F-99E2-F4CC-32D3-467915454D53}"/>
                  </a:ext>
                </a:extLst>
              </p:cNvPr>
              <p:cNvSpPr txBox="1"/>
              <p:nvPr/>
            </p:nvSpPr>
            <p:spPr>
              <a:xfrm>
                <a:off x="13149256" y="4447292"/>
                <a:ext cx="3385542" cy="556178"/>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議論のパートナー</a:t>
                </a:r>
              </a:p>
            </p:txBody>
          </p:sp>
          <p:grpSp>
            <p:nvGrpSpPr>
              <p:cNvPr id="42" name="グループ化 41">
                <a:extLst>
                  <a:ext uri="{FF2B5EF4-FFF2-40B4-BE49-F238E27FC236}">
                    <a16:creationId xmlns:a16="http://schemas.microsoft.com/office/drawing/2014/main" id="{E8FDC152-C1BB-9824-A69E-52B4B66C1BDB}"/>
                  </a:ext>
                </a:extLst>
              </p:cNvPr>
              <p:cNvGrpSpPr/>
              <p:nvPr/>
            </p:nvGrpSpPr>
            <p:grpSpPr>
              <a:xfrm>
                <a:off x="13801503" y="2249760"/>
                <a:ext cx="2081048" cy="2081048"/>
                <a:chOff x="13801503" y="2249760"/>
                <a:chExt cx="2081048" cy="2081048"/>
              </a:xfrm>
            </p:grpSpPr>
            <p:sp>
              <p:nvSpPr>
                <p:cNvPr id="10" name="楕円 9">
                  <a:extLst>
                    <a:ext uri="{FF2B5EF4-FFF2-40B4-BE49-F238E27FC236}">
                      <a16:creationId xmlns:a16="http://schemas.microsoft.com/office/drawing/2014/main" id="{B5EC8BB4-62A7-DD9D-310A-A3525C63B7E4}"/>
                    </a:ext>
                  </a:extLst>
                </p:cNvPr>
                <p:cNvSpPr/>
                <p:nvPr/>
              </p:nvSpPr>
              <p:spPr>
                <a:xfrm>
                  <a:off x="13801503" y="2249760"/>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2" name="グラフィックス 21">
                  <a:extLst>
                    <a:ext uri="{FF2B5EF4-FFF2-40B4-BE49-F238E27FC236}">
                      <a16:creationId xmlns:a16="http://schemas.microsoft.com/office/drawing/2014/main" id="{6E09D4EE-698E-946D-4EBA-BC22BCA39F4E}"/>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295790" y="2888803"/>
                  <a:ext cx="1123950" cy="885825"/>
                </a:xfrm>
                <a:prstGeom prst="rect">
                  <a:avLst/>
                </a:prstGeom>
              </p:spPr>
            </p:pic>
          </p:grpSp>
        </p:grpSp>
      </p:grpSp>
      <p:grpSp>
        <p:nvGrpSpPr>
          <p:cNvPr id="57" name="グループ化 56">
            <a:extLst>
              <a:ext uri="{FF2B5EF4-FFF2-40B4-BE49-F238E27FC236}">
                <a16:creationId xmlns:a16="http://schemas.microsoft.com/office/drawing/2014/main" id="{C751F292-AAE9-D014-C65F-1B5A96407D4E}"/>
              </a:ext>
            </a:extLst>
          </p:cNvPr>
          <p:cNvGrpSpPr/>
          <p:nvPr/>
        </p:nvGrpSpPr>
        <p:grpSpPr>
          <a:xfrm>
            <a:off x="891741" y="5676912"/>
            <a:ext cx="5109665" cy="3929543"/>
            <a:chOff x="891741" y="5676912"/>
            <a:chExt cx="5109665" cy="3929543"/>
          </a:xfrm>
        </p:grpSpPr>
        <p:sp>
          <p:nvSpPr>
            <p:cNvPr id="141" name="四角形: 角を丸くする 140">
              <a:extLst>
                <a:ext uri="{FF2B5EF4-FFF2-40B4-BE49-F238E27FC236}">
                  <a16:creationId xmlns:a16="http://schemas.microsoft.com/office/drawing/2014/main" id="{C5E5B04A-B4B0-C7D7-1409-F93A606205A0}"/>
                </a:ext>
              </a:extLst>
            </p:cNvPr>
            <p:cNvSpPr>
              <a:spLocks noChangeAspect="1"/>
            </p:cNvSpPr>
            <p:nvPr/>
          </p:nvSpPr>
          <p:spPr>
            <a:xfrm>
              <a:off x="891741"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3" name="四角形: 角を丸くする 142">
              <a:extLst>
                <a:ext uri="{FF2B5EF4-FFF2-40B4-BE49-F238E27FC236}">
                  <a16:creationId xmlns:a16="http://schemas.microsoft.com/office/drawing/2014/main" id="{06408529-6785-3C50-7D70-ECED729065E7}"/>
                </a:ext>
              </a:extLst>
            </p:cNvPr>
            <p:cNvSpPr/>
            <p:nvPr/>
          </p:nvSpPr>
          <p:spPr>
            <a:xfrm>
              <a:off x="1687147" y="5676912"/>
              <a:ext cx="351885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画像・映像生成</a:t>
              </a:r>
            </a:p>
          </p:txBody>
        </p:sp>
        <p:grpSp>
          <p:nvGrpSpPr>
            <p:cNvPr id="50" name="グループ化 49">
              <a:extLst>
                <a:ext uri="{FF2B5EF4-FFF2-40B4-BE49-F238E27FC236}">
                  <a16:creationId xmlns:a16="http://schemas.microsoft.com/office/drawing/2014/main" id="{19584753-3505-998E-ECD5-A3C21CF1A3E8}"/>
                </a:ext>
              </a:extLst>
            </p:cNvPr>
            <p:cNvGrpSpPr/>
            <p:nvPr/>
          </p:nvGrpSpPr>
          <p:grpSpPr>
            <a:xfrm>
              <a:off x="1706505" y="6552190"/>
              <a:ext cx="3465867" cy="2799154"/>
              <a:chOff x="1706505" y="6552190"/>
              <a:chExt cx="3465867" cy="2799154"/>
            </a:xfrm>
          </p:grpSpPr>
          <p:sp>
            <p:nvSpPr>
              <p:cNvPr id="142" name="テキスト ボックス 141">
                <a:extLst>
                  <a:ext uri="{FF2B5EF4-FFF2-40B4-BE49-F238E27FC236}">
                    <a16:creationId xmlns:a16="http://schemas.microsoft.com/office/drawing/2014/main" id="{EC1C721E-C457-1869-ED36-6F7D0A62A2D9}"/>
                  </a:ext>
                </a:extLst>
              </p:cNvPr>
              <p:cNvSpPr txBox="1"/>
              <p:nvPr/>
            </p:nvSpPr>
            <p:spPr>
              <a:xfrm>
                <a:off x="1706505" y="8204235"/>
                <a:ext cx="3385542" cy="1147109"/>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写真・イラスト、</a:t>
                </a:r>
                <a:br>
                  <a:rPr kumimoji="1" lang="en-US" altLang="ja-JP" sz="3200" spc="100" dirty="0">
                    <a:latin typeface="+mn-ea"/>
                  </a:rPr>
                </a:br>
                <a:r>
                  <a:rPr kumimoji="1" lang="ja-JP" altLang="en-US" sz="3200" spc="100" dirty="0">
                    <a:latin typeface="+mn-ea"/>
                  </a:rPr>
                  <a:t>アニメ等の作成</a:t>
                </a:r>
              </a:p>
            </p:txBody>
          </p:sp>
          <p:grpSp>
            <p:nvGrpSpPr>
              <p:cNvPr id="35" name="グループ化 34">
                <a:extLst>
                  <a:ext uri="{FF2B5EF4-FFF2-40B4-BE49-F238E27FC236}">
                    <a16:creationId xmlns:a16="http://schemas.microsoft.com/office/drawing/2014/main" id="{B18E0464-C50A-12B7-73E5-11A2323F7182}"/>
                  </a:ext>
                </a:extLst>
              </p:cNvPr>
              <p:cNvGrpSpPr/>
              <p:nvPr/>
            </p:nvGrpSpPr>
            <p:grpSpPr>
              <a:xfrm>
                <a:off x="1720775" y="6552191"/>
                <a:ext cx="1562471" cy="1562471"/>
                <a:chOff x="1720775" y="6552191"/>
                <a:chExt cx="1562471" cy="1562471"/>
              </a:xfrm>
            </p:grpSpPr>
            <p:sp>
              <p:nvSpPr>
                <p:cNvPr id="15" name="楕円 14">
                  <a:extLst>
                    <a:ext uri="{FF2B5EF4-FFF2-40B4-BE49-F238E27FC236}">
                      <a16:creationId xmlns:a16="http://schemas.microsoft.com/office/drawing/2014/main" id="{0A153BE7-D472-23C7-FFE9-FF8E39CF17F7}"/>
                    </a:ext>
                  </a:extLst>
                </p:cNvPr>
                <p:cNvSpPr/>
                <p:nvPr/>
              </p:nvSpPr>
              <p:spPr>
                <a:xfrm>
                  <a:off x="1720775" y="6552191"/>
                  <a:ext cx="1562471" cy="1562471"/>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4" name="図 23">
                  <a:extLst>
                    <a:ext uri="{FF2B5EF4-FFF2-40B4-BE49-F238E27FC236}">
                      <a16:creationId xmlns:a16="http://schemas.microsoft.com/office/drawing/2014/main" id="{45C14DA3-4F9F-0951-0929-337344151A76}"/>
                    </a:ext>
                  </a:extLst>
                </p:cNvPr>
                <p:cNvPicPr>
                  <a:picLocks noChangeAspect="1"/>
                </p:cNvPicPr>
                <p:nvPr/>
              </p:nvPicPr>
              <p:blipFill>
                <a:blip r:embed="rId8"/>
                <a:stretch>
                  <a:fillRect/>
                </a:stretch>
              </p:blipFill>
              <p:spPr>
                <a:xfrm>
                  <a:off x="1946840" y="6909302"/>
                  <a:ext cx="1115665" cy="853514"/>
                </a:xfrm>
                <a:prstGeom prst="rect">
                  <a:avLst/>
                </a:prstGeom>
              </p:spPr>
            </p:pic>
          </p:grpSp>
          <p:grpSp>
            <p:nvGrpSpPr>
              <p:cNvPr id="34" name="グループ化 33">
                <a:extLst>
                  <a:ext uri="{FF2B5EF4-FFF2-40B4-BE49-F238E27FC236}">
                    <a16:creationId xmlns:a16="http://schemas.microsoft.com/office/drawing/2014/main" id="{0586C953-4F70-3E75-C1AA-90D9A2538C94}"/>
                  </a:ext>
                </a:extLst>
              </p:cNvPr>
              <p:cNvGrpSpPr/>
              <p:nvPr/>
            </p:nvGrpSpPr>
            <p:grpSpPr>
              <a:xfrm>
                <a:off x="3609901" y="6552190"/>
                <a:ext cx="1562471" cy="1562471"/>
                <a:chOff x="3609901" y="6552190"/>
                <a:chExt cx="1562471" cy="1562471"/>
              </a:xfrm>
            </p:grpSpPr>
            <p:sp>
              <p:nvSpPr>
                <p:cNvPr id="16" name="楕円 15">
                  <a:extLst>
                    <a:ext uri="{FF2B5EF4-FFF2-40B4-BE49-F238E27FC236}">
                      <a16:creationId xmlns:a16="http://schemas.microsoft.com/office/drawing/2014/main" id="{78B10608-CF19-EB7A-477E-5FFED7E0E225}"/>
                    </a:ext>
                  </a:extLst>
                </p:cNvPr>
                <p:cNvSpPr/>
                <p:nvPr/>
              </p:nvSpPr>
              <p:spPr>
                <a:xfrm>
                  <a:off x="3609901" y="6552190"/>
                  <a:ext cx="1562471" cy="1562471"/>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27" name="図 26">
                  <a:extLst>
                    <a:ext uri="{FF2B5EF4-FFF2-40B4-BE49-F238E27FC236}">
                      <a16:creationId xmlns:a16="http://schemas.microsoft.com/office/drawing/2014/main" id="{168379B8-42DE-5922-9E52-F288D801CCAB}"/>
                    </a:ext>
                  </a:extLst>
                </p:cNvPr>
                <p:cNvPicPr>
                  <a:picLocks noChangeAspect="1"/>
                </p:cNvPicPr>
                <p:nvPr/>
              </p:nvPicPr>
              <p:blipFill>
                <a:blip r:embed="rId9"/>
                <a:stretch>
                  <a:fillRect/>
                </a:stretch>
              </p:blipFill>
              <p:spPr>
                <a:xfrm>
                  <a:off x="3830341" y="6952358"/>
                  <a:ext cx="1121761" cy="762066"/>
                </a:xfrm>
                <a:prstGeom prst="rect">
                  <a:avLst/>
                </a:prstGeom>
              </p:spPr>
            </p:pic>
          </p:grpSp>
        </p:grpSp>
      </p:grpSp>
      <p:grpSp>
        <p:nvGrpSpPr>
          <p:cNvPr id="58" name="グループ化 57">
            <a:extLst>
              <a:ext uri="{FF2B5EF4-FFF2-40B4-BE49-F238E27FC236}">
                <a16:creationId xmlns:a16="http://schemas.microsoft.com/office/drawing/2014/main" id="{3BA6A97D-DE39-8F4C-7106-D190482B90B6}"/>
              </a:ext>
            </a:extLst>
          </p:cNvPr>
          <p:cNvGrpSpPr/>
          <p:nvPr/>
        </p:nvGrpSpPr>
        <p:grpSpPr>
          <a:xfrm>
            <a:off x="6589167" y="5676912"/>
            <a:ext cx="5109665" cy="3929543"/>
            <a:chOff x="6589167" y="5676912"/>
            <a:chExt cx="5109665" cy="3929543"/>
          </a:xfrm>
        </p:grpSpPr>
        <p:sp>
          <p:nvSpPr>
            <p:cNvPr id="146" name="四角形: 角を丸くする 145">
              <a:extLst>
                <a:ext uri="{FF2B5EF4-FFF2-40B4-BE49-F238E27FC236}">
                  <a16:creationId xmlns:a16="http://schemas.microsoft.com/office/drawing/2014/main" id="{84B55BC2-513B-89E8-D529-5798F150F9EA}"/>
                </a:ext>
              </a:extLst>
            </p:cNvPr>
            <p:cNvSpPr>
              <a:spLocks noChangeAspect="1"/>
            </p:cNvSpPr>
            <p:nvPr/>
          </p:nvSpPr>
          <p:spPr>
            <a:xfrm>
              <a:off x="6589167"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8" name="四角形: 角を丸くする 147">
              <a:extLst>
                <a:ext uri="{FF2B5EF4-FFF2-40B4-BE49-F238E27FC236}">
                  <a16:creationId xmlns:a16="http://schemas.microsoft.com/office/drawing/2014/main" id="{2EF6BE7D-C344-5E2A-F68B-CC195EE3E02B}"/>
                </a:ext>
              </a:extLst>
            </p:cNvPr>
            <p:cNvSpPr/>
            <p:nvPr/>
          </p:nvSpPr>
          <p:spPr>
            <a:xfrm>
              <a:off x="8016423" y="5676912"/>
              <a:ext cx="2255154"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音声生成</a:t>
              </a:r>
            </a:p>
          </p:txBody>
        </p:sp>
        <p:grpSp>
          <p:nvGrpSpPr>
            <p:cNvPr id="52" name="グループ化 51">
              <a:extLst>
                <a:ext uri="{FF2B5EF4-FFF2-40B4-BE49-F238E27FC236}">
                  <a16:creationId xmlns:a16="http://schemas.microsoft.com/office/drawing/2014/main" id="{25BFF01F-4CB9-6C48-F49E-9EAB36B377D7}"/>
                </a:ext>
              </a:extLst>
            </p:cNvPr>
            <p:cNvGrpSpPr/>
            <p:nvPr/>
          </p:nvGrpSpPr>
          <p:grpSpPr>
            <a:xfrm>
              <a:off x="7451228" y="6552191"/>
              <a:ext cx="3385542" cy="2720361"/>
              <a:chOff x="7451228" y="6552191"/>
              <a:chExt cx="3385542" cy="2720361"/>
            </a:xfrm>
          </p:grpSpPr>
          <p:sp>
            <p:nvSpPr>
              <p:cNvPr id="147" name="テキスト ボックス 146">
                <a:extLst>
                  <a:ext uri="{FF2B5EF4-FFF2-40B4-BE49-F238E27FC236}">
                    <a16:creationId xmlns:a16="http://schemas.microsoft.com/office/drawing/2014/main" id="{FBD31474-975E-FD72-BC0B-217614EC1BF9}"/>
                  </a:ext>
                </a:extLst>
              </p:cNvPr>
              <p:cNvSpPr txBox="1"/>
              <p:nvPr/>
            </p:nvSpPr>
            <p:spPr>
              <a:xfrm>
                <a:off x="7451228" y="8716374"/>
                <a:ext cx="3385542" cy="556178"/>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200" spc="100" dirty="0">
                    <a:latin typeface="+mn-ea"/>
                  </a:rPr>
                  <a:t>音声・音楽の作成</a:t>
                </a:r>
              </a:p>
            </p:txBody>
          </p:sp>
          <p:grpSp>
            <p:nvGrpSpPr>
              <p:cNvPr id="33" name="グループ化 32">
                <a:extLst>
                  <a:ext uri="{FF2B5EF4-FFF2-40B4-BE49-F238E27FC236}">
                    <a16:creationId xmlns:a16="http://schemas.microsoft.com/office/drawing/2014/main" id="{00F51CFC-58ED-6596-CA06-9C35988027B5}"/>
                  </a:ext>
                </a:extLst>
              </p:cNvPr>
              <p:cNvGrpSpPr/>
              <p:nvPr/>
            </p:nvGrpSpPr>
            <p:grpSpPr>
              <a:xfrm>
                <a:off x="8103475" y="6552191"/>
                <a:ext cx="2081048" cy="2081048"/>
                <a:chOff x="8016423" y="6552191"/>
                <a:chExt cx="2081048" cy="2081048"/>
              </a:xfrm>
            </p:grpSpPr>
            <p:sp>
              <p:nvSpPr>
                <p:cNvPr id="13" name="楕円 12">
                  <a:extLst>
                    <a:ext uri="{FF2B5EF4-FFF2-40B4-BE49-F238E27FC236}">
                      <a16:creationId xmlns:a16="http://schemas.microsoft.com/office/drawing/2014/main" id="{C8FC38EB-B316-BC7E-76BD-C69C826A8FF7}"/>
                    </a:ext>
                  </a:extLst>
                </p:cNvPr>
                <p:cNvSpPr/>
                <p:nvPr/>
              </p:nvSpPr>
              <p:spPr>
                <a:xfrm>
                  <a:off x="8016423" y="6552191"/>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1" name="図 30">
                  <a:extLst>
                    <a:ext uri="{FF2B5EF4-FFF2-40B4-BE49-F238E27FC236}">
                      <a16:creationId xmlns:a16="http://schemas.microsoft.com/office/drawing/2014/main" id="{F80B7E45-BD4D-3425-4AF3-C276E97EB7A7}"/>
                    </a:ext>
                  </a:extLst>
                </p:cNvPr>
                <p:cNvPicPr>
                  <a:picLocks noChangeAspect="1"/>
                </p:cNvPicPr>
                <p:nvPr/>
              </p:nvPicPr>
              <p:blipFill>
                <a:blip r:embed="rId10"/>
                <a:stretch>
                  <a:fillRect/>
                </a:stretch>
              </p:blipFill>
              <p:spPr>
                <a:xfrm>
                  <a:off x="8548393" y="6867077"/>
                  <a:ext cx="1146147" cy="1457070"/>
                </a:xfrm>
                <a:prstGeom prst="rect">
                  <a:avLst/>
                </a:prstGeom>
              </p:spPr>
            </p:pic>
          </p:grpSp>
        </p:grpSp>
      </p:grpSp>
      <p:grpSp>
        <p:nvGrpSpPr>
          <p:cNvPr id="59" name="グループ化 58">
            <a:extLst>
              <a:ext uri="{FF2B5EF4-FFF2-40B4-BE49-F238E27FC236}">
                <a16:creationId xmlns:a16="http://schemas.microsoft.com/office/drawing/2014/main" id="{DEDFA335-FEB4-82E2-F2B5-68E6B7BD4D94}"/>
              </a:ext>
            </a:extLst>
          </p:cNvPr>
          <p:cNvGrpSpPr/>
          <p:nvPr/>
        </p:nvGrpSpPr>
        <p:grpSpPr>
          <a:xfrm>
            <a:off x="12286593" y="5676912"/>
            <a:ext cx="5109665" cy="3929543"/>
            <a:chOff x="12286593" y="5676912"/>
            <a:chExt cx="5109665" cy="3929543"/>
          </a:xfrm>
        </p:grpSpPr>
        <p:sp>
          <p:nvSpPr>
            <p:cNvPr id="150" name="四角形: 角を丸くする 149">
              <a:extLst>
                <a:ext uri="{FF2B5EF4-FFF2-40B4-BE49-F238E27FC236}">
                  <a16:creationId xmlns:a16="http://schemas.microsoft.com/office/drawing/2014/main" id="{FF29A840-F476-D399-1594-13D7A0973F69}"/>
                </a:ext>
              </a:extLst>
            </p:cNvPr>
            <p:cNvSpPr>
              <a:spLocks noChangeAspect="1"/>
            </p:cNvSpPr>
            <p:nvPr/>
          </p:nvSpPr>
          <p:spPr>
            <a:xfrm>
              <a:off x="12286593" y="6048705"/>
              <a:ext cx="5109665" cy="3557750"/>
            </a:xfrm>
            <a:prstGeom prst="roundRect">
              <a:avLst>
                <a:gd name="adj" fmla="val 269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2" name="四角形: 角を丸くする 151">
              <a:extLst>
                <a:ext uri="{FF2B5EF4-FFF2-40B4-BE49-F238E27FC236}">
                  <a16:creationId xmlns:a16="http://schemas.microsoft.com/office/drawing/2014/main" id="{6DAF72E7-573A-8167-2C52-EBDF650A2E7F}"/>
                </a:ext>
              </a:extLst>
            </p:cNvPr>
            <p:cNvSpPr/>
            <p:nvPr/>
          </p:nvSpPr>
          <p:spPr>
            <a:xfrm>
              <a:off x="13922218" y="5676912"/>
              <a:ext cx="1838416"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その他</a:t>
              </a:r>
            </a:p>
          </p:txBody>
        </p:sp>
        <p:grpSp>
          <p:nvGrpSpPr>
            <p:cNvPr id="56" name="グループ化 55">
              <a:extLst>
                <a:ext uri="{FF2B5EF4-FFF2-40B4-BE49-F238E27FC236}">
                  <a16:creationId xmlns:a16="http://schemas.microsoft.com/office/drawing/2014/main" id="{9586CA70-50AA-5890-7FAB-B55D5B933C86}"/>
                </a:ext>
              </a:extLst>
            </p:cNvPr>
            <p:cNvGrpSpPr/>
            <p:nvPr/>
          </p:nvGrpSpPr>
          <p:grpSpPr>
            <a:xfrm>
              <a:off x="13336213" y="6552191"/>
              <a:ext cx="3105016" cy="2720361"/>
              <a:chOff x="13336213" y="6552191"/>
              <a:chExt cx="3105016" cy="2720361"/>
            </a:xfrm>
          </p:grpSpPr>
          <p:sp>
            <p:nvSpPr>
              <p:cNvPr id="151" name="テキスト ボックス 150">
                <a:extLst>
                  <a:ext uri="{FF2B5EF4-FFF2-40B4-BE49-F238E27FC236}">
                    <a16:creationId xmlns:a16="http://schemas.microsoft.com/office/drawing/2014/main" id="{32014561-5195-159C-3C1C-E96309AC4140}"/>
                  </a:ext>
                </a:extLst>
              </p:cNvPr>
              <p:cNvSpPr txBox="1"/>
              <p:nvPr/>
            </p:nvSpPr>
            <p:spPr>
              <a:xfrm>
                <a:off x="13336213" y="8716374"/>
                <a:ext cx="3105016" cy="556178"/>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sz="3200" spc="100" dirty="0">
                    <a:latin typeface="+mn-ea"/>
                  </a:rPr>
                  <a:t>3D</a:t>
                </a:r>
                <a:r>
                  <a:rPr kumimoji="1" lang="ja-JP" altLang="en-US" sz="3200" spc="100" dirty="0">
                    <a:latin typeface="+mn-ea"/>
                  </a:rPr>
                  <a:t>モデルの作成</a:t>
                </a:r>
              </a:p>
            </p:txBody>
          </p:sp>
          <p:grpSp>
            <p:nvGrpSpPr>
              <p:cNvPr id="55" name="グループ化 54">
                <a:extLst>
                  <a:ext uri="{FF2B5EF4-FFF2-40B4-BE49-F238E27FC236}">
                    <a16:creationId xmlns:a16="http://schemas.microsoft.com/office/drawing/2014/main" id="{9DD9C237-1375-2EAA-9CEB-9BE9F60C5910}"/>
                  </a:ext>
                </a:extLst>
              </p:cNvPr>
              <p:cNvGrpSpPr/>
              <p:nvPr/>
            </p:nvGrpSpPr>
            <p:grpSpPr>
              <a:xfrm>
                <a:off x="13800901" y="6552191"/>
                <a:ext cx="2081048" cy="2081048"/>
                <a:chOff x="13800901" y="6552191"/>
                <a:chExt cx="2081048" cy="2081048"/>
              </a:xfrm>
            </p:grpSpPr>
            <p:sp>
              <p:nvSpPr>
                <p:cNvPr id="14" name="楕円 13">
                  <a:extLst>
                    <a:ext uri="{FF2B5EF4-FFF2-40B4-BE49-F238E27FC236}">
                      <a16:creationId xmlns:a16="http://schemas.microsoft.com/office/drawing/2014/main" id="{F9A3AC6A-B2C5-A6A0-9619-AD70F97CBF91}"/>
                    </a:ext>
                  </a:extLst>
                </p:cNvPr>
                <p:cNvSpPr/>
                <p:nvPr/>
              </p:nvSpPr>
              <p:spPr>
                <a:xfrm>
                  <a:off x="13800901" y="6552191"/>
                  <a:ext cx="2081048" cy="2081048"/>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4" name="図 53">
                  <a:extLst>
                    <a:ext uri="{FF2B5EF4-FFF2-40B4-BE49-F238E27FC236}">
                      <a16:creationId xmlns:a16="http://schemas.microsoft.com/office/drawing/2014/main" id="{AAB0B78A-30C8-F6C6-79C8-579768544701}"/>
                    </a:ext>
                  </a:extLst>
                </p:cNvPr>
                <p:cNvPicPr>
                  <a:picLocks noChangeAspect="1"/>
                </p:cNvPicPr>
                <p:nvPr/>
              </p:nvPicPr>
              <p:blipFill>
                <a:blip r:embed="rId11"/>
                <a:stretch>
                  <a:fillRect/>
                </a:stretch>
              </p:blipFill>
              <p:spPr>
                <a:xfrm>
                  <a:off x="14198242" y="6909448"/>
                  <a:ext cx="1286367" cy="1274174"/>
                </a:xfrm>
                <a:prstGeom prst="rect">
                  <a:avLst/>
                </a:prstGeom>
              </p:spPr>
            </p:pic>
          </p:grpSp>
        </p:grpSp>
      </p:grpSp>
    </p:spTree>
    <p:extLst>
      <p:ext uri="{BB962C8B-B14F-4D97-AF65-F5344CB8AC3E}">
        <p14:creationId xmlns:p14="http://schemas.microsoft.com/office/powerpoint/2010/main" val="3992221076"/>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A433D906-ADA1-294C-9349-2DE0E4E929A4}"/>
              </a:ext>
            </a:extLst>
          </p:cNvPr>
          <p:cNvGraphicFramePr>
            <a:graphicFrameLocks noChangeAspect="1"/>
          </p:cNvGraphicFramePr>
          <p:nvPr>
            <p:custDataLst>
              <p:tags r:id="rId2"/>
            </p:custDataLst>
            <p:extLst>
              <p:ext uri="{D42A27DB-BD31-4B8C-83A1-F6EECF244321}">
                <p14:modId xmlns:p14="http://schemas.microsoft.com/office/powerpoint/2010/main" val="143769603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7" name="think-cell Slide" r:id="rId5" imgW="606" imgH="608" progId="TCLayout.ActiveDocument.1">
                  <p:embed/>
                </p:oleObj>
              </mc:Choice>
              <mc:Fallback>
                <p:oleObj name="think-cell Slide" r:id="rId5" imgW="606" imgH="608" progId="TCLayout.ActiveDocument.1">
                  <p:embed/>
                  <p:pic>
                    <p:nvPicPr>
                      <p:cNvPr id="2" name="think-cell data - do not delete" hidden="1">
                        <a:extLst>
                          <a:ext uri="{FF2B5EF4-FFF2-40B4-BE49-F238E27FC236}">
                            <a16:creationId xmlns:a16="http://schemas.microsoft.com/office/drawing/2014/main" id="{A433D906-ADA1-294C-9349-2DE0E4E929A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フリーフォーム: 図形 3">
            <a:extLst>
              <a:ext uri="{FF2B5EF4-FFF2-40B4-BE49-F238E27FC236}">
                <a16:creationId xmlns:a16="http://schemas.microsoft.com/office/drawing/2014/main" id="{501079C4-8667-85E8-2D44-DEDFB4DDC10C}"/>
              </a:ext>
            </a:extLst>
          </p:cNvPr>
          <p:cNvSpPr/>
          <p:nvPr/>
        </p:nvSpPr>
        <p:spPr>
          <a:xfrm rot="18743112" flipV="1">
            <a:off x="2291112" y="236925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5" name="四角形: 角を丸くする 4">
            <a:extLst>
              <a:ext uri="{FF2B5EF4-FFF2-40B4-BE49-F238E27FC236}">
                <a16:creationId xmlns:a16="http://schemas.microsoft.com/office/drawing/2014/main" id="{EBE4BE22-B686-C71C-A108-DEEFC1DA6C02}"/>
              </a:ext>
            </a:extLst>
          </p:cNvPr>
          <p:cNvSpPr/>
          <p:nvPr/>
        </p:nvSpPr>
        <p:spPr>
          <a:xfrm>
            <a:off x="2519049" y="2249959"/>
            <a:ext cx="13150382" cy="3299441"/>
          </a:xfrm>
          <a:prstGeom prst="roundRect">
            <a:avLst>
              <a:gd name="adj" fmla="val 2887"/>
            </a:avLst>
          </a:prstGeom>
          <a:solidFill>
            <a:schemeClr val="bg1"/>
          </a:solidFill>
          <a:ln w="20168" cap="flat">
            <a:noFill/>
            <a:prstDash val="solid"/>
            <a:miter/>
          </a:ln>
        </p:spPr>
        <p:txBody>
          <a:bodyPr wrap="square" lIns="252000" tIns="180000" rIns="216000" bIns="180000" rtlCol="0" anchor="t">
            <a:spAutoFit/>
          </a:bodyPr>
          <a:lstStyle/>
          <a:p>
            <a:pPr>
              <a:lnSpc>
                <a:spcPct val="120000"/>
              </a:lnSpc>
              <a:spcAft>
                <a:spcPts val="1200"/>
              </a:spcAft>
            </a:pPr>
            <a:r>
              <a:rPr lang="ja-JP" altLang="en-US" sz="2400" dirty="0">
                <a:latin typeface="+mj-ea"/>
                <a:ea typeface="+mj-ea"/>
              </a:rPr>
              <a:t>以下の文章</a:t>
            </a:r>
            <a:r>
              <a:rPr lang="en-US" altLang="ja-JP" sz="2400" dirty="0">
                <a:latin typeface="+mj-ea"/>
                <a:ea typeface="+mj-ea"/>
              </a:rPr>
              <a:t>『</a:t>
            </a:r>
            <a:r>
              <a:rPr lang="ja-JP" altLang="en-US" sz="2400" dirty="0">
                <a:latin typeface="+mj-ea"/>
                <a:ea typeface="+mj-ea"/>
              </a:rPr>
              <a:t>赤ずきん</a:t>
            </a:r>
            <a:r>
              <a:rPr lang="en-US" altLang="ja-JP" sz="2400" dirty="0">
                <a:latin typeface="+mj-ea"/>
                <a:ea typeface="+mj-ea"/>
              </a:rPr>
              <a:t>』</a:t>
            </a:r>
            <a:r>
              <a:rPr lang="ja-JP" altLang="en-US" sz="2400" dirty="0">
                <a:latin typeface="+mj-ea"/>
                <a:ea typeface="+mj-ea"/>
              </a:rPr>
              <a:t>を箇条書き</a:t>
            </a:r>
            <a:r>
              <a:rPr lang="en-US" altLang="ja-JP" sz="2400" dirty="0">
                <a:latin typeface="+mj-ea"/>
                <a:ea typeface="+mj-ea"/>
              </a:rPr>
              <a:t>5</a:t>
            </a:r>
            <a:r>
              <a:rPr lang="ja-JP" altLang="en-US" sz="2400" dirty="0">
                <a:latin typeface="+mj-ea"/>
                <a:ea typeface="+mj-ea"/>
              </a:rPr>
              <a:t>つ程度で要約してください。</a:t>
            </a:r>
            <a:endParaRPr lang="en-US" altLang="ja-JP" sz="2400" dirty="0">
              <a:latin typeface="+mj-ea"/>
              <a:ea typeface="+mj-ea"/>
            </a:endParaRPr>
          </a:p>
          <a:p>
            <a:pPr>
              <a:lnSpc>
                <a:spcPct val="120000"/>
              </a:lnSpc>
              <a:spcAft>
                <a:spcPts val="600"/>
              </a:spcAft>
            </a:pPr>
            <a:r>
              <a:rPr lang="ja-JP" altLang="en-US" sz="1800" dirty="0">
                <a:latin typeface="+mj-ea"/>
                <a:ea typeface="+mj-ea"/>
              </a:rPr>
              <a:t>　</a:t>
            </a:r>
            <a:r>
              <a:rPr lang="ja-JP" altLang="en-US" sz="1800" dirty="0">
                <a:latin typeface="+mn-ea"/>
              </a:rPr>
              <a:t>むかしむかし、あるところにちっちゃな、かわいい女の子がおりました。その子は、ちょっと見ただけで、どんな人</a:t>
            </a:r>
            <a:br>
              <a:rPr lang="en-US" altLang="ja-JP" sz="1800" dirty="0">
                <a:latin typeface="+mn-ea"/>
              </a:rPr>
            </a:br>
            <a:r>
              <a:rPr lang="ja-JP" altLang="en-US" sz="1800" dirty="0">
                <a:latin typeface="+mn-ea"/>
              </a:rPr>
              <a:t>でもかわいくなってしまうような子でしたが、だれよりもいちばんかわいがっていたのは、この子のおばあさんでした。おばあさんは、この子の顔を見ると、なんでもやりたくなってしまって、いったいなにをやったらいいのか、わからなくなってしまうほどでした。あるとき、おばあさんはこの子に、赤いビロードでかわいいずきんをこしらえてやりました。すると、それがまたこの子にとってもよくにあいましたので、それからは、もうほかのものはちっともかぶらなくなってしまいました。それで、この子は、みんなに「赤ずきんちゃん」「赤ずきんちゃん」とよばれるようになりました。ある日、おかあさんが赤ずきんちゃんをよんで、いいました。（以下略）</a:t>
            </a:r>
          </a:p>
        </p:txBody>
      </p:sp>
      <p:sp>
        <p:nvSpPr>
          <p:cNvPr id="17" name="テキスト ボックス 16">
            <a:extLst>
              <a:ext uri="{FF2B5EF4-FFF2-40B4-BE49-F238E27FC236}">
                <a16:creationId xmlns:a16="http://schemas.microsoft.com/office/drawing/2014/main" id="{752D1316-A2C5-8558-74AF-30369E6132C2}"/>
              </a:ext>
            </a:extLst>
          </p:cNvPr>
          <p:cNvSpPr txBox="1"/>
          <p:nvPr/>
        </p:nvSpPr>
        <p:spPr>
          <a:xfrm>
            <a:off x="2810073" y="971458"/>
            <a:ext cx="5541582"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１</a:t>
            </a:r>
            <a:r>
              <a:rPr kumimoji="1" lang="en-US" altLang="ja-JP" sz="3600" spc="100" dirty="0">
                <a:latin typeface="+mj-ea"/>
                <a:ea typeface="+mj-ea"/>
              </a:rPr>
              <a:t>.</a:t>
            </a:r>
            <a:r>
              <a:rPr kumimoji="1" lang="ja-JP" altLang="en-US" sz="3600" spc="100" dirty="0">
                <a:latin typeface="+mj-ea"/>
                <a:ea typeface="+mj-ea"/>
              </a:rPr>
              <a:t> テキストの作成</a:t>
            </a:r>
            <a:r>
              <a:rPr lang="ja-JP" altLang="en-US" sz="3600" spc="100" dirty="0">
                <a:latin typeface="+mj-ea"/>
                <a:ea typeface="+mj-ea"/>
              </a:rPr>
              <a:t>／</a:t>
            </a:r>
            <a:r>
              <a:rPr kumimoji="1" lang="ja-JP" altLang="en-US" sz="3600" spc="100" dirty="0">
                <a:latin typeface="+mj-ea"/>
                <a:ea typeface="+mj-ea"/>
              </a:rPr>
              <a:t>要約</a:t>
            </a:r>
            <a:endParaRPr kumimoji="1" lang="en-US" altLang="ja-JP" sz="3600" spc="100" dirty="0">
              <a:latin typeface="+mj-ea"/>
              <a:ea typeface="+mj-ea"/>
            </a:endParaRPr>
          </a:p>
        </p:txBody>
      </p:sp>
      <p:cxnSp>
        <p:nvCxnSpPr>
          <p:cNvPr id="19" name="直線コネクタ 18">
            <a:extLst>
              <a:ext uri="{FF2B5EF4-FFF2-40B4-BE49-F238E27FC236}">
                <a16:creationId xmlns:a16="http://schemas.microsoft.com/office/drawing/2014/main" id="{220F6BE4-AE8D-A4A5-5C00-417893A346F0}"/>
              </a:ext>
            </a:extLst>
          </p:cNvPr>
          <p:cNvCxnSpPr>
            <a:cxnSpLocks/>
          </p:cNvCxnSpPr>
          <p:nvPr/>
        </p:nvCxnSpPr>
        <p:spPr>
          <a:xfrm>
            <a:off x="9187257" y="799514"/>
            <a:ext cx="0" cy="897886"/>
          </a:xfrm>
          <a:prstGeom prst="line">
            <a:avLst/>
          </a:prstGeom>
          <a:ln w="38100" cap="rnd">
            <a:solidFill>
              <a:schemeClr val="tx1"/>
            </a:solidFill>
            <a:round/>
          </a:ln>
        </p:spPr>
        <p:style>
          <a:lnRef idx="1">
            <a:schemeClr val="accent1"/>
          </a:lnRef>
          <a:fillRef idx="0">
            <a:schemeClr val="accent1"/>
          </a:fillRef>
          <a:effectRef idx="0">
            <a:schemeClr val="accent1"/>
          </a:effectRef>
          <a:fontRef idx="minor">
            <a:schemeClr val="tx1"/>
          </a:fontRef>
        </p:style>
      </p:cxnSp>
      <p:grpSp>
        <p:nvGrpSpPr>
          <p:cNvPr id="23" name="グループ化 22">
            <a:extLst>
              <a:ext uri="{FF2B5EF4-FFF2-40B4-BE49-F238E27FC236}">
                <a16:creationId xmlns:a16="http://schemas.microsoft.com/office/drawing/2014/main" id="{C9990B93-EED9-C842-0F78-BC8FC0A22F15}"/>
              </a:ext>
            </a:extLst>
          </p:cNvPr>
          <p:cNvGrpSpPr/>
          <p:nvPr/>
        </p:nvGrpSpPr>
        <p:grpSpPr>
          <a:xfrm>
            <a:off x="9623396" y="902207"/>
            <a:ext cx="5913836" cy="692497"/>
            <a:chOff x="10778318" y="902207"/>
            <a:chExt cx="5913836" cy="692497"/>
          </a:xfrm>
        </p:grpSpPr>
        <p:sp>
          <p:nvSpPr>
            <p:cNvPr id="21" name="テキスト ボックス 20">
              <a:extLst>
                <a:ext uri="{FF2B5EF4-FFF2-40B4-BE49-F238E27FC236}">
                  <a16:creationId xmlns:a16="http://schemas.microsoft.com/office/drawing/2014/main" id="{56925447-3DEA-48CF-ADB0-002AD2A08875}"/>
                </a:ext>
              </a:extLst>
            </p:cNvPr>
            <p:cNvSpPr txBox="1"/>
            <p:nvPr/>
          </p:nvSpPr>
          <p:spPr>
            <a:xfrm>
              <a:off x="13053979" y="902207"/>
              <a:ext cx="3638175" cy="692497"/>
            </a:xfrm>
            <a:prstGeom prst="rect">
              <a:avLst/>
            </a:prstGeom>
            <a:noFill/>
          </p:spPr>
          <p:txBody>
            <a:bodyPr wrap="none" lIns="0" tIns="0" rIns="0" bIns="0" rtlCol="0" anchor="ctr">
              <a:spAutoFit/>
            </a:bodyPr>
            <a:lstStyle/>
            <a:p>
              <a:pPr marL="288000" indent="-288000">
                <a:spcAft>
                  <a:spcPts val="600"/>
                </a:spcAft>
                <a:buClr>
                  <a:schemeClr val="accent2"/>
                </a:buClr>
                <a:buFont typeface="Wingdings" panose="05000000000000000000" pitchFamily="2" charset="2"/>
                <a:buChar char="ü"/>
              </a:pPr>
              <a:r>
                <a:rPr lang="ja-JP" altLang="en-US" sz="2000" spc="100" dirty="0">
                  <a:latin typeface="+mn-ea"/>
                </a:rPr>
                <a:t>結婚式のメッセージ作成</a:t>
              </a:r>
              <a:endParaRPr lang="en-US" altLang="ja-JP" sz="2000" spc="100" dirty="0">
                <a:latin typeface="+mn-ea"/>
              </a:endParaRPr>
            </a:p>
            <a:p>
              <a:pPr marL="288000" indent="-288000">
                <a:spcAft>
                  <a:spcPts val="600"/>
                </a:spcAft>
                <a:buClr>
                  <a:schemeClr val="accent2"/>
                </a:buClr>
                <a:buFont typeface="Wingdings" panose="05000000000000000000" pitchFamily="2" charset="2"/>
                <a:buChar char="ü"/>
              </a:pPr>
              <a:r>
                <a:rPr kumimoji="1" lang="ja-JP" altLang="en-US" sz="2000" spc="100" dirty="0">
                  <a:latin typeface="+mn-ea"/>
                </a:rPr>
                <a:t>業務マニュアルの作成　</a:t>
              </a:r>
              <a:r>
                <a:rPr kumimoji="1" lang="ja-JP" altLang="en-US" sz="1400" spc="100" dirty="0">
                  <a:latin typeface="+mn-ea"/>
                </a:rPr>
                <a:t>など</a:t>
              </a:r>
              <a:endParaRPr kumimoji="1" lang="en-US" altLang="ja-JP" sz="2000" spc="100" dirty="0">
                <a:latin typeface="+mn-ea"/>
              </a:endParaRPr>
            </a:p>
          </p:txBody>
        </p:sp>
        <p:sp>
          <p:nvSpPr>
            <p:cNvPr id="22" name="テキスト ボックス 21">
              <a:extLst>
                <a:ext uri="{FF2B5EF4-FFF2-40B4-BE49-F238E27FC236}">
                  <a16:creationId xmlns:a16="http://schemas.microsoft.com/office/drawing/2014/main" id="{8547AB56-7134-5E05-B515-8E48B5A6BEB6}"/>
                </a:ext>
              </a:extLst>
            </p:cNvPr>
            <p:cNvSpPr txBox="1"/>
            <p:nvPr/>
          </p:nvSpPr>
          <p:spPr>
            <a:xfrm>
              <a:off x="10778318" y="1063790"/>
              <a:ext cx="1923604" cy="369332"/>
            </a:xfrm>
            <a:prstGeom prst="rect">
              <a:avLst/>
            </a:prstGeom>
            <a:noFill/>
          </p:spPr>
          <p:txBody>
            <a:bodyPr wrap="none" lIns="0" tIns="0" rIns="0" bIns="0" rtlCol="0" anchor="ctr">
              <a:spAutoFit/>
            </a:bodyPr>
            <a:lstStyle/>
            <a:p>
              <a:pPr algn="r">
                <a:spcAft>
                  <a:spcPts val="1000"/>
                </a:spcAft>
                <a:buClr>
                  <a:schemeClr val="accent2"/>
                </a:buClr>
              </a:pPr>
              <a:r>
                <a:rPr kumimoji="1" lang="ja-JP" altLang="en-US" sz="2400" spc="100" dirty="0">
                  <a:latin typeface="+mj-ea"/>
                  <a:ea typeface="+mj-ea"/>
                </a:rPr>
                <a:t>活用場面の例</a:t>
              </a:r>
              <a:endParaRPr kumimoji="1" lang="en-US" altLang="ja-JP" sz="2400" spc="100" dirty="0">
                <a:latin typeface="+mj-ea"/>
                <a:ea typeface="+mj-ea"/>
              </a:endParaRPr>
            </a:p>
          </p:txBody>
        </p:sp>
      </p:grpSp>
      <p:cxnSp>
        <p:nvCxnSpPr>
          <p:cNvPr id="75" name="直線矢印コネクタ 74">
            <a:extLst>
              <a:ext uri="{FF2B5EF4-FFF2-40B4-BE49-F238E27FC236}">
                <a16:creationId xmlns:a16="http://schemas.microsoft.com/office/drawing/2014/main" id="{DDD3489A-99D6-AD17-F4AA-2C9EE2E7C4EE}"/>
              </a:ext>
            </a:extLst>
          </p:cNvPr>
          <p:cNvCxnSpPr>
            <a:cxnSpLocks/>
            <a:endCxn id="72" idx="0"/>
          </p:cNvCxnSpPr>
          <p:nvPr/>
        </p:nvCxnSpPr>
        <p:spPr>
          <a:xfrm>
            <a:off x="16261300" y="3573775"/>
            <a:ext cx="0" cy="2455011"/>
          </a:xfrm>
          <a:prstGeom prst="straightConnector1">
            <a:avLst/>
          </a:prstGeom>
          <a:ln w="76200" cap="sq">
            <a:solidFill>
              <a:schemeClr val="accent2"/>
            </a:solidFill>
            <a:prstDash val="sysDash"/>
            <a:tailEnd type="arrow" w="lg" len="lg"/>
          </a:ln>
        </p:spPr>
        <p:style>
          <a:lnRef idx="1">
            <a:schemeClr val="accent1"/>
          </a:lnRef>
          <a:fillRef idx="0">
            <a:schemeClr val="accent1"/>
          </a:fillRef>
          <a:effectRef idx="0">
            <a:schemeClr val="accent1"/>
          </a:effectRef>
          <a:fontRef idx="minor">
            <a:schemeClr val="tx1"/>
          </a:fontRef>
        </p:style>
      </p:cxnSp>
      <p:sp>
        <p:nvSpPr>
          <p:cNvPr id="76" name="フリーフォーム: 図形 75">
            <a:extLst>
              <a:ext uri="{FF2B5EF4-FFF2-40B4-BE49-F238E27FC236}">
                <a16:creationId xmlns:a16="http://schemas.microsoft.com/office/drawing/2014/main" id="{E3DA189B-8BBE-6202-1724-22C47CF15F4B}"/>
              </a:ext>
            </a:extLst>
          </p:cNvPr>
          <p:cNvSpPr/>
          <p:nvPr/>
        </p:nvSpPr>
        <p:spPr>
          <a:xfrm>
            <a:off x="15284754" y="2319207"/>
            <a:ext cx="1953090" cy="125456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chemeClr val="tx1"/>
          </a:solidFill>
          <a:ln w="9525" cap="flat">
            <a:noFill/>
            <a:prstDash val="solid"/>
            <a:miter/>
          </a:ln>
        </p:spPr>
        <p:txBody>
          <a:bodyPr lIns="0" tIns="0" rIns="0" bIns="36000" rtlCol="0" anchor="ctr"/>
          <a:lstStyle/>
          <a:p>
            <a:pPr algn="ctr">
              <a:lnSpc>
                <a:spcPct val="130000"/>
              </a:lnSpc>
            </a:pPr>
            <a:r>
              <a:rPr lang="ja-JP" altLang="en-US" sz="2800" dirty="0">
                <a:solidFill>
                  <a:schemeClr val="bg1"/>
                </a:solidFill>
              </a:rPr>
              <a:t>長い文章</a:t>
            </a:r>
          </a:p>
        </p:txBody>
      </p:sp>
      <p:sp>
        <p:nvSpPr>
          <p:cNvPr id="3" name="スライド番号プレースホルダー 2">
            <a:extLst>
              <a:ext uri="{FF2B5EF4-FFF2-40B4-BE49-F238E27FC236}">
                <a16:creationId xmlns:a16="http://schemas.microsoft.com/office/drawing/2014/main" id="{E399353C-2A7D-187F-1BD1-22856F8F1E99}"/>
              </a:ext>
            </a:extLst>
          </p:cNvPr>
          <p:cNvSpPr>
            <a:spLocks noGrp="1"/>
          </p:cNvSpPr>
          <p:nvPr>
            <p:ph type="sldNum" sz="quarter" idx="11"/>
          </p:nvPr>
        </p:nvSpPr>
        <p:spPr>
          <a:xfrm>
            <a:off x="17695001" y="9786651"/>
            <a:ext cx="327013" cy="307777"/>
          </a:xfrm>
        </p:spPr>
        <p:txBody>
          <a:bodyPr/>
          <a:lstStyle/>
          <a:p>
            <a:r>
              <a:rPr lang="en-US" altLang="ja-JP"/>
              <a:t>14</a:t>
            </a:r>
            <a:endParaRPr lang="ja-JP" altLang="en-US" dirty="0"/>
          </a:p>
        </p:txBody>
      </p:sp>
      <p:pic>
        <p:nvPicPr>
          <p:cNvPr id="6" name="図 5">
            <a:extLst>
              <a:ext uri="{FF2B5EF4-FFF2-40B4-BE49-F238E27FC236}">
                <a16:creationId xmlns:a16="http://schemas.microsoft.com/office/drawing/2014/main" id="{251C1738-6F17-0122-5824-B6B58AC6F4ED}"/>
              </a:ext>
            </a:extLst>
          </p:cNvPr>
          <p:cNvPicPr>
            <a:picLocks noChangeAspect="1"/>
          </p:cNvPicPr>
          <p:nvPr/>
        </p:nvPicPr>
        <p:blipFill>
          <a:blip r:embed="rId7"/>
          <a:stretch>
            <a:fillRect/>
          </a:stretch>
        </p:blipFill>
        <p:spPr>
          <a:xfrm>
            <a:off x="891184" y="2407470"/>
            <a:ext cx="1292464" cy="1286367"/>
          </a:xfrm>
          <a:prstGeom prst="rect">
            <a:avLst/>
          </a:prstGeom>
        </p:spPr>
      </p:pic>
      <p:sp>
        <p:nvSpPr>
          <p:cNvPr id="32" name="フリーフォーム: 図形 31">
            <a:extLst>
              <a:ext uri="{FF2B5EF4-FFF2-40B4-BE49-F238E27FC236}">
                <a16:creationId xmlns:a16="http://schemas.microsoft.com/office/drawing/2014/main" id="{C5FC5F21-59E4-7BBA-95FF-B4FB6F00E583}"/>
              </a:ext>
            </a:extLst>
          </p:cNvPr>
          <p:cNvSpPr/>
          <p:nvPr/>
        </p:nvSpPr>
        <p:spPr>
          <a:xfrm rot="18743112" flipV="1">
            <a:off x="2291112" y="5975322"/>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grpSp>
        <p:nvGrpSpPr>
          <p:cNvPr id="11" name="グループ化 10">
            <a:extLst>
              <a:ext uri="{FF2B5EF4-FFF2-40B4-BE49-F238E27FC236}">
                <a16:creationId xmlns:a16="http://schemas.microsoft.com/office/drawing/2014/main" id="{8366A3B8-0D7D-6E59-6B2D-46C60C5FE162}"/>
              </a:ext>
            </a:extLst>
          </p:cNvPr>
          <p:cNvGrpSpPr/>
          <p:nvPr/>
        </p:nvGrpSpPr>
        <p:grpSpPr>
          <a:xfrm>
            <a:off x="891185" y="5979004"/>
            <a:ext cx="1292464" cy="1742275"/>
            <a:chOff x="891185" y="5979004"/>
            <a:chExt cx="1292464" cy="1742275"/>
          </a:xfrm>
        </p:grpSpPr>
        <p:sp>
          <p:nvSpPr>
            <p:cNvPr id="18" name="テキスト ボックス 17">
              <a:extLst>
                <a:ext uri="{FF2B5EF4-FFF2-40B4-BE49-F238E27FC236}">
                  <a16:creationId xmlns:a16="http://schemas.microsoft.com/office/drawing/2014/main" id="{981E26B2-1171-BC86-C668-883AA30FC03D}"/>
                </a:ext>
              </a:extLst>
            </p:cNvPr>
            <p:cNvSpPr txBox="1"/>
            <p:nvPr/>
          </p:nvSpPr>
          <p:spPr>
            <a:xfrm flipH="1">
              <a:off x="1362033" y="7346526"/>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9" name="図 8">
              <a:extLst>
                <a:ext uri="{FF2B5EF4-FFF2-40B4-BE49-F238E27FC236}">
                  <a16:creationId xmlns:a16="http://schemas.microsoft.com/office/drawing/2014/main" id="{E4814F74-AEAA-CA7B-9ECD-1E0F880E9657}"/>
                </a:ext>
              </a:extLst>
            </p:cNvPr>
            <p:cNvPicPr>
              <a:picLocks noChangeAspect="1"/>
            </p:cNvPicPr>
            <p:nvPr/>
          </p:nvPicPr>
          <p:blipFill>
            <a:blip r:embed="rId8"/>
            <a:stretch>
              <a:fillRect/>
            </a:stretch>
          </p:blipFill>
          <p:spPr>
            <a:xfrm>
              <a:off x="891185" y="5979004"/>
              <a:ext cx="1292464" cy="1292464"/>
            </a:xfrm>
            <a:prstGeom prst="rect">
              <a:avLst/>
            </a:prstGeom>
          </p:spPr>
        </p:pic>
      </p:grpSp>
      <p:sp>
        <p:nvSpPr>
          <p:cNvPr id="7" name="テキスト ボックス 6">
            <a:extLst>
              <a:ext uri="{FF2B5EF4-FFF2-40B4-BE49-F238E27FC236}">
                <a16:creationId xmlns:a16="http://schemas.microsoft.com/office/drawing/2014/main" id="{6939AB4F-8C2F-5904-A32C-45FD01923B3B}"/>
              </a:ext>
            </a:extLst>
          </p:cNvPr>
          <p:cNvSpPr txBox="1"/>
          <p:nvPr/>
        </p:nvSpPr>
        <p:spPr>
          <a:xfrm>
            <a:off x="372103" y="9832817"/>
            <a:ext cx="3645229"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p>
        </p:txBody>
      </p:sp>
      <p:sp>
        <p:nvSpPr>
          <p:cNvPr id="31" name="四角形: 角を丸くする 30">
            <a:extLst>
              <a:ext uri="{FF2B5EF4-FFF2-40B4-BE49-F238E27FC236}">
                <a16:creationId xmlns:a16="http://schemas.microsoft.com/office/drawing/2014/main" id="{B7AF939A-DE29-5701-6267-2D6D1DE91913}"/>
              </a:ext>
            </a:extLst>
          </p:cNvPr>
          <p:cNvSpPr/>
          <p:nvPr/>
        </p:nvSpPr>
        <p:spPr>
          <a:xfrm>
            <a:off x="2516354" y="5847204"/>
            <a:ext cx="13153080" cy="3550115"/>
          </a:xfrm>
          <a:prstGeom prst="roundRect">
            <a:avLst>
              <a:gd name="adj" fmla="val 2683"/>
            </a:avLst>
          </a:prstGeom>
          <a:solidFill>
            <a:schemeClr val="accent5">
              <a:lumMod val="40000"/>
              <a:lumOff val="60000"/>
            </a:schemeClr>
          </a:solidFill>
          <a:ln w="38100" cap="flat">
            <a:noFill/>
            <a:prstDash val="solid"/>
            <a:miter/>
          </a:ln>
        </p:spPr>
        <p:txBody>
          <a:bodyPr wrap="square" lIns="288000" tIns="180000" rIns="216000" bIns="180000" rtlCol="0" anchor="t">
            <a:spAutoFit/>
          </a:bodyPr>
          <a:lstStyle/>
          <a:p>
            <a:pPr marL="288000" indent="-288000">
              <a:lnSpc>
                <a:spcPct val="120000"/>
              </a:lnSpc>
              <a:spcAft>
                <a:spcPts val="1000"/>
              </a:spcAft>
              <a:buClr>
                <a:schemeClr val="accent2"/>
              </a:buClr>
              <a:buFont typeface="Wingdings" panose="05000000000000000000" pitchFamily="2" charset="2"/>
              <a:buChar char="l"/>
            </a:pPr>
            <a:r>
              <a:rPr lang="ja-JP" altLang="en-US" sz="1800" dirty="0">
                <a:latin typeface="+mn-ea"/>
              </a:rPr>
              <a:t>かわいい女の子「赤ずきんちゃん」は、おばあさんに特に可愛がられ、赤いビロードのずきんをプレゼントされて</a:t>
            </a:r>
            <a:br>
              <a:rPr lang="en-US" altLang="ja-JP" sz="1800" dirty="0">
                <a:latin typeface="+mn-ea"/>
              </a:rPr>
            </a:br>
            <a:r>
              <a:rPr lang="ja-JP" altLang="en-US" sz="1800" dirty="0">
                <a:latin typeface="+mn-ea"/>
              </a:rPr>
              <a:t>以来、そればかりをかぶるようになりました。</a:t>
            </a:r>
          </a:p>
          <a:p>
            <a:pPr marL="288000" indent="-288000">
              <a:lnSpc>
                <a:spcPct val="120000"/>
              </a:lnSpc>
              <a:spcAft>
                <a:spcPts val="1000"/>
              </a:spcAft>
              <a:buClr>
                <a:schemeClr val="accent2"/>
              </a:buClr>
              <a:buFont typeface="Wingdings" panose="05000000000000000000" pitchFamily="2" charset="2"/>
              <a:buChar char="l"/>
            </a:pPr>
            <a:r>
              <a:rPr lang="ja-JP" altLang="en-US" sz="1800" dirty="0">
                <a:latin typeface="+mn-ea"/>
              </a:rPr>
              <a:t>ある日、赤ずきんちゃんは病気のおばあさんのためにお菓子とブドウ酒を持って訪れるよう母親に頼まれ、</a:t>
            </a:r>
            <a:br>
              <a:rPr lang="en-US" altLang="ja-JP" sz="1800" dirty="0">
                <a:latin typeface="+mn-ea"/>
              </a:rPr>
            </a:br>
            <a:r>
              <a:rPr lang="ja-JP" altLang="en-US" sz="1800" dirty="0">
                <a:latin typeface="+mn-ea"/>
              </a:rPr>
              <a:t>注意事項を受けて出発しました。</a:t>
            </a:r>
          </a:p>
          <a:p>
            <a:pPr marL="288000" indent="-288000">
              <a:lnSpc>
                <a:spcPct val="120000"/>
              </a:lnSpc>
              <a:spcAft>
                <a:spcPts val="1000"/>
              </a:spcAft>
              <a:buClr>
                <a:schemeClr val="accent2"/>
              </a:buClr>
              <a:buFont typeface="Wingdings" panose="05000000000000000000" pitchFamily="2" charset="2"/>
              <a:buChar char="l"/>
            </a:pPr>
            <a:r>
              <a:rPr lang="ja-JP" altLang="en-US" sz="1800" dirty="0">
                <a:latin typeface="+mn-ea"/>
              </a:rPr>
              <a:t>森の中でオオカミに出会った赤ずきんちゃんは、彼が悪い存在だと知らずにおばあさんの家の場所を教えてしまいます。</a:t>
            </a:r>
          </a:p>
          <a:p>
            <a:pPr marL="288000" indent="-288000">
              <a:lnSpc>
                <a:spcPct val="120000"/>
              </a:lnSpc>
              <a:spcAft>
                <a:spcPts val="1000"/>
              </a:spcAft>
              <a:buClr>
                <a:schemeClr val="accent2"/>
              </a:buClr>
              <a:buFont typeface="Wingdings" panose="05000000000000000000" pitchFamily="2" charset="2"/>
              <a:buChar char="l"/>
            </a:pPr>
            <a:r>
              <a:rPr lang="ja-JP" altLang="en-US" sz="1800" dirty="0">
                <a:latin typeface="+mn-ea"/>
              </a:rPr>
              <a:t>オオカミはおばあさんを飲み込み、赤ずきんちゃんを待ち伏せます。赤ずきんちゃんはオオカミにだまされて食べられてしまいますが、通りかかった狩人によって救出されます。</a:t>
            </a:r>
          </a:p>
          <a:p>
            <a:pPr marL="288000" indent="-288000">
              <a:lnSpc>
                <a:spcPct val="120000"/>
              </a:lnSpc>
              <a:spcAft>
                <a:spcPts val="1000"/>
              </a:spcAft>
              <a:buClr>
                <a:schemeClr val="accent2"/>
              </a:buClr>
              <a:buFont typeface="Wingdings" panose="05000000000000000000" pitchFamily="2" charset="2"/>
              <a:buChar char="l"/>
            </a:pPr>
            <a:r>
              <a:rPr lang="ja-JP" altLang="en-US" sz="1800" dirty="0">
                <a:latin typeface="+mn-ea"/>
              </a:rPr>
              <a:t>オオカミは死に、赤ずきんちゃんとおばあさんは無事で、赤ずきんちゃんは今後は母親の言うことを守ると決心します。</a:t>
            </a:r>
          </a:p>
        </p:txBody>
      </p:sp>
      <p:sp>
        <p:nvSpPr>
          <p:cNvPr id="72" name="フリーフォーム: 図形 71">
            <a:extLst>
              <a:ext uri="{FF2B5EF4-FFF2-40B4-BE49-F238E27FC236}">
                <a16:creationId xmlns:a16="http://schemas.microsoft.com/office/drawing/2014/main" id="{23C52E11-78E1-ED54-C343-2A33F5103BA5}"/>
              </a:ext>
            </a:extLst>
          </p:cNvPr>
          <p:cNvSpPr/>
          <p:nvPr/>
        </p:nvSpPr>
        <p:spPr>
          <a:xfrm>
            <a:off x="14928479" y="6028786"/>
            <a:ext cx="2665640" cy="153963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gradFill flip="none" rotWithShape="1">
            <a:gsLst>
              <a:gs pos="0">
                <a:srgbClr val="00ABDF"/>
              </a:gs>
              <a:gs pos="100000">
                <a:srgbClr val="006DFB"/>
              </a:gs>
            </a:gsLst>
            <a:lin ang="5400000" scaled="1"/>
            <a:tileRect/>
          </a:gradFill>
          <a:ln w="9525" cap="flat">
            <a:noFill/>
            <a:prstDash val="solid"/>
            <a:miter/>
          </a:ln>
        </p:spPr>
        <p:txBody>
          <a:bodyPr lIns="0" tIns="0" rIns="0" bIns="72000" rtlCol="0" anchor="ctr"/>
          <a:lstStyle/>
          <a:p>
            <a:pPr algn="ctr">
              <a:lnSpc>
                <a:spcPct val="114000"/>
              </a:lnSpc>
            </a:pPr>
            <a:r>
              <a:rPr lang="ja-JP" altLang="en-US" sz="2800" dirty="0">
                <a:solidFill>
                  <a:schemeClr val="bg1"/>
                </a:solidFill>
              </a:rPr>
              <a:t>単純な</a:t>
            </a:r>
            <a:br>
              <a:rPr lang="en-US" altLang="ja-JP" sz="2800" dirty="0">
                <a:solidFill>
                  <a:schemeClr val="bg1"/>
                </a:solidFill>
              </a:rPr>
            </a:br>
            <a:r>
              <a:rPr lang="ja-JP" altLang="en-US" sz="2800" dirty="0">
                <a:solidFill>
                  <a:schemeClr val="bg1"/>
                </a:solidFill>
              </a:rPr>
              <a:t>箇条書きに！</a:t>
            </a:r>
          </a:p>
        </p:txBody>
      </p:sp>
    </p:spTree>
    <p:extLst>
      <p:ext uri="{BB962C8B-B14F-4D97-AF65-F5344CB8AC3E}">
        <p14:creationId xmlns:p14="http://schemas.microsoft.com/office/powerpoint/2010/main" val="19868509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D36274DA-6F6B-30E8-B33B-02A15FDE1FDD}"/>
              </a:ext>
            </a:extLst>
          </p:cNvPr>
          <p:cNvSpPr txBox="1"/>
          <p:nvPr/>
        </p:nvSpPr>
        <p:spPr>
          <a:xfrm>
            <a:off x="3949765" y="971458"/>
            <a:ext cx="2694648" cy="553998"/>
          </a:xfrm>
          <a:prstGeom prst="rect">
            <a:avLst/>
          </a:prstGeom>
          <a:noFill/>
        </p:spPr>
        <p:txBody>
          <a:bodyPr wrap="none" lIns="0" tIns="0" rIns="0" bIns="0" rtlCol="0" anchor="ctr">
            <a:spAutoFit/>
          </a:bodyPr>
          <a:lstStyle/>
          <a:p>
            <a:pPr algn="ctr"/>
            <a:r>
              <a:rPr lang="ja-JP" altLang="en-US" sz="3600" spc="100" dirty="0">
                <a:latin typeface="+mj-ea"/>
                <a:ea typeface="+mj-ea"/>
              </a:rPr>
              <a:t>２</a:t>
            </a:r>
            <a:r>
              <a:rPr kumimoji="1" lang="en-US" altLang="ja-JP" sz="3600" spc="100" dirty="0">
                <a:latin typeface="+mj-ea"/>
                <a:ea typeface="+mj-ea"/>
              </a:rPr>
              <a:t>. </a:t>
            </a:r>
            <a:r>
              <a:rPr kumimoji="1" lang="ja-JP" altLang="en-US" sz="3600" spc="100" dirty="0">
                <a:latin typeface="+mj-ea"/>
                <a:ea typeface="+mj-ea"/>
              </a:rPr>
              <a:t>情報検索</a:t>
            </a:r>
            <a:endParaRPr kumimoji="1" lang="en-US" altLang="ja-JP" sz="3600" spc="100" dirty="0">
              <a:latin typeface="+mj-ea"/>
              <a:ea typeface="+mj-ea"/>
            </a:endParaRPr>
          </a:p>
        </p:txBody>
      </p:sp>
      <p:cxnSp>
        <p:nvCxnSpPr>
          <p:cNvPr id="4" name="直線コネクタ 3">
            <a:extLst>
              <a:ext uri="{FF2B5EF4-FFF2-40B4-BE49-F238E27FC236}">
                <a16:creationId xmlns:a16="http://schemas.microsoft.com/office/drawing/2014/main" id="{2635CC2A-ED34-13A3-4BD9-323E7A5290E6}"/>
              </a:ext>
            </a:extLst>
          </p:cNvPr>
          <p:cNvCxnSpPr>
            <a:cxnSpLocks/>
          </p:cNvCxnSpPr>
          <p:nvPr/>
        </p:nvCxnSpPr>
        <p:spPr>
          <a:xfrm>
            <a:off x="8861436" y="799514"/>
            <a:ext cx="0" cy="897886"/>
          </a:xfrm>
          <a:prstGeom prst="line">
            <a:avLst/>
          </a:prstGeom>
          <a:ln w="38100" cap="rnd">
            <a:solidFill>
              <a:schemeClr val="tx1"/>
            </a:solidFill>
            <a:round/>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54CF6EAE-D7FF-653D-42E2-5464E4FA7FAD}"/>
              </a:ext>
            </a:extLst>
          </p:cNvPr>
          <p:cNvGrpSpPr/>
          <p:nvPr/>
        </p:nvGrpSpPr>
        <p:grpSpPr>
          <a:xfrm>
            <a:off x="9297575" y="902207"/>
            <a:ext cx="7798968" cy="692497"/>
            <a:chOff x="10778318" y="902207"/>
            <a:chExt cx="7798968" cy="692497"/>
          </a:xfrm>
        </p:grpSpPr>
        <p:sp>
          <p:nvSpPr>
            <p:cNvPr id="6" name="テキスト ボックス 5">
              <a:extLst>
                <a:ext uri="{FF2B5EF4-FFF2-40B4-BE49-F238E27FC236}">
                  <a16:creationId xmlns:a16="http://schemas.microsoft.com/office/drawing/2014/main" id="{E5D34173-AB97-0049-39D7-9B5992FF804D}"/>
                </a:ext>
              </a:extLst>
            </p:cNvPr>
            <p:cNvSpPr txBox="1"/>
            <p:nvPr/>
          </p:nvSpPr>
          <p:spPr>
            <a:xfrm>
              <a:off x="13053979" y="902207"/>
              <a:ext cx="5523307" cy="692497"/>
            </a:xfrm>
            <a:prstGeom prst="rect">
              <a:avLst/>
            </a:prstGeom>
            <a:noFill/>
          </p:spPr>
          <p:txBody>
            <a:bodyPr wrap="none" lIns="0" tIns="0" rIns="0" bIns="0" rtlCol="0" anchor="ctr">
              <a:spAutoFit/>
            </a:bodyPr>
            <a:lstStyle/>
            <a:p>
              <a:pPr marL="288000" indent="-288000">
                <a:spcAft>
                  <a:spcPts val="600"/>
                </a:spcAft>
                <a:buClr>
                  <a:schemeClr val="accent2"/>
                </a:buClr>
                <a:buFont typeface="Wingdings" panose="05000000000000000000" pitchFamily="2" charset="2"/>
                <a:buChar char="ü"/>
              </a:pPr>
              <a:r>
                <a:rPr lang="ja-JP" altLang="en-US" sz="2000" spc="100" dirty="0">
                  <a:latin typeface="+mn-ea"/>
                </a:rPr>
                <a:t>料理のレシピ検索</a:t>
              </a:r>
            </a:p>
            <a:p>
              <a:pPr marL="288000" indent="-288000">
                <a:spcAft>
                  <a:spcPts val="600"/>
                </a:spcAft>
                <a:buClr>
                  <a:schemeClr val="accent2"/>
                </a:buClr>
                <a:buFont typeface="Wingdings" panose="05000000000000000000" pitchFamily="2" charset="2"/>
                <a:buChar char="ü"/>
              </a:pPr>
              <a:r>
                <a:rPr lang="ja-JP" altLang="en-US" sz="2000" spc="100" dirty="0">
                  <a:latin typeface="+mn-ea"/>
                </a:rPr>
                <a:t>製品企画のための市場動向調査の補助</a:t>
              </a:r>
              <a:r>
                <a:rPr kumimoji="1" lang="ja-JP" altLang="en-US" sz="2000" spc="100" dirty="0">
                  <a:latin typeface="+mn-ea"/>
                </a:rPr>
                <a:t>　</a:t>
              </a:r>
              <a:r>
                <a:rPr kumimoji="1" lang="ja-JP" altLang="en-US" sz="1400" spc="100" dirty="0">
                  <a:latin typeface="+mn-ea"/>
                </a:rPr>
                <a:t>など</a:t>
              </a:r>
              <a:endParaRPr kumimoji="1" lang="en-US" altLang="ja-JP" sz="2000" spc="100" dirty="0">
                <a:latin typeface="+mn-ea"/>
              </a:endParaRPr>
            </a:p>
          </p:txBody>
        </p:sp>
        <p:sp>
          <p:nvSpPr>
            <p:cNvPr id="7" name="テキスト ボックス 6">
              <a:extLst>
                <a:ext uri="{FF2B5EF4-FFF2-40B4-BE49-F238E27FC236}">
                  <a16:creationId xmlns:a16="http://schemas.microsoft.com/office/drawing/2014/main" id="{6E218268-CD24-5869-26E1-EFCF58A1D657}"/>
                </a:ext>
              </a:extLst>
            </p:cNvPr>
            <p:cNvSpPr txBox="1"/>
            <p:nvPr/>
          </p:nvSpPr>
          <p:spPr>
            <a:xfrm>
              <a:off x="10778318" y="1063790"/>
              <a:ext cx="1923604" cy="369332"/>
            </a:xfrm>
            <a:prstGeom prst="rect">
              <a:avLst/>
            </a:prstGeom>
            <a:noFill/>
          </p:spPr>
          <p:txBody>
            <a:bodyPr wrap="none" lIns="0" tIns="0" rIns="0" bIns="0" rtlCol="0" anchor="ctr">
              <a:spAutoFit/>
            </a:bodyPr>
            <a:lstStyle/>
            <a:p>
              <a:pPr algn="r">
                <a:spcAft>
                  <a:spcPts val="1000"/>
                </a:spcAft>
                <a:buClr>
                  <a:schemeClr val="accent2"/>
                </a:buClr>
              </a:pPr>
              <a:r>
                <a:rPr kumimoji="1" lang="ja-JP" altLang="en-US" sz="2400" spc="100" dirty="0">
                  <a:latin typeface="+mj-ea"/>
                  <a:ea typeface="+mj-ea"/>
                </a:rPr>
                <a:t>活用場面の例</a:t>
              </a:r>
              <a:endParaRPr kumimoji="1" lang="en-US" altLang="ja-JP" sz="2400" spc="100" dirty="0">
                <a:latin typeface="+mj-ea"/>
                <a:ea typeface="+mj-ea"/>
              </a:endParaRPr>
            </a:p>
          </p:txBody>
        </p:sp>
      </p:grpSp>
      <p:grpSp>
        <p:nvGrpSpPr>
          <p:cNvPr id="27" name="グループ化 26">
            <a:extLst>
              <a:ext uri="{FF2B5EF4-FFF2-40B4-BE49-F238E27FC236}">
                <a16:creationId xmlns:a16="http://schemas.microsoft.com/office/drawing/2014/main" id="{D5ED08C6-997A-127B-50F0-8BA8D3B2A0BB}"/>
              </a:ext>
            </a:extLst>
          </p:cNvPr>
          <p:cNvGrpSpPr/>
          <p:nvPr/>
        </p:nvGrpSpPr>
        <p:grpSpPr>
          <a:xfrm>
            <a:off x="2299540" y="2249960"/>
            <a:ext cx="13369891" cy="2086532"/>
            <a:chOff x="2299540" y="2249960"/>
            <a:chExt cx="13369891" cy="2086532"/>
          </a:xfrm>
        </p:grpSpPr>
        <p:sp>
          <p:nvSpPr>
            <p:cNvPr id="9" name="フリーフォーム: 図形 8">
              <a:extLst>
                <a:ext uri="{FF2B5EF4-FFF2-40B4-BE49-F238E27FC236}">
                  <a16:creationId xmlns:a16="http://schemas.microsoft.com/office/drawing/2014/main" id="{08965568-23A4-E89E-E04B-47F0155F7D87}"/>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10" name="四角形: 角を丸くする 9">
              <a:extLst>
                <a:ext uri="{FF2B5EF4-FFF2-40B4-BE49-F238E27FC236}">
                  <a16:creationId xmlns:a16="http://schemas.microsoft.com/office/drawing/2014/main" id="{D1111DB9-FFA4-D7AE-651E-8903BED08F43}"/>
                </a:ext>
              </a:extLst>
            </p:cNvPr>
            <p:cNvSpPr/>
            <p:nvPr/>
          </p:nvSpPr>
          <p:spPr>
            <a:xfrm>
              <a:off x="2519049" y="2249960"/>
              <a:ext cx="13150382" cy="2086532"/>
            </a:xfrm>
            <a:prstGeom prst="roundRect">
              <a:avLst>
                <a:gd name="adj" fmla="val 4565"/>
              </a:avLst>
            </a:prstGeom>
            <a:solidFill>
              <a:schemeClr val="bg1"/>
            </a:solidFill>
            <a:ln w="20168" cap="flat">
              <a:noFill/>
              <a:prstDash val="solid"/>
              <a:miter/>
            </a:ln>
          </p:spPr>
          <p:txBody>
            <a:bodyPr wrap="square" lIns="252000" tIns="180000" rIns="216000" bIns="180000" rtlCol="0" anchor="t">
              <a:spAutoFit/>
            </a:bodyPr>
            <a:lstStyle/>
            <a:p>
              <a:pPr>
                <a:spcAft>
                  <a:spcPts val="1000"/>
                </a:spcAft>
              </a:pPr>
              <a:r>
                <a:rPr lang="ja-JP" altLang="en-US" sz="2400" dirty="0">
                  <a:latin typeface="+mj-ea"/>
                  <a:ea typeface="+mj-ea"/>
                </a:rPr>
                <a:t>東京から日帰りで行ける県外の観光地を</a:t>
              </a:r>
              <a:r>
                <a:rPr lang="en-US" altLang="ja-JP" sz="2400" dirty="0">
                  <a:latin typeface="+mj-ea"/>
                  <a:ea typeface="+mj-ea"/>
                </a:rPr>
                <a:t>3</a:t>
              </a:r>
              <a:r>
                <a:rPr lang="ja-JP" altLang="en-US" sz="2400" dirty="0">
                  <a:latin typeface="+mj-ea"/>
                  <a:ea typeface="+mj-ea"/>
                </a:rPr>
                <a:t>つ教えてください。</a:t>
              </a:r>
            </a:p>
            <a:p>
              <a:pPr marL="324000" indent="-324000">
                <a:spcAft>
                  <a:spcPts val="1000"/>
                </a:spcAft>
                <a:buFont typeface="Wingdings" panose="05000000000000000000" pitchFamily="2" charset="2"/>
                <a:buChar char="l"/>
              </a:pPr>
              <a:r>
                <a:rPr lang="ja-JP" altLang="en-US" sz="2000" dirty="0">
                  <a:latin typeface="+mn-ea"/>
                </a:rPr>
                <a:t>季節は夏</a:t>
              </a:r>
            </a:p>
            <a:p>
              <a:pPr marL="324000" indent="-324000">
                <a:spcAft>
                  <a:spcPts val="1000"/>
                </a:spcAft>
                <a:buFont typeface="Wingdings" panose="05000000000000000000" pitchFamily="2" charset="2"/>
                <a:buChar char="l"/>
              </a:pPr>
              <a:r>
                <a:rPr lang="ja-JP" altLang="en-US" sz="2000" dirty="0">
                  <a:latin typeface="+mn-ea"/>
                </a:rPr>
                <a:t>それぞれの観光スポットも教えてください</a:t>
              </a:r>
            </a:p>
            <a:p>
              <a:pPr marL="324000" indent="-324000">
                <a:spcAft>
                  <a:spcPts val="1000"/>
                </a:spcAft>
                <a:buFont typeface="Wingdings" panose="05000000000000000000" pitchFamily="2" charset="2"/>
                <a:buChar char="l"/>
              </a:pPr>
              <a:r>
                <a:rPr lang="ja-JP" altLang="en-US" sz="2000" dirty="0">
                  <a:latin typeface="+mn-ea"/>
                </a:rPr>
                <a:t>おすすめの理由も詳しく教えてください</a:t>
              </a:r>
              <a:endParaRPr lang="ja-JP" altLang="en-US" sz="1600" dirty="0">
                <a:latin typeface="+mn-ea"/>
              </a:endParaRPr>
            </a:p>
          </p:txBody>
        </p:sp>
      </p:grpSp>
      <p:grpSp>
        <p:nvGrpSpPr>
          <p:cNvPr id="19" name="グループ化 18">
            <a:extLst>
              <a:ext uri="{FF2B5EF4-FFF2-40B4-BE49-F238E27FC236}">
                <a16:creationId xmlns:a16="http://schemas.microsoft.com/office/drawing/2014/main" id="{F24E2AD5-6CE2-9B62-D730-A3D7AA559CB6}"/>
              </a:ext>
            </a:extLst>
          </p:cNvPr>
          <p:cNvGrpSpPr/>
          <p:nvPr/>
        </p:nvGrpSpPr>
        <p:grpSpPr>
          <a:xfrm flipH="1">
            <a:off x="2299540" y="4455484"/>
            <a:ext cx="13369894" cy="5331167"/>
            <a:chOff x="2405905" y="3607886"/>
            <a:chExt cx="13369894" cy="5331167"/>
          </a:xfrm>
          <a:solidFill>
            <a:schemeClr val="accent5">
              <a:lumMod val="40000"/>
              <a:lumOff val="60000"/>
            </a:schemeClr>
          </a:solidFill>
        </p:grpSpPr>
        <p:sp>
          <p:nvSpPr>
            <p:cNvPr id="20" name="フリーフォーム: 図形 19">
              <a:extLst>
                <a:ext uri="{FF2B5EF4-FFF2-40B4-BE49-F238E27FC236}">
                  <a16:creationId xmlns:a16="http://schemas.microsoft.com/office/drawing/2014/main" id="{FF8DF7DB-A1D5-CFB0-0D8E-E86D840B40F2}"/>
                </a:ext>
              </a:extLst>
            </p:cNvPr>
            <p:cNvSpPr/>
            <p:nvPr/>
          </p:nvSpPr>
          <p:spPr>
            <a:xfrm rot="2856888" flipH="1" flipV="1">
              <a:off x="15219483" y="373600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1" name="四角形: 角を丸くする 20">
              <a:extLst>
                <a:ext uri="{FF2B5EF4-FFF2-40B4-BE49-F238E27FC236}">
                  <a16:creationId xmlns:a16="http://schemas.microsoft.com/office/drawing/2014/main" id="{769F6C07-A714-7EF7-90FA-136F7C6727C8}"/>
                </a:ext>
              </a:extLst>
            </p:cNvPr>
            <p:cNvSpPr/>
            <p:nvPr/>
          </p:nvSpPr>
          <p:spPr>
            <a:xfrm flipH="1">
              <a:off x="2405905" y="3607886"/>
              <a:ext cx="13153080" cy="5331167"/>
            </a:xfrm>
            <a:prstGeom prst="roundRect">
              <a:avLst>
                <a:gd name="adj" fmla="val 1292"/>
              </a:avLst>
            </a:prstGeom>
            <a:grpFill/>
            <a:ln w="38100" cap="flat">
              <a:noFill/>
              <a:prstDash val="solid"/>
              <a:miter/>
            </a:ln>
          </p:spPr>
          <p:txBody>
            <a:bodyPr wrap="square" lIns="288000" tIns="180000" rIns="216000" bIns="108000" rtlCol="0" anchor="t">
              <a:spAutoFit/>
            </a:bodyPr>
            <a:lstStyle/>
            <a:p>
              <a:pPr>
                <a:lnSpc>
                  <a:spcPct val="110000"/>
                </a:lnSpc>
                <a:spcAft>
                  <a:spcPts val="1000"/>
                </a:spcAft>
                <a:buClr>
                  <a:schemeClr val="accent2"/>
                </a:buClr>
              </a:pPr>
              <a:r>
                <a:rPr lang="ja-JP" altLang="en-US" sz="2000" dirty="0">
                  <a:latin typeface="+mn-ea"/>
                </a:rPr>
                <a:t>東京から日帰りで行ける観光地として、夏におすすめの場所を</a:t>
              </a:r>
              <a:r>
                <a:rPr lang="en-US" altLang="ja-JP" sz="2000" dirty="0">
                  <a:latin typeface="+mn-ea"/>
                </a:rPr>
                <a:t>3</a:t>
              </a:r>
              <a:r>
                <a:rPr lang="ja-JP" altLang="en-US" sz="2000" dirty="0">
                  <a:latin typeface="+mn-ea"/>
                </a:rPr>
                <a:t>つ挙げ、それぞれの観光スポットと</a:t>
              </a:r>
              <a:br>
                <a:rPr lang="en-US" altLang="ja-JP" sz="2000" dirty="0">
                  <a:latin typeface="+mn-ea"/>
                </a:rPr>
              </a:br>
              <a:r>
                <a:rPr lang="ja-JP" altLang="en-US" sz="2000" dirty="0">
                  <a:latin typeface="+mn-ea"/>
                </a:rPr>
                <a:t>おすすめの理由を詳しく説明します。</a:t>
              </a:r>
            </a:p>
            <a:p>
              <a:pPr>
                <a:lnSpc>
                  <a:spcPct val="110000"/>
                </a:lnSpc>
                <a:spcAft>
                  <a:spcPts val="1000"/>
                </a:spcAft>
                <a:buClr>
                  <a:schemeClr val="accent2"/>
                </a:buClr>
              </a:pPr>
              <a:r>
                <a:rPr lang="ja-JP" altLang="en-US" sz="1600" b="1" dirty="0">
                  <a:latin typeface="+mn-ea"/>
                </a:rPr>
                <a:t>箱根（神奈川県）</a:t>
              </a:r>
            </a:p>
            <a:p>
              <a:pPr marL="285750" indent="-285750">
                <a:lnSpc>
                  <a:spcPct val="110000"/>
                </a:lnSpc>
                <a:spcAft>
                  <a:spcPts val="1000"/>
                </a:spcAft>
                <a:buClr>
                  <a:schemeClr val="accent2"/>
                </a:buClr>
                <a:buFont typeface="Wingdings" panose="05000000000000000000" pitchFamily="2" charset="2"/>
                <a:buChar char="l"/>
              </a:pPr>
              <a:r>
                <a:rPr lang="ja-JP" altLang="en-US" sz="1600" dirty="0">
                  <a:latin typeface="+mn-ea"/>
                </a:rPr>
                <a:t>観光スポット：箱根神社　自然に囲まれた歴史ある神社で、パワースポットとしても知られています。</a:t>
              </a:r>
              <a:br>
                <a:rPr lang="en-US" altLang="ja-JP" sz="1600" dirty="0">
                  <a:latin typeface="+mn-ea"/>
                </a:rPr>
              </a:br>
              <a:r>
                <a:rPr lang="ja-JP" altLang="en-US" sz="1600" dirty="0">
                  <a:latin typeface="+mn-ea"/>
                </a:rPr>
                <a:t>　　　　　　　大涌谷　箱根の火山活動を間近で感じられるスポットで、名物の黒たまごは食べてみる価値があります。</a:t>
              </a:r>
              <a:br>
                <a:rPr lang="en-US" altLang="ja-JP" sz="1600" dirty="0">
                  <a:latin typeface="+mn-ea"/>
                </a:rPr>
              </a:br>
              <a:r>
                <a:rPr lang="ja-JP" altLang="en-US" sz="1600" dirty="0">
                  <a:latin typeface="+mn-ea"/>
                </a:rPr>
                <a:t>　　　　　　　芦ノ湖　遊覧船に乗って湖上からの景色を楽しむことができます。</a:t>
              </a:r>
            </a:p>
            <a:p>
              <a:pPr marL="285750" indent="-285750">
                <a:lnSpc>
                  <a:spcPct val="110000"/>
                </a:lnSpc>
                <a:spcAft>
                  <a:spcPts val="1000"/>
                </a:spcAft>
                <a:buClr>
                  <a:schemeClr val="accent2"/>
                </a:buClr>
                <a:buFont typeface="Wingdings" panose="05000000000000000000" pitchFamily="2" charset="2"/>
                <a:buChar char="l"/>
              </a:pPr>
              <a:r>
                <a:rPr lang="ja-JP" altLang="en-US" sz="1600" dirty="0">
                  <a:latin typeface="+mn-ea"/>
                </a:rPr>
                <a:t>おすすめの理由：箱根は自然が豊かで温泉も楽しめるため、夏でも涼しく過ごしやすいです。</a:t>
              </a:r>
              <a:br>
                <a:rPr lang="en-US" altLang="ja-JP" sz="1600" dirty="0">
                  <a:latin typeface="+mn-ea"/>
                </a:rPr>
              </a:br>
              <a:r>
                <a:rPr lang="ja-JP" altLang="en-US" sz="1600" dirty="0">
                  <a:latin typeface="+mn-ea"/>
                </a:rPr>
                <a:t>　　　　　　　　また、アートミュージアムや彫刻の森美術館など文化的な施設も充実しており、様々な楽しみ方ができます。</a:t>
              </a:r>
            </a:p>
            <a:p>
              <a:pPr>
                <a:lnSpc>
                  <a:spcPct val="110000"/>
                </a:lnSpc>
                <a:spcAft>
                  <a:spcPts val="1000"/>
                </a:spcAft>
                <a:buClr>
                  <a:schemeClr val="accent2"/>
                </a:buClr>
              </a:pPr>
              <a:r>
                <a:rPr lang="ja-JP" altLang="en-US" sz="1600" b="1" dirty="0">
                  <a:latin typeface="+mn-ea"/>
                </a:rPr>
                <a:t>鎌倉（神奈川県）</a:t>
              </a:r>
            </a:p>
            <a:p>
              <a:pPr marL="285750" indent="-285750">
                <a:lnSpc>
                  <a:spcPct val="110000"/>
                </a:lnSpc>
                <a:spcAft>
                  <a:spcPts val="1000"/>
                </a:spcAft>
                <a:buClr>
                  <a:schemeClr val="accent2"/>
                </a:buClr>
                <a:buFont typeface="Wingdings" panose="05000000000000000000" pitchFamily="2" charset="2"/>
                <a:buChar char="l"/>
              </a:pPr>
              <a:r>
                <a:rPr lang="ja-JP" altLang="en-US" sz="1600" dirty="0">
                  <a:latin typeface="+mn-ea"/>
                </a:rPr>
                <a:t>観光スポット：鶴岡八幡宮　鎌倉の代表的な神社で、歴史を感じさせる建築と自然が美しい場所です。</a:t>
              </a:r>
              <a:br>
                <a:rPr lang="en-US" altLang="ja-JP" sz="1600" dirty="0">
                  <a:latin typeface="+mn-ea"/>
                </a:rPr>
              </a:br>
              <a:r>
                <a:rPr lang="ja-JP" altLang="en-US" sz="1600" dirty="0">
                  <a:latin typeface="+mn-ea"/>
                </a:rPr>
                <a:t>　　　　　　　大仏（高徳院）：有名な鎌倉大仏は、日本の代表的な観光スポットの一つです。</a:t>
              </a:r>
              <a:br>
                <a:rPr lang="en-US" altLang="ja-JP" sz="1600" dirty="0">
                  <a:latin typeface="+mn-ea"/>
                </a:rPr>
              </a:br>
              <a:r>
                <a:rPr lang="ja-JP" altLang="en-US" sz="1600" dirty="0">
                  <a:latin typeface="+mn-ea"/>
                </a:rPr>
                <a:t>　　　　　　　由比ヶ浜：夏は海水浴やサーフィンを楽しむ人で賑わいます。</a:t>
              </a:r>
            </a:p>
            <a:p>
              <a:pPr marL="285750" indent="-285750">
                <a:lnSpc>
                  <a:spcPct val="110000"/>
                </a:lnSpc>
                <a:spcAft>
                  <a:spcPts val="1000"/>
                </a:spcAft>
                <a:buClr>
                  <a:schemeClr val="accent2"/>
                </a:buClr>
                <a:buFont typeface="Wingdings" panose="05000000000000000000" pitchFamily="2" charset="2"/>
                <a:buChar char="l"/>
              </a:pPr>
              <a:r>
                <a:rPr lang="ja-JP" altLang="en-US" sz="1600" dirty="0">
                  <a:latin typeface="+mn-ea"/>
                </a:rPr>
                <a:t>おすすめの理由：鎌倉は古都の雰囲気を色濃く残し、歴史的な建造物や自然景観が調和しています。</a:t>
              </a:r>
              <a:br>
                <a:rPr lang="en-US" altLang="ja-JP" sz="1600" dirty="0">
                  <a:latin typeface="+mn-ea"/>
                </a:rPr>
              </a:br>
              <a:r>
                <a:rPr lang="ja-JP" altLang="en-US" sz="1600" dirty="0">
                  <a:latin typeface="+mn-ea"/>
                </a:rPr>
                <a:t>　　　　　　　　夏は海のレジャーを楽しむことができ、また、小町通りでの食べ歩きも楽しめます。</a:t>
              </a:r>
              <a:endParaRPr lang="en-US" altLang="ja-JP" sz="1600" dirty="0">
                <a:latin typeface="+mn-ea"/>
              </a:endParaRPr>
            </a:p>
            <a:p>
              <a:pPr>
                <a:buFont typeface="Trebuchet MS" panose="020B0603020202020204" pitchFamily="34" charset="0"/>
                <a:buChar char="​"/>
              </a:pPr>
              <a:r>
                <a:rPr lang="en-US" altLang="ja-JP" sz="1400" dirty="0">
                  <a:latin typeface="Trebuchet MS" panose="020B0603020202020204" pitchFamily="34" charset="0"/>
                </a:rPr>
                <a:t>---</a:t>
              </a:r>
              <a:r>
                <a:rPr lang="ja-JP" altLang="en-US" sz="1400" dirty="0">
                  <a:latin typeface="Trebuchet MS" panose="020B0603020202020204" pitchFamily="34" charset="0"/>
                </a:rPr>
                <a:t>以下略</a:t>
              </a:r>
              <a:r>
                <a:rPr lang="en-US" altLang="ja-JP" sz="1400" dirty="0">
                  <a:latin typeface="Trebuchet MS" panose="020B0603020202020204" pitchFamily="34" charset="0"/>
                </a:rPr>
                <a:t>---</a:t>
              </a:r>
            </a:p>
          </p:txBody>
        </p:sp>
      </p:grpSp>
      <p:sp>
        <p:nvSpPr>
          <p:cNvPr id="22" name="フリーフォーム: 図形 21">
            <a:extLst>
              <a:ext uri="{FF2B5EF4-FFF2-40B4-BE49-F238E27FC236}">
                <a16:creationId xmlns:a16="http://schemas.microsoft.com/office/drawing/2014/main" id="{57B357C7-80AF-B9F6-9226-EC0DF9A8C291}"/>
              </a:ext>
            </a:extLst>
          </p:cNvPr>
          <p:cNvSpPr/>
          <p:nvPr/>
        </p:nvSpPr>
        <p:spPr>
          <a:xfrm>
            <a:off x="14928479" y="4582095"/>
            <a:ext cx="2665640" cy="153963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gradFill flip="none" rotWithShape="1">
            <a:gsLst>
              <a:gs pos="0">
                <a:srgbClr val="00ABDF"/>
              </a:gs>
              <a:gs pos="100000">
                <a:srgbClr val="006DFB"/>
              </a:gs>
            </a:gsLst>
            <a:lin ang="5400000" scaled="1"/>
            <a:tileRect/>
          </a:gradFill>
          <a:ln w="9525" cap="flat">
            <a:noFill/>
            <a:prstDash val="solid"/>
            <a:miter/>
          </a:ln>
        </p:spPr>
        <p:txBody>
          <a:bodyPr lIns="0" tIns="0" rIns="0" bIns="0" rtlCol="0" anchor="ctr"/>
          <a:lstStyle/>
          <a:p>
            <a:pPr algn="ctr">
              <a:lnSpc>
                <a:spcPct val="114000"/>
              </a:lnSpc>
            </a:pPr>
            <a:r>
              <a:rPr lang="ja-JP" altLang="en-US" sz="2800" dirty="0">
                <a:solidFill>
                  <a:schemeClr val="bg1"/>
                </a:solidFill>
              </a:rPr>
              <a:t>整理された</a:t>
            </a:r>
            <a:br>
              <a:rPr lang="ja-JP" altLang="en-US" sz="2800" dirty="0">
                <a:solidFill>
                  <a:schemeClr val="bg1"/>
                </a:solidFill>
              </a:rPr>
            </a:br>
            <a:r>
              <a:rPr lang="ja-JP" altLang="en-US" sz="2800" dirty="0">
                <a:solidFill>
                  <a:schemeClr val="bg1"/>
                </a:solidFill>
              </a:rPr>
              <a:t>検索結果！</a:t>
            </a:r>
            <a:endParaRPr lang="en-US" altLang="ja-JP" sz="2800" dirty="0">
              <a:solidFill>
                <a:schemeClr val="bg1"/>
              </a:solidFill>
            </a:endParaRPr>
          </a:p>
        </p:txBody>
      </p:sp>
      <p:cxnSp>
        <p:nvCxnSpPr>
          <p:cNvPr id="23" name="直線矢印コネクタ 22">
            <a:extLst>
              <a:ext uri="{FF2B5EF4-FFF2-40B4-BE49-F238E27FC236}">
                <a16:creationId xmlns:a16="http://schemas.microsoft.com/office/drawing/2014/main" id="{861B719E-1F1D-0E66-5493-726609C74C36}"/>
              </a:ext>
            </a:extLst>
          </p:cNvPr>
          <p:cNvCxnSpPr>
            <a:cxnSpLocks/>
            <a:stCxn id="24" idx="2"/>
            <a:endCxn id="22" idx="0"/>
          </p:cNvCxnSpPr>
          <p:nvPr/>
        </p:nvCxnSpPr>
        <p:spPr>
          <a:xfrm>
            <a:off x="16261300" y="3858843"/>
            <a:ext cx="0" cy="723252"/>
          </a:xfrm>
          <a:prstGeom prst="straightConnector1">
            <a:avLst/>
          </a:prstGeom>
          <a:ln w="76200" cap="sq">
            <a:solidFill>
              <a:schemeClr val="accent2"/>
            </a:solidFill>
            <a:prstDash val="sysDash"/>
            <a:tailEnd type="arrow" w="lg" len="lg"/>
          </a:ln>
        </p:spPr>
        <p:style>
          <a:lnRef idx="1">
            <a:schemeClr val="accent1"/>
          </a:lnRef>
          <a:fillRef idx="0">
            <a:schemeClr val="accent1"/>
          </a:fillRef>
          <a:effectRef idx="0">
            <a:schemeClr val="accent1"/>
          </a:effectRef>
          <a:fontRef idx="minor">
            <a:schemeClr val="tx1"/>
          </a:fontRef>
        </p:style>
      </p:cxnSp>
      <p:sp>
        <p:nvSpPr>
          <p:cNvPr id="24" name="フリーフォーム: 図形 23">
            <a:extLst>
              <a:ext uri="{FF2B5EF4-FFF2-40B4-BE49-F238E27FC236}">
                <a16:creationId xmlns:a16="http://schemas.microsoft.com/office/drawing/2014/main" id="{D13AE0B3-3BBD-3DAA-11A8-EF0B958DBB79}"/>
              </a:ext>
            </a:extLst>
          </p:cNvPr>
          <p:cNvSpPr/>
          <p:nvPr/>
        </p:nvSpPr>
        <p:spPr>
          <a:xfrm>
            <a:off x="14928479" y="2319206"/>
            <a:ext cx="2665640" cy="1539637"/>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chemeClr val="tx1"/>
          </a:solidFill>
          <a:ln w="9525" cap="flat">
            <a:noFill/>
            <a:prstDash val="solid"/>
            <a:miter/>
          </a:ln>
        </p:spPr>
        <p:txBody>
          <a:bodyPr lIns="0" tIns="0" rIns="0" bIns="0" rtlCol="0" anchor="ctr"/>
          <a:lstStyle/>
          <a:p>
            <a:pPr algn="ctr">
              <a:lnSpc>
                <a:spcPct val="114000"/>
              </a:lnSpc>
            </a:pPr>
            <a:r>
              <a:rPr lang="ja-JP" altLang="en-US" sz="2800" dirty="0">
                <a:solidFill>
                  <a:schemeClr val="bg1"/>
                </a:solidFill>
              </a:rPr>
              <a:t>検索結果を</a:t>
            </a:r>
            <a:br>
              <a:rPr lang="en-US" altLang="ja-JP" sz="2800" dirty="0">
                <a:solidFill>
                  <a:schemeClr val="bg1"/>
                </a:solidFill>
              </a:rPr>
            </a:br>
            <a:r>
              <a:rPr lang="ja-JP" altLang="en-US" sz="2800" dirty="0">
                <a:solidFill>
                  <a:schemeClr val="bg1"/>
                </a:solidFill>
              </a:rPr>
              <a:t>指示</a:t>
            </a:r>
          </a:p>
        </p:txBody>
      </p:sp>
      <p:sp>
        <p:nvSpPr>
          <p:cNvPr id="8" name="スライド番号プレースホルダー 7">
            <a:extLst>
              <a:ext uri="{FF2B5EF4-FFF2-40B4-BE49-F238E27FC236}">
                <a16:creationId xmlns:a16="http://schemas.microsoft.com/office/drawing/2014/main" id="{99B1BDF6-3C44-BF35-A6F1-DA0110B898FC}"/>
              </a:ext>
            </a:extLst>
          </p:cNvPr>
          <p:cNvSpPr>
            <a:spLocks noGrp="1"/>
          </p:cNvSpPr>
          <p:nvPr>
            <p:ph type="sldNum" sz="quarter" idx="11"/>
          </p:nvPr>
        </p:nvSpPr>
        <p:spPr>
          <a:xfrm>
            <a:off x="17695001" y="9786651"/>
            <a:ext cx="327013" cy="307777"/>
          </a:xfrm>
        </p:spPr>
        <p:txBody>
          <a:bodyPr/>
          <a:lstStyle/>
          <a:p>
            <a:r>
              <a:rPr lang="en-US" altLang="ja-JP"/>
              <a:t>15</a:t>
            </a:r>
            <a:endParaRPr lang="ja-JP" altLang="en-US" dirty="0"/>
          </a:p>
        </p:txBody>
      </p:sp>
      <p:grpSp>
        <p:nvGrpSpPr>
          <p:cNvPr id="13" name="グループ化 12">
            <a:extLst>
              <a:ext uri="{FF2B5EF4-FFF2-40B4-BE49-F238E27FC236}">
                <a16:creationId xmlns:a16="http://schemas.microsoft.com/office/drawing/2014/main" id="{44B4667B-6302-4A97-6F26-5521A70F4289}"/>
              </a:ext>
            </a:extLst>
          </p:cNvPr>
          <p:cNvGrpSpPr/>
          <p:nvPr/>
        </p:nvGrpSpPr>
        <p:grpSpPr>
          <a:xfrm>
            <a:off x="891185" y="4590904"/>
            <a:ext cx="1292464" cy="1742275"/>
            <a:chOff x="891185" y="5979004"/>
            <a:chExt cx="1292464" cy="1742275"/>
          </a:xfrm>
        </p:grpSpPr>
        <p:sp>
          <p:nvSpPr>
            <p:cNvPr id="14" name="テキスト ボックス 13">
              <a:extLst>
                <a:ext uri="{FF2B5EF4-FFF2-40B4-BE49-F238E27FC236}">
                  <a16:creationId xmlns:a16="http://schemas.microsoft.com/office/drawing/2014/main" id="{B199636D-52D5-1083-5923-5E6AEAAD2A46}"/>
                </a:ext>
              </a:extLst>
            </p:cNvPr>
            <p:cNvSpPr txBox="1"/>
            <p:nvPr/>
          </p:nvSpPr>
          <p:spPr>
            <a:xfrm flipH="1">
              <a:off x="1362033" y="7346526"/>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5" name="図 14">
              <a:extLst>
                <a:ext uri="{FF2B5EF4-FFF2-40B4-BE49-F238E27FC236}">
                  <a16:creationId xmlns:a16="http://schemas.microsoft.com/office/drawing/2014/main" id="{391754D9-AB4C-FCCF-6051-6127EDF96643}"/>
                </a:ext>
              </a:extLst>
            </p:cNvPr>
            <p:cNvPicPr>
              <a:picLocks noChangeAspect="1"/>
            </p:cNvPicPr>
            <p:nvPr/>
          </p:nvPicPr>
          <p:blipFill>
            <a:blip r:embed="rId3"/>
            <a:stretch>
              <a:fillRect/>
            </a:stretch>
          </p:blipFill>
          <p:spPr>
            <a:xfrm>
              <a:off x="891185" y="5979004"/>
              <a:ext cx="1292464" cy="1292464"/>
            </a:xfrm>
            <a:prstGeom prst="rect">
              <a:avLst/>
            </a:prstGeom>
          </p:spPr>
        </p:pic>
      </p:grpSp>
      <p:pic>
        <p:nvPicPr>
          <p:cNvPr id="17" name="図 16">
            <a:extLst>
              <a:ext uri="{FF2B5EF4-FFF2-40B4-BE49-F238E27FC236}">
                <a16:creationId xmlns:a16="http://schemas.microsoft.com/office/drawing/2014/main" id="{80B24F2D-A245-CD27-EC78-D3FA0203F2A7}"/>
              </a:ext>
            </a:extLst>
          </p:cNvPr>
          <p:cNvPicPr>
            <a:picLocks noChangeAspect="1"/>
          </p:cNvPicPr>
          <p:nvPr/>
        </p:nvPicPr>
        <p:blipFill>
          <a:blip r:embed="rId4"/>
          <a:stretch>
            <a:fillRect/>
          </a:stretch>
        </p:blipFill>
        <p:spPr>
          <a:xfrm>
            <a:off x="891184" y="2407470"/>
            <a:ext cx="1292464" cy="1286367"/>
          </a:xfrm>
          <a:prstGeom prst="rect">
            <a:avLst/>
          </a:prstGeom>
        </p:spPr>
      </p:pic>
      <p:sp>
        <p:nvSpPr>
          <p:cNvPr id="2" name="テキスト ボックス 1">
            <a:extLst>
              <a:ext uri="{FF2B5EF4-FFF2-40B4-BE49-F238E27FC236}">
                <a16:creationId xmlns:a16="http://schemas.microsoft.com/office/drawing/2014/main" id="{D1E0DE4D-12AC-7AB7-5EED-EBED6C8720B0}"/>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から一部抜粋</a:t>
            </a:r>
          </a:p>
        </p:txBody>
      </p:sp>
    </p:spTree>
    <p:extLst>
      <p:ext uri="{BB962C8B-B14F-4D97-AF65-F5344CB8AC3E}">
        <p14:creationId xmlns:p14="http://schemas.microsoft.com/office/powerpoint/2010/main" val="428208409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CCF8D4B8-12ED-8486-4A7F-EA49F98EF32E}"/>
              </a:ext>
            </a:extLst>
          </p:cNvPr>
          <p:cNvSpPr txBox="1"/>
          <p:nvPr/>
        </p:nvSpPr>
        <p:spPr>
          <a:xfrm>
            <a:off x="4708030" y="971458"/>
            <a:ext cx="1745671" cy="553998"/>
          </a:xfrm>
          <a:prstGeom prst="rect">
            <a:avLst/>
          </a:prstGeom>
          <a:noFill/>
        </p:spPr>
        <p:txBody>
          <a:bodyPr wrap="none" lIns="0" tIns="0" rIns="0" bIns="0" rtlCol="0" anchor="ctr">
            <a:spAutoFit/>
          </a:bodyPr>
          <a:lstStyle/>
          <a:p>
            <a:pPr algn="ctr"/>
            <a:r>
              <a:rPr lang="ja-JP" altLang="en-US" sz="3600" spc="100" dirty="0">
                <a:latin typeface="+mj-ea"/>
                <a:ea typeface="+mj-ea"/>
              </a:rPr>
              <a:t>３</a:t>
            </a:r>
            <a:r>
              <a:rPr kumimoji="1" lang="en-US" altLang="ja-JP" sz="3600" spc="100" dirty="0">
                <a:latin typeface="+mj-ea"/>
                <a:ea typeface="+mj-ea"/>
              </a:rPr>
              <a:t>.</a:t>
            </a:r>
            <a:r>
              <a:rPr kumimoji="1" lang="ja-JP" altLang="en-US" sz="3600" spc="100" dirty="0">
                <a:latin typeface="+mj-ea"/>
                <a:ea typeface="+mj-ea"/>
              </a:rPr>
              <a:t> 翻訳</a:t>
            </a:r>
            <a:endParaRPr kumimoji="1" lang="en-US" altLang="ja-JP" sz="3600" spc="100" dirty="0">
              <a:latin typeface="+mj-ea"/>
              <a:ea typeface="+mj-ea"/>
            </a:endParaRPr>
          </a:p>
        </p:txBody>
      </p:sp>
      <p:cxnSp>
        <p:nvCxnSpPr>
          <p:cNvPr id="4" name="直線コネクタ 3">
            <a:extLst>
              <a:ext uri="{FF2B5EF4-FFF2-40B4-BE49-F238E27FC236}">
                <a16:creationId xmlns:a16="http://schemas.microsoft.com/office/drawing/2014/main" id="{B65C242B-B009-2B93-011F-F34918F1FCB4}"/>
              </a:ext>
            </a:extLst>
          </p:cNvPr>
          <p:cNvCxnSpPr>
            <a:cxnSpLocks/>
          </p:cNvCxnSpPr>
          <p:nvPr/>
        </p:nvCxnSpPr>
        <p:spPr>
          <a:xfrm>
            <a:off x="9187257" y="799514"/>
            <a:ext cx="0" cy="897886"/>
          </a:xfrm>
          <a:prstGeom prst="line">
            <a:avLst/>
          </a:prstGeom>
          <a:ln w="38100" cap="rnd">
            <a:solidFill>
              <a:schemeClr val="tx1"/>
            </a:solidFill>
            <a:round/>
          </a:ln>
        </p:spPr>
        <p:style>
          <a:lnRef idx="1">
            <a:schemeClr val="accent1"/>
          </a:lnRef>
          <a:fillRef idx="0">
            <a:schemeClr val="accent1"/>
          </a:fillRef>
          <a:effectRef idx="0">
            <a:schemeClr val="accent1"/>
          </a:effectRef>
          <a:fontRef idx="minor">
            <a:schemeClr val="tx1"/>
          </a:fontRef>
        </p:style>
      </p:cxnSp>
      <p:grpSp>
        <p:nvGrpSpPr>
          <p:cNvPr id="5" name="グループ化 4">
            <a:extLst>
              <a:ext uri="{FF2B5EF4-FFF2-40B4-BE49-F238E27FC236}">
                <a16:creationId xmlns:a16="http://schemas.microsoft.com/office/drawing/2014/main" id="{11826623-EE61-939B-46E9-C09BFF3481D8}"/>
              </a:ext>
            </a:extLst>
          </p:cNvPr>
          <p:cNvGrpSpPr/>
          <p:nvPr/>
        </p:nvGrpSpPr>
        <p:grpSpPr>
          <a:xfrm>
            <a:off x="9623396" y="902207"/>
            <a:ext cx="6452445" cy="692497"/>
            <a:chOff x="10778318" y="902207"/>
            <a:chExt cx="6452445" cy="692497"/>
          </a:xfrm>
        </p:grpSpPr>
        <p:sp>
          <p:nvSpPr>
            <p:cNvPr id="6" name="テキスト ボックス 5">
              <a:extLst>
                <a:ext uri="{FF2B5EF4-FFF2-40B4-BE49-F238E27FC236}">
                  <a16:creationId xmlns:a16="http://schemas.microsoft.com/office/drawing/2014/main" id="{0711463D-ED85-7830-45D2-45B5E2C0B916}"/>
                </a:ext>
              </a:extLst>
            </p:cNvPr>
            <p:cNvSpPr txBox="1"/>
            <p:nvPr/>
          </p:nvSpPr>
          <p:spPr>
            <a:xfrm>
              <a:off x="13053979" y="902207"/>
              <a:ext cx="4176784" cy="692497"/>
            </a:xfrm>
            <a:prstGeom prst="rect">
              <a:avLst/>
            </a:prstGeom>
            <a:noFill/>
          </p:spPr>
          <p:txBody>
            <a:bodyPr wrap="none" lIns="0" tIns="0" rIns="0" bIns="0" rtlCol="0" anchor="ctr">
              <a:spAutoFit/>
            </a:bodyPr>
            <a:lstStyle/>
            <a:p>
              <a:pPr marL="288000" indent="-288000">
                <a:spcAft>
                  <a:spcPts val="600"/>
                </a:spcAft>
                <a:buClr>
                  <a:schemeClr val="accent2"/>
                </a:buClr>
                <a:buFont typeface="Wingdings" panose="05000000000000000000" pitchFamily="2" charset="2"/>
                <a:buChar char="ü"/>
              </a:pPr>
              <a:r>
                <a:rPr lang="ja-JP" altLang="en-US" sz="2000" spc="100" dirty="0">
                  <a:latin typeface="+mn-ea"/>
                </a:rPr>
                <a:t>外国語学習における作文の添削</a:t>
              </a:r>
            </a:p>
            <a:p>
              <a:pPr marL="288000" indent="-288000">
                <a:spcAft>
                  <a:spcPts val="600"/>
                </a:spcAft>
                <a:buClr>
                  <a:schemeClr val="accent2"/>
                </a:buClr>
                <a:buFont typeface="Wingdings" panose="05000000000000000000" pitchFamily="2" charset="2"/>
                <a:buChar char="ü"/>
              </a:pPr>
              <a:r>
                <a:rPr lang="ja-JP" altLang="en-US" sz="2000" spc="100" dirty="0">
                  <a:latin typeface="+mn-ea"/>
                </a:rPr>
                <a:t>ビジネスメールの英訳</a:t>
              </a:r>
              <a:r>
                <a:rPr kumimoji="1" lang="ja-JP" altLang="en-US" sz="2000" spc="100" dirty="0">
                  <a:latin typeface="+mn-ea"/>
                </a:rPr>
                <a:t>　</a:t>
              </a:r>
              <a:r>
                <a:rPr kumimoji="1" lang="ja-JP" altLang="en-US" sz="1400" spc="100" dirty="0">
                  <a:latin typeface="+mn-ea"/>
                </a:rPr>
                <a:t>など</a:t>
              </a:r>
              <a:endParaRPr kumimoji="1" lang="en-US" altLang="ja-JP" sz="2000" spc="100" dirty="0">
                <a:latin typeface="+mn-ea"/>
              </a:endParaRPr>
            </a:p>
          </p:txBody>
        </p:sp>
        <p:sp>
          <p:nvSpPr>
            <p:cNvPr id="7" name="テキスト ボックス 6">
              <a:extLst>
                <a:ext uri="{FF2B5EF4-FFF2-40B4-BE49-F238E27FC236}">
                  <a16:creationId xmlns:a16="http://schemas.microsoft.com/office/drawing/2014/main" id="{FDDB9BD1-92A4-1DFE-6C80-0B410A4B0798}"/>
                </a:ext>
              </a:extLst>
            </p:cNvPr>
            <p:cNvSpPr txBox="1"/>
            <p:nvPr/>
          </p:nvSpPr>
          <p:spPr>
            <a:xfrm>
              <a:off x="10778318" y="1063790"/>
              <a:ext cx="1923604" cy="369332"/>
            </a:xfrm>
            <a:prstGeom prst="rect">
              <a:avLst/>
            </a:prstGeom>
            <a:noFill/>
          </p:spPr>
          <p:txBody>
            <a:bodyPr wrap="none" lIns="0" tIns="0" rIns="0" bIns="0" rtlCol="0" anchor="ctr">
              <a:spAutoFit/>
            </a:bodyPr>
            <a:lstStyle/>
            <a:p>
              <a:pPr algn="r">
                <a:spcAft>
                  <a:spcPts val="1000"/>
                </a:spcAft>
                <a:buClr>
                  <a:schemeClr val="accent2"/>
                </a:buClr>
              </a:pPr>
              <a:r>
                <a:rPr kumimoji="1" lang="ja-JP" altLang="en-US" sz="2400" spc="100" dirty="0">
                  <a:latin typeface="+mj-ea"/>
                  <a:ea typeface="+mj-ea"/>
                </a:rPr>
                <a:t>活用場面の例</a:t>
              </a:r>
              <a:endParaRPr kumimoji="1" lang="en-US" altLang="ja-JP" sz="2400" spc="100" dirty="0">
                <a:latin typeface="+mj-ea"/>
                <a:ea typeface="+mj-ea"/>
              </a:endParaRPr>
            </a:p>
          </p:txBody>
        </p:sp>
      </p:grpSp>
      <p:grpSp>
        <p:nvGrpSpPr>
          <p:cNvPr id="27" name="グループ化 26">
            <a:extLst>
              <a:ext uri="{FF2B5EF4-FFF2-40B4-BE49-F238E27FC236}">
                <a16:creationId xmlns:a16="http://schemas.microsoft.com/office/drawing/2014/main" id="{DCB9E145-E9D9-125A-4AD9-6E4495A687D0}"/>
              </a:ext>
            </a:extLst>
          </p:cNvPr>
          <p:cNvGrpSpPr/>
          <p:nvPr/>
        </p:nvGrpSpPr>
        <p:grpSpPr>
          <a:xfrm>
            <a:off x="2299540" y="2249960"/>
            <a:ext cx="13369891" cy="3622170"/>
            <a:chOff x="2299540" y="2249960"/>
            <a:chExt cx="13369891" cy="3622170"/>
          </a:xfrm>
        </p:grpSpPr>
        <p:sp>
          <p:nvSpPr>
            <p:cNvPr id="10" name="フリーフォーム: 図形 9">
              <a:extLst>
                <a:ext uri="{FF2B5EF4-FFF2-40B4-BE49-F238E27FC236}">
                  <a16:creationId xmlns:a16="http://schemas.microsoft.com/office/drawing/2014/main" id="{623CBFF9-F3CA-A1B6-5853-58E3E27F9BA4}"/>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11" name="四角形: 角を丸くする 10">
              <a:extLst>
                <a:ext uri="{FF2B5EF4-FFF2-40B4-BE49-F238E27FC236}">
                  <a16:creationId xmlns:a16="http://schemas.microsoft.com/office/drawing/2014/main" id="{0760A266-7A84-DEC6-875E-D4F3D5110341}"/>
                </a:ext>
              </a:extLst>
            </p:cNvPr>
            <p:cNvSpPr/>
            <p:nvPr/>
          </p:nvSpPr>
          <p:spPr>
            <a:xfrm>
              <a:off x="2519049" y="2249960"/>
              <a:ext cx="13150382" cy="3622170"/>
            </a:xfrm>
            <a:prstGeom prst="roundRect">
              <a:avLst>
                <a:gd name="adj" fmla="val 3152"/>
              </a:avLst>
            </a:prstGeom>
            <a:solidFill>
              <a:schemeClr val="bg1"/>
            </a:solidFill>
            <a:ln w="20168" cap="flat">
              <a:noFill/>
              <a:prstDash val="solid"/>
              <a:miter/>
            </a:ln>
          </p:spPr>
          <p:txBody>
            <a:bodyPr wrap="square" lIns="252000" tIns="180000" rIns="216000" bIns="180000" rtlCol="0" anchor="t">
              <a:spAutoFit/>
            </a:bodyPr>
            <a:lstStyle/>
            <a:p>
              <a:pPr>
                <a:spcAft>
                  <a:spcPts val="1100"/>
                </a:spcAft>
              </a:pPr>
              <a:r>
                <a:rPr lang="ja-JP" altLang="en-US" sz="2400" dirty="0">
                  <a:latin typeface="+mj-ea"/>
                  <a:ea typeface="+mj-ea"/>
                </a:rPr>
                <a:t>夏の訪日観光客に向けたアドバイスです。分かりやすく和訳してください。</a:t>
              </a:r>
            </a:p>
            <a:p>
              <a:pPr marL="324000" indent="-324000">
                <a:spcAft>
                  <a:spcPts val="1100"/>
                </a:spcAft>
                <a:buFont typeface="Wingdings" panose="05000000000000000000" pitchFamily="2" charset="2"/>
                <a:buChar char="l"/>
              </a:pPr>
              <a:r>
                <a:rPr lang="en-US" altLang="ja-JP" sz="2200" dirty="0">
                  <a:latin typeface="+mn-ea"/>
                </a:rPr>
                <a:t>Throughout much of Honshu and Kyushu, summers are a time of hot, sweltering </a:t>
              </a:r>
              <a:br>
                <a:rPr lang="en-US" altLang="ja-JP" sz="2200" dirty="0">
                  <a:latin typeface="+mn-ea"/>
                </a:rPr>
              </a:br>
              <a:r>
                <a:rPr lang="en-US" altLang="ja-JP" sz="2200" dirty="0">
                  <a:latin typeface="+mn-ea"/>
                </a:rPr>
                <a:t>humidity. Pack plenty of light, breathable clothing.</a:t>
              </a:r>
            </a:p>
            <a:p>
              <a:pPr marL="324000" indent="-324000">
                <a:spcAft>
                  <a:spcPts val="1100"/>
                </a:spcAft>
                <a:buFont typeface="Wingdings" panose="05000000000000000000" pitchFamily="2" charset="2"/>
                <a:buChar char="l"/>
              </a:pPr>
              <a:r>
                <a:rPr lang="en-US" altLang="ja-JP" sz="2200" dirty="0">
                  <a:latin typeface="+mn-ea"/>
                </a:rPr>
                <a:t>August is a time of rest and family reunions, with many Japanese returning home to take part in the Obon rituals held in mid-August. This period is full of fascinating regional festivals and customs.</a:t>
              </a:r>
            </a:p>
            <a:p>
              <a:pPr marL="324000" indent="-324000">
                <a:spcAft>
                  <a:spcPts val="1100"/>
                </a:spcAft>
                <a:buFont typeface="Wingdings" panose="05000000000000000000" pitchFamily="2" charset="2"/>
                <a:buChar char="l"/>
              </a:pPr>
              <a:r>
                <a:rPr lang="en-US" altLang="ja-JP" sz="2200" dirty="0">
                  <a:latin typeface="+mn-ea"/>
                </a:rPr>
                <a:t>Summer is the time for yakiniku BBQ, chilled somen noodles, and ice-cold beer. Be sure to indulge.</a:t>
              </a:r>
            </a:p>
          </p:txBody>
        </p:sp>
      </p:grpSp>
      <p:grpSp>
        <p:nvGrpSpPr>
          <p:cNvPr id="28" name="グループ化 27">
            <a:extLst>
              <a:ext uri="{FF2B5EF4-FFF2-40B4-BE49-F238E27FC236}">
                <a16:creationId xmlns:a16="http://schemas.microsoft.com/office/drawing/2014/main" id="{7CC2CD98-48DE-0F6F-F4FB-6A7ABE49BB4A}"/>
              </a:ext>
            </a:extLst>
          </p:cNvPr>
          <p:cNvGrpSpPr/>
          <p:nvPr/>
        </p:nvGrpSpPr>
        <p:grpSpPr>
          <a:xfrm>
            <a:off x="2299540" y="6145162"/>
            <a:ext cx="13369894" cy="2929964"/>
            <a:chOff x="2299540" y="5556582"/>
            <a:chExt cx="13369894" cy="2929964"/>
          </a:xfrm>
        </p:grpSpPr>
        <p:sp>
          <p:nvSpPr>
            <p:cNvPr id="21" name="フリーフォーム: 図形 20">
              <a:extLst>
                <a:ext uri="{FF2B5EF4-FFF2-40B4-BE49-F238E27FC236}">
                  <a16:creationId xmlns:a16="http://schemas.microsoft.com/office/drawing/2014/main" id="{8435933B-CAD0-D5CC-37AD-F852517B46EE}"/>
                </a:ext>
              </a:extLst>
            </p:cNvPr>
            <p:cNvSpPr/>
            <p:nvPr/>
          </p:nvSpPr>
          <p:spPr>
            <a:xfrm rot="18743112" flipV="1">
              <a:off x="2291112" y="568470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2" name="四角形: 角を丸くする 21">
              <a:extLst>
                <a:ext uri="{FF2B5EF4-FFF2-40B4-BE49-F238E27FC236}">
                  <a16:creationId xmlns:a16="http://schemas.microsoft.com/office/drawing/2014/main" id="{1B688655-4988-1B46-1E6C-B34EBCCB70EE}"/>
                </a:ext>
              </a:extLst>
            </p:cNvPr>
            <p:cNvSpPr/>
            <p:nvPr/>
          </p:nvSpPr>
          <p:spPr>
            <a:xfrm>
              <a:off x="2516354" y="5556582"/>
              <a:ext cx="13153080" cy="2929964"/>
            </a:xfrm>
            <a:prstGeom prst="roundRect">
              <a:avLst>
                <a:gd name="adj" fmla="val 2851"/>
              </a:avLst>
            </a:prstGeom>
            <a:solidFill>
              <a:schemeClr val="accent5">
                <a:lumMod val="40000"/>
                <a:lumOff val="60000"/>
              </a:schemeClr>
            </a:solidFill>
            <a:ln w="38100" cap="flat">
              <a:noFill/>
              <a:prstDash val="solid"/>
              <a:miter/>
            </a:ln>
          </p:spPr>
          <p:txBody>
            <a:bodyPr wrap="square" lIns="288000" tIns="180000" rIns="216000" bIns="216000" rtlCol="0" anchor="t">
              <a:spAutoFit/>
            </a:bodyPr>
            <a:lstStyle/>
            <a:p>
              <a:pPr marL="342900" indent="-342900">
                <a:lnSpc>
                  <a:spcPct val="120000"/>
                </a:lnSpc>
                <a:spcAft>
                  <a:spcPts val="1200"/>
                </a:spcAft>
                <a:buClr>
                  <a:schemeClr val="accent2"/>
                </a:buClr>
                <a:buFont typeface="Wingdings" panose="05000000000000000000" pitchFamily="2" charset="2"/>
                <a:buChar char="l"/>
              </a:pPr>
              <a:r>
                <a:rPr lang="ja-JP" altLang="en-US" sz="2000" dirty="0">
                  <a:latin typeface="+mn-ea"/>
                </a:rPr>
                <a:t>本州や九州の大部分では、夏は暑く、じわっと湿度が高い時期です。軽くて通気性の</a:t>
              </a:r>
              <a:br>
                <a:rPr lang="en-US" altLang="ja-JP" sz="2000" dirty="0">
                  <a:latin typeface="+mn-ea"/>
                </a:rPr>
              </a:br>
              <a:r>
                <a:rPr lang="ja-JP" altLang="en-US" sz="2000" dirty="0">
                  <a:latin typeface="+mn-ea"/>
                </a:rPr>
                <a:t>良い服をたくさん持って行くことをおすすめします。</a:t>
              </a:r>
            </a:p>
            <a:p>
              <a:pPr marL="342900" indent="-342900">
                <a:lnSpc>
                  <a:spcPct val="120000"/>
                </a:lnSpc>
                <a:spcAft>
                  <a:spcPts val="1200"/>
                </a:spcAft>
                <a:buClr>
                  <a:schemeClr val="accent2"/>
                </a:buClr>
                <a:buFont typeface="Wingdings" panose="05000000000000000000" pitchFamily="2" charset="2"/>
                <a:buChar char="l"/>
              </a:pPr>
              <a:r>
                <a:rPr lang="en-US" altLang="ja-JP" sz="2000" dirty="0">
                  <a:latin typeface="+mn-ea"/>
                </a:rPr>
                <a:t>8</a:t>
              </a:r>
              <a:r>
                <a:rPr lang="ja-JP" altLang="en-US" sz="2000" dirty="0">
                  <a:latin typeface="+mn-ea"/>
                </a:rPr>
                <a:t>月は休息と家族の再会の時期で、多くの日本人が中旬に行われるお盆の儀式に</a:t>
              </a:r>
              <a:br>
                <a:rPr lang="en-US" altLang="ja-JP" sz="2000" dirty="0">
                  <a:latin typeface="+mn-ea"/>
                </a:rPr>
              </a:br>
              <a:r>
                <a:rPr lang="ja-JP" altLang="en-US" sz="2000" dirty="0">
                  <a:latin typeface="+mn-ea"/>
                </a:rPr>
                <a:t>参加するために故郷に帰る時期です。</a:t>
              </a:r>
              <a:br>
                <a:rPr lang="en-US" altLang="ja-JP" sz="2000" dirty="0">
                  <a:latin typeface="+mn-ea"/>
                </a:rPr>
              </a:br>
              <a:r>
                <a:rPr lang="ja-JP" altLang="en-US" sz="2000" dirty="0">
                  <a:latin typeface="+mn-ea"/>
                </a:rPr>
                <a:t>この期間は、魅力的な地方祭りや風習が盛りだくさんです。</a:t>
              </a:r>
            </a:p>
            <a:p>
              <a:pPr marL="342900" indent="-342900">
                <a:lnSpc>
                  <a:spcPct val="120000"/>
                </a:lnSpc>
                <a:spcAft>
                  <a:spcPts val="1200"/>
                </a:spcAft>
                <a:buClr>
                  <a:schemeClr val="accent2"/>
                </a:buClr>
                <a:buFont typeface="Wingdings" panose="05000000000000000000" pitchFamily="2" charset="2"/>
                <a:buChar char="l"/>
              </a:pPr>
              <a:r>
                <a:rPr lang="ja-JP" altLang="en-US" sz="2000" dirty="0">
                  <a:latin typeface="+mn-ea"/>
                </a:rPr>
                <a:t>夏は焼肉、冷やし素麺、そして冷たいビールが最適です。ぜひ贅沢に楽しんでください。</a:t>
              </a:r>
            </a:p>
          </p:txBody>
        </p:sp>
      </p:grpSp>
      <p:sp>
        <p:nvSpPr>
          <p:cNvPr id="23" name="フリーフォーム: 図形 22">
            <a:extLst>
              <a:ext uri="{FF2B5EF4-FFF2-40B4-BE49-F238E27FC236}">
                <a16:creationId xmlns:a16="http://schemas.microsoft.com/office/drawing/2014/main" id="{67BB174A-BEAB-A597-6AE0-A7A753862A1F}"/>
              </a:ext>
            </a:extLst>
          </p:cNvPr>
          <p:cNvSpPr/>
          <p:nvPr/>
        </p:nvSpPr>
        <p:spPr>
          <a:xfrm>
            <a:off x="14928479" y="6292222"/>
            <a:ext cx="2665640" cy="153963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gradFill flip="none" rotWithShape="1">
            <a:gsLst>
              <a:gs pos="0">
                <a:srgbClr val="00ABDF"/>
              </a:gs>
              <a:gs pos="100000">
                <a:srgbClr val="006DFB"/>
              </a:gs>
            </a:gsLst>
            <a:lin ang="5400000" scaled="1"/>
            <a:tileRect/>
          </a:gradFill>
          <a:ln w="9525" cap="flat">
            <a:noFill/>
            <a:prstDash val="solid"/>
            <a:miter/>
          </a:ln>
        </p:spPr>
        <p:txBody>
          <a:bodyPr lIns="0" tIns="0" rIns="0" bIns="36000" rtlCol="0" anchor="ctr"/>
          <a:lstStyle/>
          <a:p>
            <a:pPr algn="ctr">
              <a:lnSpc>
                <a:spcPct val="114000"/>
              </a:lnSpc>
            </a:pPr>
            <a:r>
              <a:rPr lang="ja-JP" altLang="en-US" sz="2800" dirty="0">
                <a:solidFill>
                  <a:schemeClr val="bg1"/>
                </a:solidFill>
              </a:rPr>
              <a:t>自然な</a:t>
            </a:r>
            <a:br>
              <a:rPr lang="en-US" altLang="ja-JP" sz="2800" dirty="0">
                <a:solidFill>
                  <a:schemeClr val="bg1"/>
                </a:solidFill>
              </a:rPr>
            </a:br>
            <a:r>
              <a:rPr lang="ja-JP" altLang="en-US" sz="2800" dirty="0">
                <a:solidFill>
                  <a:schemeClr val="bg1"/>
                </a:solidFill>
              </a:rPr>
              <a:t>日本語に！</a:t>
            </a:r>
            <a:endParaRPr lang="en-US" altLang="ja-JP" sz="2800" dirty="0">
              <a:solidFill>
                <a:schemeClr val="bg1"/>
              </a:solidFill>
            </a:endParaRPr>
          </a:p>
        </p:txBody>
      </p:sp>
      <p:cxnSp>
        <p:nvCxnSpPr>
          <p:cNvPr id="24" name="直線矢印コネクタ 23">
            <a:extLst>
              <a:ext uri="{FF2B5EF4-FFF2-40B4-BE49-F238E27FC236}">
                <a16:creationId xmlns:a16="http://schemas.microsoft.com/office/drawing/2014/main" id="{7734B6B6-0549-378E-5350-80F09A036731}"/>
              </a:ext>
            </a:extLst>
          </p:cNvPr>
          <p:cNvCxnSpPr>
            <a:cxnSpLocks/>
            <a:stCxn id="37" idx="2"/>
            <a:endCxn id="23" idx="0"/>
          </p:cNvCxnSpPr>
          <p:nvPr/>
        </p:nvCxnSpPr>
        <p:spPr>
          <a:xfrm>
            <a:off x="16261300" y="3573775"/>
            <a:ext cx="0" cy="2718447"/>
          </a:xfrm>
          <a:prstGeom prst="straightConnector1">
            <a:avLst/>
          </a:prstGeom>
          <a:ln w="76200" cap="sq">
            <a:solidFill>
              <a:schemeClr val="accent2"/>
            </a:solidFill>
            <a:prstDash val="sysDash"/>
            <a:tailEnd type="arrow" w="lg" len="lg"/>
          </a:ln>
        </p:spPr>
        <p:style>
          <a:lnRef idx="1">
            <a:schemeClr val="accent1"/>
          </a:lnRef>
          <a:fillRef idx="0">
            <a:schemeClr val="accent1"/>
          </a:fillRef>
          <a:effectRef idx="0">
            <a:schemeClr val="accent1"/>
          </a:effectRef>
          <a:fontRef idx="minor">
            <a:schemeClr val="tx1"/>
          </a:fontRef>
        </p:style>
      </p:cxnSp>
      <p:sp>
        <p:nvSpPr>
          <p:cNvPr id="37" name="フリーフォーム: 図形 36">
            <a:extLst>
              <a:ext uri="{FF2B5EF4-FFF2-40B4-BE49-F238E27FC236}">
                <a16:creationId xmlns:a16="http://schemas.microsoft.com/office/drawing/2014/main" id="{2B2B3EA0-BBAB-44CC-0282-DB82AF3A5832}"/>
              </a:ext>
            </a:extLst>
          </p:cNvPr>
          <p:cNvSpPr/>
          <p:nvPr/>
        </p:nvSpPr>
        <p:spPr>
          <a:xfrm>
            <a:off x="15284754" y="2319207"/>
            <a:ext cx="1953090" cy="1254568"/>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solidFill>
            <a:schemeClr val="tx1"/>
          </a:solidFill>
          <a:ln w="9525" cap="flat">
            <a:noFill/>
            <a:prstDash val="solid"/>
            <a:miter/>
          </a:ln>
        </p:spPr>
        <p:txBody>
          <a:bodyPr lIns="0" tIns="0" rIns="0" bIns="36000" rtlCol="0" anchor="ctr"/>
          <a:lstStyle/>
          <a:p>
            <a:pPr algn="ctr">
              <a:lnSpc>
                <a:spcPct val="130000"/>
              </a:lnSpc>
            </a:pPr>
            <a:r>
              <a:rPr lang="ja-JP" altLang="en-US" sz="2800" dirty="0">
                <a:solidFill>
                  <a:schemeClr val="bg1"/>
                </a:solidFill>
              </a:rPr>
              <a:t>長い英文</a:t>
            </a:r>
          </a:p>
        </p:txBody>
      </p:sp>
      <p:grpSp>
        <p:nvGrpSpPr>
          <p:cNvPr id="33" name="グループ化 32">
            <a:extLst>
              <a:ext uri="{FF2B5EF4-FFF2-40B4-BE49-F238E27FC236}">
                <a16:creationId xmlns:a16="http://schemas.microsoft.com/office/drawing/2014/main" id="{2624A870-36D4-5784-7F71-1C44225AF8AC}"/>
              </a:ext>
            </a:extLst>
          </p:cNvPr>
          <p:cNvGrpSpPr/>
          <p:nvPr/>
        </p:nvGrpSpPr>
        <p:grpSpPr>
          <a:xfrm flipH="1">
            <a:off x="891184" y="2407470"/>
            <a:ext cx="1288844" cy="1288844"/>
            <a:chOff x="15914915" y="2407469"/>
            <a:chExt cx="1481901" cy="1481901"/>
          </a:xfrm>
        </p:grpSpPr>
        <p:sp>
          <p:nvSpPr>
            <p:cNvPr id="34" name="楕円 33">
              <a:extLst>
                <a:ext uri="{FF2B5EF4-FFF2-40B4-BE49-F238E27FC236}">
                  <a16:creationId xmlns:a16="http://schemas.microsoft.com/office/drawing/2014/main" id="{86933FD8-6F0E-6889-1183-39803CB89EA1}"/>
                </a:ext>
              </a:extLst>
            </p:cNvPr>
            <p:cNvSpPr/>
            <p:nvPr/>
          </p:nvSpPr>
          <p:spPr>
            <a:xfrm>
              <a:off x="15914915" y="2407469"/>
              <a:ext cx="1481901" cy="1481901"/>
            </a:xfrm>
            <a:prstGeom prst="ellipse">
              <a:avLst/>
            </a:prstGeom>
            <a:solidFill>
              <a:schemeClr val="bg1"/>
            </a:solid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楕円 34">
              <a:extLst>
                <a:ext uri="{FF2B5EF4-FFF2-40B4-BE49-F238E27FC236}">
                  <a16:creationId xmlns:a16="http://schemas.microsoft.com/office/drawing/2014/main" id="{4074B73E-F4EF-FDF7-58E3-CAE30C278281}"/>
                </a:ext>
              </a:extLst>
            </p:cNvPr>
            <p:cNvSpPr/>
            <p:nvPr/>
          </p:nvSpPr>
          <p:spPr>
            <a:xfrm flipH="1">
              <a:off x="15914915" y="2407469"/>
              <a:ext cx="1481901" cy="1481901"/>
            </a:xfrm>
            <a:prstGeom prst="ellipse">
              <a:avLst/>
            </a:prstGeom>
            <a:blipFill>
              <a:blip r:embed="rId3">
                <a:extLst>
                  <a:ext uri="{96DAC541-7B7A-43D3-8B79-37D633B846F1}">
                    <asvg:svgBlip xmlns:asvg="http://schemas.microsoft.com/office/drawing/2016/SVG/main" r:embed="rId4"/>
                  </a:ext>
                </a:extLst>
              </a:blip>
              <a:srcRect/>
              <a:stretch>
                <a:fillRect l="6654" t="11270" r="6654" b="-2595"/>
              </a:stretch>
            </a:blip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9" name="スライド番号プレースホルダー 8">
            <a:extLst>
              <a:ext uri="{FF2B5EF4-FFF2-40B4-BE49-F238E27FC236}">
                <a16:creationId xmlns:a16="http://schemas.microsoft.com/office/drawing/2014/main" id="{7E978DAD-4A52-860F-0ACA-E0F91E3D0C8B}"/>
              </a:ext>
            </a:extLst>
          </p:cNvPr>
          <p:cNvSpPr>
            <a:spLocks noGrp="1"/>
          </p:cNvSpPr>
          <p:nvPr>
            <p:ph type="sldNum" sz="quarter" idx="11"/>
          </p:nvPr>
        </p:nvSpPr>
        <p:spPr>
          <a:xfrm>
            <a:off x="17695001" y="9786651"/>
            <a:ext cx="327013" cy="307777"/>
          </a:xfrm>
        </p:spPr>
        <p:txBody>
          <a:bodyPr/>
          <a:lstStyle/>
          <a:p>
            <a:r>
              <a:rPr lang="en-US" altLang="ja-JP"/>
              <a:t>16</a:t>
            </a:r>
            <a:endParaRPr lang="ja-JP" altLang="en-US" dirty="0"/>
          </a:p>
        </p:txBody>
      </p:sp>
      <p:grpSp>
        <p:nvGrpSpPr>
          <p:cNvPr id="14" name="グループ化 13">
            <a:extLst>
              <a:ext uri="{FF2B5EF4-FFF2-40B4-BE49-F238E27FC236}">
                <a16:creationId xmlns:a16="http://schemas.microsoft.com/office/drawing/2014/main" id="{04D8FAE6-C1B2-7E97-3444-504BB3459AE5}"/>
              </a:ext>
            </a:extLst>
          </p:cNvPr>
          <p:cNvGrpSpPr/>
          <p:nvPr/>
        </p:nvGrpSpPr>
        <p:grpSpPr>
          <a:xfrm>
            <a:off x="891185" y="6276962"/>
            <a:ext cx="1292464" cy="1742275"/>
            <a:chOff x="891185" y="5979004"/>
            <a:chExt cx="1292464" cy="1742275"/>
          </a:xfrm>
        </p:grpSpPr>
        <p:sp>
          <p:nvSpPr>
            <p:cNvPr id="15" name="テキスト ボックス 14">
              <a:extLst>
                <a:ext uri="{FF2B5EF4-FFF2-40B4-BE49-F238E27FC236}">
                  <a16:creationId xmlns:a16="http://schemas.microsoft.com/office/drawing/2014/main" id="{1F1DB3CF-4C13-AE0A-191D-E38A79EE467E}"/>
                </a:ext>
              </a:extLst>
            </p:cNvPr>
            <p:cNvSpPr txBox="1"/>
            <p:nvPr/>
          </p:nvSpPr>
          <p:spPr>
            <a:xfrm flipH="1">
              <a:off x="1362033" y="7346526"/>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6" name="図 15">
              <a:extLst>
                <a:ext uri="{FF2B5EF4-FFF2-40B4-BE49-F238E27FC236}">
                  <a16:creationId xmlns:a16="http://schemas.microsoft.com/office/drawing/2014/main" id="{0E1DB93E-759A-E644-95B5-5A957DE10C4B}"/>
                </a:ext>
              </a:extLst>
            </p:cNvPr>
            <p:cNvPicPr>
              <a:picLocks noChangeAspect="1"/>
            </p:cNvPicPr>
            <p:nvPr/>
          </p:nvPicPr>
          <p:blipFill>
            <a:blip r:embed="rId5"/>
            <a:stretch>
              <a:fillRect/>
            </a:stretch>
          </p:blipFill>
          <p:spPr>
            <a:xfrm>
              <a:off x="891185" y="5979004"/>
              <a:ext cx="1292464" cy="1292464"/>
            </a:xfrm>
            <a:prstGeom prst="rect">
              <a:avLst/>
            </a:prstGeom>
          </p:spPr>
        </p:pic>
      </p:grpSp>
      <p:sp>
        <p:nvSpPr>
          <p:cNvPr id="2" name="テキスト ボックス 1">
            <a:extLst>
              <a:ext uri="{FF2B5EF4-FFF2-40B4-BE49-F238E27FC236}">
                <a16:creationId xmlns:a16="http://schemas.microsoft.com/office/drawing/2014/main" id="{CD820743-2E82-A987-4828-6229EE4FD4DB}"/>
              </a:ext>
            </a:extLst>
          </p:cNvPr>
          <p:cNvSpPr txBox="1"/>
          <p:nvPr/>
        </p:nvSpPr>
        <p:spPr>
          <a:xfrm>
            <a:off x="372103" y="9832817"/>
            <a:ext cx="3645229"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p>
        </p:txBody>
      </p:sp>
    </p:spTree>
    <p:extLst>
      <p:ext uri="{BB962C8B-B14F-4D97-AF65-F5344CB8AC3E}">
        <p14:creationId xmlns:p14="http://schemas.microsoft.com/office/powerpoint/2010/main" val="2442058172"/>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DB3221A9-27F9-55B3-D85A-B0F713181183}"/>
              </a:ext>
            </a:extLst>
          </p:cNvPr>
          <p:cNvSpPr txBox="1"/>
          <p:nvPr/>
        </p:nvSpPr>
        <p:spPr>
          <a:xfrm>
            <a:off x="3253035" y="971458"/>
            <a:ext cx="4592604"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４</a:t>
            </a:r>
            <a:r>
              <a:rPr kumimoji="1" lang="en-US" altLang="ja-JP" sz="3600" spc="100" dirty="0">
                <a:latin typeface="+mj-ea"/>
                <a:ea typeface="+mj-ea"/>
              </a:rPr>
              <a:t>. </a:t>
            </a:r>
            <a:r>
              <a:rPr kumimoji="1" lang="ja-JP" altLang="en-US" sz="3600" spc="100" dirty="0">
                <a:latin typeface="+mj-ea"/>
                <a:ea typeface="+mj-ea"/>
              </a:rPr>
              <a:t>議論のパートナー</a:t>
            </a:r>
            <a:endParaRPr kumimoji="1" lang="en-US" altLang="ja-JP" sz="3600" spc="100" dirty="0">
              <a:latin typeface="+mj-ea"/>
              <a:ea typeface="+mj-ea"/>
            </a:endParaRPr>
          </a:p>
        </p:txBody>
      </p:sp>
      <p:cxnSp>
        <p:nvCxnSpPr>
          <p:cNvPr id="8" name="直線コネクタ 7">
            <a:extLst>
              <a:ext uri="{FF2B5EF4-FFF2-40B4-BE49-F238E27FC236}">
                <a16:creationId xmlns:a16="http://schemas.microsoft.com/office/drawing/2014/main" id="{3F881F1B-055A-807D-D274-C4BFA345DDE2}"/>
              </a:ext>
            </a:extLst>
          </p:cNvPr>
          <p:cNvCxnSpPr>
            <a:cxnSpLocks/>
          </p:cNvCxnSpPr>
          <p:nvPr/>
        </p:nvCxnSpPr>
        <p:spPr>
          <a:xfrm>
            <a:off x="8861436" y="799514"/>
            <a:ext cx="0" cy="897886"/>
          </a:xfrm>
          <a:prstGeom prst="line">
            <a:avLst/>
          </a:prstGeom>
          <a:ln w="38100" cap="rnd">
            <a:solidFill>
              <a:schemeClr val="tx1"/>
            </a:solidFill>
            <a:round/>
          </a:ln>
        </p:spPr>
        <p:style>
          <a:lnRef idx="1">
            <a:schemeClr val="accent1"/>
          </a:lnRef>
          <a:fillRef idx="0">
            <a:schemeClr val="accent1"/>
          </a:fillRef>
          <a:effectRef idx="0">
            <a:schemeClr val="accent1"/>
          </a:effectRef>
          <a:fontRef idx="minor">
            <a:schemeClr val="tx1"/>
          </a:fontRef>
        </p:style>
      </p:cxnSp>
      <p:grpSp>
        <p:nvGrpSpPr>
          <p:cNvPr id="9" name="グループ化 8">
            <a:extLst>
              <a:ext uri="{FF2B5EF4-FFF2-40B4-BE49-F238E27FC236}">
                <a16:creationId xmlns:a16="http://schemas.microsoft.com/office/drawing/2014/main" id="{2F6C93A4-A240-B9F7-2C5E-FBF266ED693A}"/>
              </a:ext>
            </a:extLst>
          </p:cNvPr>
          <p:cNvGrpSpPr/>
          <p:nvPr/>
        </p:nvGrpSpPr>
        <p:grpSpPr>
          <a:xfrm>
            <a:off x="9297575" y="902207"/>
            <a:ext cx="7683552" cy="692497"/>
            <a:chOff x="10778318" y="902207"/>
            <a:chExt cx="7683552" cy="692497"/>
          </a:xfrm>
        </p:grpSpPr>
        <p:sp>
          <p:nvSpPr>
            <p:cNvPr id="10" name="テキスト ボックス 9">
              <a:extLst>
                <a:ext uri="{FF2B5EF4-FFF2-40B4-BE49-F238E27FC236}">
                  <a16:creationId xmlns:a16="http://schemas.microsoft.com/office/drawing/2014/main" id="{2A7915BD-AE92-CA00-2E2C-76A3616603B7}"/>
                </a:ext>
              </a:extLst>
            </p:cNvPr>
            <p:cNvSpPr txBox="1"/>
            <p:nvPr/>
          </p:nvSpPr>
          <p:spPr>
            <a:xfrm>
              <a:off x="13053979" y="902207"/>
              <a:ext cx="5407891" cy="692497"/>
            </a:xfrm>
            <a:prstGeom prst="rect">
              <a:avLst/>
            </a:prstGeom>
            <a:noFill/>
          </p:spPr>
          <p:txBody>
            <a:bodyPr wrap="none" lIns="0" tIns="0" rIns="0" bIns="0" rtlCol="0" anchor="ctr">
              <a:spAutoFit/>
            </a:bodyPr>
            <a:lstStyle/>
            <a:p>
              <a:pPr marL="288000" indent="-288000">
                <a:spcAft>
                  <a:spcPts val="600"/>
                </a:spcAft>
                <a:buClr>
                  <a:schemeClr val="accent2"/>
                </a:buClr>
                <a:buFont typeface="Wingdings" panose="05000000000000000000" pitchFamily="2" charset="2"/>
                <a:buChar char="ü"/>
              </a:pPr>
              <a:r>
                <a:rPr lang="ja-JP" altLang="en-US" sz="2000" spc="100" dirty="0">
                  <a:latin typeface="+mn-ea"/>
                </a:rPr>
                <a:t>趣味の上達方法の検討</a:t>
              </a:r>
            </a:p>
            <a:p>
              <a:pPr marL="288000" indent="-288000">
                <a:spcAft>
                  <a:spcPts val="600"/>
                </a:spcAft>
                <a:buClr>
                  <a:schemeClr val="accent2"/>
                </a:buClr>
                <a:buFont typeface="Wingdings" panose="05000000000000000000" pitchFamily="2" charset="2"/>
                <a:buChar char="ü"/>
              </a:pPr>
              <a:r>
                <a:rPr lang="ja-JP" altLang="en-US" sz="2000" spc="100" dirty="0">
                  <a:latin typeface="+mn-ea"/>
                </a:rPr>
                <a:t>広報戦略の多角的な視点からの分析　</a:t>
              </a:r>
              <a:r>
                <a:rPr lang="ja-JP" altLang="en-US" sz="1600" spc="100" dirty="0">
                  <a:latin typeface="+mn-ea"/>
                </a:rPr>
                <a:t>など</a:t>
              </a:r>
              <a:endParaRPr lang="ja-JP" altLang="en-US" sz="2000" spc="100" dirty="0">
                <a:latin typeface="+mn-ea"/>
              </a:endParaRPr>
            </a:p>
          </p:txBody>
        </p:sp>
        <p:sp>
          <p:nvSpPr>
            <p:cNvPr id="11" name="テキスト ボックス 10">
              <a:extLst>
                <a:ext uri="{FF2B5EF4-FFF2-40B4-BE49-F238E27FC236}">
                  <a16:creationId xmlns:a16="http://schemas.microsoft.com/office/drawing/2014/main" id="{639F074D-0685-244D-6D46-75E969657F40}"/>
                </a:ext>
              </a:extLst>
            </p:cNvPr>
            <p:cNvSpPr txBox="1"/>
            <p:nvPr/>
          </p:nvSpPr>
          <p:spPr>
            <a:xfrm>
              <a:off x="10778318" y="1063790"/>
              <a:ext cx="1923604" cy="369332"/>
            </a:xfrm>
            <a:prstGeom prst="rect">
              <a:avLst/>
            </a:prstGeom>
            <a:noFill/>
          </p:spPr>
          <p:txBody>
            <a:bodyPr wrap="none" lIns="0" tIns="0" rIns="0" bIns="0" rtlCol="0" anchor="ctr">
              <a:spAutoFit/>
            </a:bodyPr>
            <a:lstStyle/>
            <a:p>
              <a:pPr algn="r">
                <a:spcAft>
                  <a:spcPts val="1000"/>
                </a:spcAft>
                <a:buClr>
                  <a:schemeClr val="accent2"/>
                </a:buClr>
              </a:pPr>
              <a:r>
                <a:rPr kumimoji="1" lang="ja-JP" altLang="en-US" sz="2400" spc="100" dirty="0">
                  <a:latin typeface="+mj-ea"/>
                  <a:ea typeface="+mj-ea"/>
                </a:rPr>
                <a:t>活用場面の例</a:t>
              </a:r>
              <a:endParaRPr kumimoji="1" lang="en-US" altLang="ja-JP" sz="2400" spc="100" dirty="0">
                <a:latin typeface="+mj-ea"/>
                <a:ea typeface="+mj-ea"/>
              </a:endParaRPr>
            </a:p>
          </p:txBody>
        </p:sp>
      </p:grpSp>
      <p:grpSp>
        <p:nvGrpSpPr>
          <p:cNvPr id="44" name="グループ化 43">
            <a:extLst>
              <a:ext uri="{FF2B5EF4-FFF2-40B4-BE49-F238E27FC236}">
                <a16:creationId xmlns:a16="http://schemas.microsoft.com/office/drawing/2014/main" id="{2437DD06-5576-DCA2-E050-D63A639E6871}"/>
              </a:ext>
            </a:extLst>
          </p:cNvPr>
          <p:cNvGrpSpPr/>
          <p:nvPr/>
        </p:nvGrpSpPr>
        <p:grpSpPr>
          <a:xfrm>
            <a:off x="2162906" y="2249960"/>
            <a:ext cx="11580801" cy="789548"/>
            <a:chOff x="2162906" y="2249960"/>
            <a:chExt cx="11580801" cy="789548"/>
          </a:xfrm>
        </p:grpSpPr>
        <p:sp>
          <p:nvSpPr>
            <p:cNvPr id="6" name="フリーフォーム: 図形 5">
              <a:extLst>
                <a:ext uri="{FF2B5EF4-FFF2-40B4-BE49-F238E27FC236}">
                  <a16:creationId xmlns:a16="http://schemas.microsoft.com/office/drawing/2014/main" id="{502B3358-0D9E-3461-BC54-D40408F5FA59}"/>
                </a:ext>
              </a:extLst>
            </p:cNvPr>
            <p:cNvSpPr/>
            <p:nvPr/>
          </p:nvSpPr>
          <p:spPr>
            <a:xfrm rot="18743112" flipV="1">
              <a:off x="2154478"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7" name="四角形: 角を丸くする 6">
              <a:extLst>
                <a:ext uri="{FF2B5EF4-FFF2-40B4-BE49-F238E27FC236}">
                  <a16:creationId xmlns:a16="http://schemas.microsoft.com/office/drawing/2014/main" id="{86E74158-6C84-BB31-DE2F-B36D4C686DF4}"/>
                </a:ext>
              </a:extLst>
            </p:cNvPr>
            <p:cNvSpPr/>
            <p:nvPr/>
          </p:nvSpPr>
          <p:spPr>
            <a:xfrm>
              <a:off x="2382415" y="2249960"/>
              <a:ext cx="11361292" cy="789548"/>
            </a:xfrm>
            <a:prstGeom prst="roundRect">
              <a:avLst>
                <a:gd name="adj" fmla="val 12873"/>
              </a:avLst>
            </a:prstGeom>
            <a:solidFill>
              <a:schemeClr val="bg1"/>
            </a:solidFill>
            <a:ln w="20168" cap="flat">
              <a:noFill/>
              <a:prstDash val="solid"/>
              <a:miter/>
            </a:ln>
          </p:spPr>
          <p:txBody>
            <a:bodyPr wrap="square" lIns="252000" tIns="180000" rIns="216000" bIns="180000" rtlCol="0" anchor="t">
              <a:spAutoFit/>
            </a:bodyPr>
            <a:lstStyle/>
            <a:p>
              <a:pPr>
                <a:spcAft>
                  <a:spcPts val="1100"/>
                </a:spcAft>
              </a:pPr>
              <a:r>
                <a:rPr lang="ja-JP" altLang="en-US" sz="2400" dirty="0">
                  <a:latin typeface="+mj-ea"/>
                  <a:ea typeface="+mj-ea"/>
                </a:rPr>
                <a:t>自分が所属している高校のサッカー部の新入部員を増やす案を考えてください</a:t>
              </a:r>
            </a:p>
          </p:txBody>
        </p:sp>
      </p:grpSp>
      <p:grpSp>
        <p:nvGrpSpPr>
          <p:cNvPr id="45" name="グループ化 44">
            <a:extLst>
              <a:ext uri="{FF2B5EF4-FFF2-40B4-BE49-F238E27FC236}">
                <a16:creationId xmlns:a16="http://schemas.microsoft.com/office/drawing/2014/main" id="{203304EE-2E08-A506-EB57-2B0AC90B41D2}"/>
              </a:ext>
            </a:extLst>
          </p:cNvPr>
          <p:cNvGrpSpPr/>
          <p:nvPr/>
        </p:nvGrpSpPr>
        <p:grpSpPr>
          <a:xfrm>
            <a:off x="2379716" y="3113272"/>
            <a:ext cx="13506524" cy="2778297"/>
            <a:chOff x="2379716" y="3113272"/>
            <a:chExt cx="13506524" cy="2778297"/>
          </a:xfrm>
        </p:grpSpPr>
        <p:sp>
          <p:nvSpPr>
            <p:cNvPr id="21" name="フリーフォーム: 図形 20">
              <a:extLst>
                <a:ext uri="{FF2B5EF4-FFF2-40B4-BE49-F238E27FC236}">
                  <a16:creationId xmlns:a16="http://schemas.microsoft.com/office/drawing/2014/main" id="{7F18C031-A8CE-01A7-13B2-E010724E095F}"/>
                </a:ext>
              </a:extLst>
            </p:cNvPr>
            <p:cNvSpPr/>
            <p:nvPr/>
          </p:nvSpPr>
          <p:spPr>
            <a:xfrm rot="2856888" flipH="1" flipV="1">
              <a:off x="15329924" y="3841281"/>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2" name="四角形: 角を丸くする 21">
              <a:extLst>
                <a:ext uri="{FF2B5EF4-FFF2-40B4-BE49-F238E27FC236}">
                  <a16:creationId xmlns:a16="http://schemas.microsoft.com/office/drawing/2014/main" id="{1BE8F5D6-37D5-66DB-AC91-099E887199AC}"/>
                </a:ext>
              </a:extLst>
            </p:cNvPr>
            <p:cNvSpPr/>
            <p:nvPr/>
          </p:nvSpPr>
          <p:spPr>
            <a:xfrm flipH="1">
              <a:off x="2379716" y="3113272"/>
              <a:ext cx="13289711" cy="2778297"/>
            </a:xfrm>
            <a:prstGeom prst="roundRect">
              <a:avLst>
                <a:gd name="adj" fmla="val 3381"/>
              </a:avLst>
            </a:prstGeom>
            <a:solidFill>
              <a:schemeClr val="accent5">
                <a:lumMod val="40000"/>
                <a:lumOff val="60000"/>
              </a:schemeClr>
            </a:solidFill>
            <a:ln w="38100" cap="flat">
              <a:noFill/>
              <a:prstDash val="solid"/>
              <a:miter/>
            </a:ln>
          </p:spPr>
          <p:txBody>
            <a:bodyPr wrap="square" lIns="288000" tIns="180000" rIns="216000" bIns="144000" rtlCol="0" anchor="t">
              <a:spAutoFit/>
            </a:bodyPr>
            <a:lstStyle/>
            <a:p>
              <a:pPr>
                <a:lnSpc>
                  <a:spcPct val="110000"/>
                </a:lnSpc>
                <a:spcAft>
                  <a:spcPts val="600"/>
                </a:spcAft>
                <a:buClr>
                  <a:schemeClr val="accent2"/>
                </a:buClr>
              </a:pPr>
              <a:r>
                <a:rPr lang="ja-JP" altLang="en-US" sz="1600" dirty="0">
                  <a:latin typeface="+mn-ea"/>
                </a:rPr>
                <a:t>高校のサッカー部の新入部員を増やすためには、次のようなアプローチを試みることが効果的です</a:t>
              </a:r>
            </a:p>
            <a:p>
              <a:pPr marL="288000" indent="-288000">
                <a:lnSpc>
                  <a:spcPct val="110000"/>
                </a:lnSpc>
                <a:spcAft>
                  <a:spcPts val="600"/>
                </a:spcAft>
                <a:buClr>
                  <a:schemeClr val="accent2"/>
                </a:buClr>
                <a:buFont typeface="Wingdings" panose="05000000000000000000" pitchFamily="2" charset="2"/>
                <a:buChar char="l"/>
              </a:pPr>
              <a:r>
                <a:rPr lang="ja-JP" altLang="en-US" sz="1600" dirty="0">
                  <a:latin typeface="+mn-ea"/>
                </a:rPr>
                <a:t>体験会の開催：興味がある生徒がサッカー部の活動を体験できるイベントを企画します。実際にボールを蹴ったり、部活の雰囲気を感じることができれば、入部を希望する生徒が増える可能性があります。</a:t>
              </a:r>
            </a:p>
            <a:p>
              <a:pPr marL="288000" indent="-288000">
                <a:lnSpc>
                  <a:spcPct val="110000"/>
                </a:lnSpc>
                <a:spcAft>
                  <a:spcPts val="600"/>
                </a:spcAft>
                <a:buClr>
                  <a:schemeClr val="accent2"/>
                </a:buClr>
                <a:buFont typeface="Wingdings" panose="05000000000000000000" pitchFamily="2" charset="2"/>
                <a:buChar char="l"/>
              </a:pPr>
              <a:r>
                <a:rPr lang="ja-JP" altLang="en-US" sz="1600" dirty="0">
                  <a:latin typeface="+mn-ea"/>
                </a:rPr>
                <a:t>学校内でのプロモーション活動の強化：掲示板や学校の</a:t>
              </a:r>
              <a:r>
                <a:rPr lang="en-US" altLang="ja-JP" sz="1600" dirty="0">
                  <a:latin typeface="+mn-ea"/>
                </a:rPr>
                <a:t>SNS</a:t>
              </a:r>
              <a:r>
                <a:rPr lang="ja-JP" altLang="en-US" sz="1600" dirty="0">
                  <a:latin typeface="+mn-ea"/>
                </a:rPr>
                <a:t>、放送などを利用して、サッカー部の活動内容や成果を積極的に紹介します。特に、大会での勝利や楽しいトレーニング風景など、ポジティブなニュースを共有することが重要です。</a:t>
              </a:r>
            </a:p>
            <a:p>
              <a:pPr marL="288000" indent="-288000">
                <a:lnSpc>
                  <a:spcPct val="110000"/>
                </a:lnSpc>
                <a:spcAft>
                  <a:spcPts val="600"/>
                </a:spcAft>
                <a:buClr>
                  <a:schemeClr val="accent2"/>
                </a:buClr>
                <a:buFont typeface="Wingdings" panose="05000000000000000000" pitchFamily="2" charset="2"/>
                <a:buChar char="l"/>
              </a:pPr>
              <a:r>
                <a:rPr lang="ja-JP" altLang="en-US" sz="1600" dirty="0">
                  <a:latin typeface="+mn-ea"/>
                </a:rPr>
                <a:t>先輩部員による直接リクルーティング：部活に興味を持っている生徒や、サッカーが得意な生徒に対して、先輩部員が直接話をすることも有効です。友人からの誘いは、新たな部員を獲得する上で非常に強力なツールとなります。</a:t>
              </a:r>
              <a:endParaRPr lang="en-US" altLang="ja-JP" sz="1600" dirty="0">
                <a:latin typeface="+mn-ea"/>
              </a:endParaRPr>
            </a:p>
            <a:p>
              <a:pPr>
                <a:lnSpc>
                  <a:spcPct val="110000"/>
                </a:lnSpc>
                <a:spcAft>
                  <a:spcPts val="600"/>
                </a:spcAft>
                <a:buClr>
                  <a:schemeClr val="accent2"/>
                </a:buClr>
              </a:pPr>
              <a:r>
                <a:rPr lang="en-US" altLang="ja-JP" sz="1200" dirty="0">
                  <a:latin typeface="+mn-ea"/>
                </a:rPr>
                <a:t>---</a:t>
              </a:r>
              <a:r>
                <a:rPr lang="ja-JP" altLang="en-US" sz="1200" dirty="0">
                  <a:latin typeface="+mn-ea"/>
                </a:rPr>
                <a:t>以下略</a:t>
              </a:r>
              <a:r>
                <a:rPr lang="en-US" altLang="ja-JP" sz="1200" dirty="0">
                  <a:latin typeface="+mn-ea"/>
                </a:rPr>
                <a:t>---</a:t>
              </a:r>
            </a:p>
          </p:txBody>
        </p:sp>
      </p:grpSp>
      <p:grpSp>
        <p:nvGrpSpPr>
          <p:cNvPr id="46" name="グループ化 45">
            <a:extLst>
              <a:ext uri="{FF2B5EF4-FFF2-40B4-BE49-F238E27FC236}">
                <a16:creationId xmlns:a16="http://schemas.microsoft.com/office/drawing/2014/main" id="{F99BF3D7-95D1-BBEA-4B6E-FEDCDE5BAB3F}"/>
              </a:ext>
            </a:extLst>
          </p:cNvPr>
          <p:cNvGrpSpPr/>
          <p:nvPr/>
        </p:nvGrpSpPr>
        <p:grpSpPr>
          <a:xfrm>
            <a:off x="2162903" y="6029299"/>
            <a:ext cx="10343133" cy="789548"/>
            <a:chOff x="2162903" y="6121659"/>
            <a:chExt cx="10343133" cy="789548"/>
          </a:xfrm>
        </p:grpSpPr>
        <p:sp>
          <p:nvSpPr>
            <p:cNvPr id="25" name="フリーフォーム: 図形 24">
              <a:extLst>
                <a:ext uri="{FF2B5EF4-FFF2-40B4-BE49-F238E27FC236}">
                  <a16:creationId xmlns:a16="http://schemas.microsoft.com/office/drawing/2014/main" id="{10D3AA36-D121-525A-BB78-88E2DF497005}"/>
                </a:ext>
              </a:extLst>
            </p:cNvPr>
            <p:cNvSpPr/>
            <p:nvPr/>
          </p:nvSpPr>
          <p:spPr>
            <a:xfrm rot="18743112" flipV="1">
              <a:off x="2154475" y="624095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26" name="四角形: 角を丸くする 25">
              <a:extLst>
                <a:ext uri="{FF2B5EF4-FFF2-40B4-BE49-F238E27FC236}">
                  <a16:creationId xmlns:a16="http://schemas.microsoft.com/office/drawing/2014/main" id="{10CC4B10-DACA-63E4-B2B6-0F6AB5C643F8}"/>
                </a:ext>
              </a:extLst>
            </p:cNvPr>
            <p:cNvSpPr/>
            <p:nvPr/>
          </p:nvSpPr>
          <p:spPr>
            <a:xfrm>
              <a:off x="2382412" y="6121659"/>
              <a:ext cx="10123624" cy="789548"/>
            </a:xfrm>
            <a:prstGeom prst="roundRect">
              <a:avLst>
                <a:gd name="adj" fmla="val 12873"/>
              </a:avLst>
            </a:prstGeom>
            <a:solidFill>
              <a:schemeClr val="bg1"/>
            </a:solidFill>
            <a:ln w="20168" cap="flat">
              <a:noFill/>
              <a:prstDash val="solid"/>
              <a:miter/>
            </a:ln>
          </p:spPr>
          <p:txBody>
            <a:bodyPr wrap="square" lIns="252000" tIns="180000" rIns="216000" bIns="180000" rtlCol="0" anchor="t">
              <a:spAutoFit/>
            </a:bodyPr>
            <a:lstStyle/>
            <a:p>
              <a:pPr>
                <a:spcAft>
                  <a:spcPts val="1100"/>
                </a:spcAft>
              </a:pPr>
              <a:r>
                <a:rPr lang="ja-JP" altLang="en-US" sz="2400" dirty="0">
                  <a:latin typeface="+mj-ea"/>
                  <a:ea typeface="+mj-ea"/>
                </a:rPr>
                <a:t>体験会で初心者にも楽しんでもらうにはどんな方法がいいでしょうか</a:t>
              </a:r>
            </a:p>
          </p:txBody>
        </p:sp>
      </p:grpSp>
      <p:grpSp>
        <p:nvGrpSpPr>
          <p:cNvPr id="47" name="グループ化 46">
            <a:extLst>
              <a:ext uri="{FF2B5EF4-FFF2-40B4-BE49-F238E27FC236}">
                <a16:creationId xmlns:a16="http://schemas.microsoft.com/office/drawing/2014/main" id="{674C5A20-F7E6-F990-0E65-793F057A5417}"/>
              </a:ext>
            </a:extLst>
          </p:cNvPr>
          <p:cNvGrpSpPr/>
          <p:nvPr/>
        </p:nvGrpSpPr>
        <p:grpSpPr>
          <a:xfrm>
            <a:off x="2379716" y="6892611"/>
            <a:ext cx="13506523" cy="2778297"/>
            <a:chOff x="2379716" y="6984971"/>
            <a:chExt cx="13506523" cy="2778297"/>
          </a:xfrm>
        </p:grpSpPr>
        <p:sp>
          <p:nvSpPr>
            <p:cNvPr id="36" name="フリーフォーム: 図形 35">
              <a:extLst>
                <a:ext uri="{FF2B5EF4-FFF2-40B4-BE49-F238E27FC236}">
                  <a16:creationId xmlns:a16="http://schemas.microsoft.com/office/drawing/2014/main" id="{3CEF2A5A-9D28-1076-B9AD-FE00379C0354}"/>
                </a:ext>
              </a:extLst>
            </p:cNvPr>
            <p:cNvSpPr/>
            <p:nvPr/>
          </p:nvSpPr>
          <p:spPr>
            <a:xfrm rot="2856888" flipH="1" flipV="1">
              <a:off x="15329923" y="771298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144000" rtlCol="0" anchor="t">
              <a:noAutofit/>
            </a:bodyPr>
            <a:lstStyle/>
            <a:p>
              <a:pPr algn="ctr"/>
              <a:endParaRPr lang="ja-JP" altLang="en-US" sz="2400" dirty="0">
                <a:latin typeface="+mn-ea"/>
              </a:endParaRPr>
            </a:p>
          </p:txBody>
        </p:sp>
        <p:sp>
          <p:nvSpPr>
            <p:cNvPr id="37" name="四角形: 角を丸くする 36">
              <a:extLst>
                <a:ext uri="{FF2B5EF4-FFF2-40B4-BE49-F238E27FC236}">
                  <a16:creationId xmlns:a16="http://schemas.microsoft.com/office/drawing/2014/main" id="{CCB524A3-EC56-DFAE-96C8-71324322DF08}"/>
                </a:ext>
              </a:extLst>
            </p:cNvPr>
            <p:cNvSpPr/>
            <p:nvPr/>
          </p:nvSpPr>
          <p:spPr>
            <a:xfrm flipH="1">
              <a:off x="2379716" y="6984971"/>
              <a:ext cx="13289711" cy="2778297"/>
            </a:xfrm>
            <a:prstGeom prst="roundRect">
              <a:avLst>
                <a:gd name="adj" fmla="val 3744"/>
              </a:avLst>
            </a:prstGeom>
            <a:solidFill>
              <a:schemeClr val="accent5">
                <a:lumMod val="40000"/>
                <a:lumOff val="60000"/>
              </a:schemeClr>
            </a:solidFill>
            <a:ln w="38100" cap="flat">
              <a:noFill/>
              <a:prstDash val="solid"/>
              <a:miter/>
            </a:ln>
          </p:spPr>
          <p:txBody>
            <a:bodyPr wrap="square" lIns="288000" tIns="180000" rIns="216000" bIns="144000" rtlCol="0" anchor="t">
              <a:spAutoFit/>
            </a:bodyPr>
            <a:lstStyle/>
            <a:p>
              <a:pPr>
                <a:lnSpc>
                  <a:spcPct val="110000"/>
                </a:lnSpc>
                <a:spcAft>
                  <a:spcPts val="600"/>
                </a:spcAft>
                <a:buClr>
                  <a:schemeClr val="accent2"/>
                </a:buClr>
              </a:pPr>
              <a:r>
                <a:rPr lang="ja-JP" altLang="en-US" sz="1600" dirty="0">
                  <a:latin typeface="+mn-ea"/>
                </a:rPr>
                <a:t>体験会で初心者に楽しんでもらうためには、以下のような方法を試してみると良いでしょう</a:t>
              </a:r>
            </a:p>
            <a:p>
              <a:pPr marL="285750" indent="-285750">
                <a:lnSpc>
                  <a:spcPct val="110000"/>
                </a:lnSpc>
                <a:spcAft>
                  <a:spcPts val="600"/>
                </a:spcAft>
                <a:buClr>
                  <a:schemeClr val="accent2"/>
                </a:buClr>
                <a:buFont typeface="Wingdings" panose="05000000000000000000" pitchFamily="2" charset="2"/>
                <a:buChar char="l"/>
              </a:pPr>
              <a:r>
                <a:rPr lang="ja-JP" altLang="en-US" sz="1600" dirty="0">
                  <a:latin typeface="+mn-ea"/>
                </a:rPr>
                <a:t>基本技術の練習を楽しく：ドリブル、パス、シュートなどの基本技術を教える際に、ゲーム形式で行うことで楽しみながら技術を学べます。たとえば、音楽を流しながらドリブルをしたり、ターゲットに向かってパスをするゲームなどが考えられます。</a:t>
              </a:r>
            </a:p>
            <a:p>
              <a:pPr marL="285750" indent="-285750">
                <a:lnSpc>
                  <a:spcPct val="110000"/>
                </a:lnSpc>
                <a:spcAft>
                  <a:spcPts val="600"/>
                </a:spcAft>
                <a:buClr>
                  <a:schemeClr val="accent2"/>
                </a:buClr>
                <a:buFont typeface="Wingdings" panose="05000000000000000000" pitchFamily="2" charset="2"/>
                <a:buChar char="l"/>
              </a:pPr>
              <a:r>
                <a:rPr lang="ja-JP" altLang="en-US" sz="1600" dirty="0">
                  <a:latin typeface="+mn-ea"/>
                </a:rPr>
                <a:t>ミニゲームを取り入れる：小さなグループに分けて、ミニゲームを行います。フィールドを小さくすることで、ボールに触れる機会が増え、全員が積極的に参加できます。ルールを簡単にすることで初心者も参加しやすくなります。</a:t>
              </a:r>
            </a:p>
            <a:p>
              <a:pPr marL="285750" indent="-285750">
                <a:lnSpc>
                  <a:spcPct val="110000"/>
                </a:lnSpc>
                <a:spcAft>
                  <a:spcPts val="600"/>
                </a:spcAft>
                <a:buClr>
                  <a:schemeClr val="accent2"/>
                </a:buClr>
                <a:buFont typeface="Wingdings" panose="05000000000000000000" pitchFamily="2" charset="2"/>
                <a:buChar char="l"/>
              </a:pPr>
              <a:r>
                <a:rPr lang="ja-JP" altLang="en-US" sz="1600" dirty="0">
                  <a:latin typeface="+mn-ea"/>
                </a:rPr>
                <a:t>ポジティブなフィードバックをたくさん：初心者は自信がないことが多いので、小さな成功でも大きく褒めてあげることが重要です。ポジティブなフィードバックは、参加者のモチベーションを高め、サッカーへの興味を深めることにつながります。</a:t>
              </a:r>
            </a:p>
            <a:p>
              <a:pPr>
                <a:lnSpc>
                  <a:spcPct val="110000"/>
                </a:lnSpc>
                <a:spcAft>
                  <a:spcPts val="600"/>
                </a:spcAft>
                <a:buClr>
                  <a:schemeClr val="accent2"/>
                </a:buClr>
              </a:pPr>
              <a:r>
                <a:rPr lang="en-US" altLang="ja-JP" sz="1200" dirty="0">
                  <a:latin typeface="+mn-ea"/>
                </a:rPr>
                <a:t>---</a:t>
              </a:r>
              <a:r>
                <a:rPr lang="ja-JP" altLang="en-US" sz="1200" dirty="0">
                  <a:latin typeface="+mn-ea"/>
                </a:rPr>
                <a:t>以下略</a:t>
              </a:r>
              <a:r>
                <a:rPr lang="en-US" altLang="ja-JP" sz="1200" dirty="0">
                  <a:latin typeface="+mn-ea"/>
                </a:rPr>
                <a:t>---</a:t>
              </a:r>
            </a:p>
          </p:txBody>
        </p:sp>
      </p:grpSp>
      <p:sp>
        <p:nvSpPr>
          <p:cNvPr id="38" name="フリーフォーム: 図形 37">
            <a:extLst>
              <a:ext uri="{FF2B5EF4-FFF2-40B4-BE49-F238E27FC236}">
                <a16:creationId xmlns:a16="http://schemas.microsoft.com/office/drawing/2014/main" id="{CED26F60-2DF6-98BF-98A9-1FA362D50281}"/>
              </a:ext>
            </a:extLst>
          </p:cNvPr>
          <p:cNvSpPr/>
          <p:nvPr/>
        </p:nvSpPr>
        <p:spPr>
          <a:xfrm>
            <a:off x="12719884" y="5459995"/>
            <a:ext cx="4056993" cy="1733154"/>
          </a:xfrm>
          <a:custGeom>
            <a:avLst/>
            <a:gdLst>
              <a:gd name="connsiteX0" fmla="*/ 671157 w 1342313"/>
              <a:gd name="connsiteY0" fmla="*/ 0 h 1127512"/>
              <a:gd name="connsiteX1" fmla="*/ 35 w 1342313"/>
              <a:gd name="connsiteY1" fmla="*/ 563756 h 1127512"/>
              <a:gd name="connsiteX2" fmla="*/ 671157 w 1342313"/>
              <a:gd name="connsiteY2" fmla="*/ 1127512 h 1127512"/>
              <a:gd name="connsiteX3" fmla="*/ 1342279 w 1342313"/>
              <a:gd name="connsiteY3" fmla="*/ 563756 h 1127512"/>
              <a:gd name="connsiteX4" fmla="*/ 671157 w 1342313"/>
              <a:gd name="connsiteY4" fmla="*/ 0 h 112751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342313" h="1127512">
                <a:moveTo>
                  <a:pt x="671157" y="0"/>
                </a:moveTo>
                <a:cubicBezTo>
                  <a:pt x="331076" y="0"/>
                  <a:pt x="3959" y="192910"/>
                  <a:pt x="35" y="563756"/>
                </a:cubicBezTo>
                <a:cubicBezTo>
                  <a:pt x="-3937" y="938393"/>
                  <a:pt x="332210" y="1127512"/>
                  <a:pt x="671157" y="1127512"/>
                </a:cubicBezTo>
                <a:cubicBezTo>
                  <a:pt x="1010104" y="1127512"/>
                  <a:pt x="1346251" y="938384"/>
                  <a:pt x="1342279" y="563756"/>
                </a:cubicBezTo>
                <a:cubicBezTo>
                  <a:pt x="1338355" y="192910"/>
                  <a:pt x="1011237" y="0"/>
                  <a:pt x="671157" y="0"/>
                </a:cubicBezTo>
                <a:close/>
              </a:path>
            </a:pathLst>
          </a:custGeom>
          <a:gradFill flip="none" rotWithShape="1">
            <a:gsLst>
              <a:gs pos="0">
                <a:srgbClr val="00ABDF"/>
              </a:gs>
              <a:gs pos="100000">
                <a:srgbClr val="006DFB"/>
              </a:gs>
            </a:gsLst>
            <a:lin ang="5400000" scaled="1"/>
            <a:tileRect/>
          </a:gradFill>
          <a:ln w="9525" cap="flat">
            <a:noFill/>
            <a:prstDash val="solid"/>
            <a:miter/>
          </a:ln>
        </p:spPr>
        <p:txBody>
          <a:bodyPr lIns="0" tIns="36000" rIns="0" bIns="0" rtlCol="0" anchor="ctr"/>
          <a:lstStyle/>
          <a:p>
            <a:pPr algn="ctr">
              <a:lnSpc>
                <a:spcPct val="114000"/>
              </a:lnSpc>
            </a:pPr>
            <a:r>
              <a:rPr lang="ja-JP" altLang="en-US" sz="2800" dirty="0">
                <a:solidFill>
                  <a:schemeClr val="bg1"/>
                </a:solidFill>
              </a:rPr>
              <a:t>会話のラリーによる</a:t>
            </a:r>
            <a:br>
              <a:rPr lang="en-US" altLang="ja-JP" sz="2800" dirty="0">
                <a:solidFill>
                  <a:schemeClr val="bg1"/>
                </a:solidFill>
              </a:rPr>
            </a:br>
            <a:r>
              <a:rPr lang="ja-JP" altLang="en-US" sz="2800" dirty="0">
                <a:solidFill>
                  <a:schemeClr val="bg1"/>
                </a:solidFill>
              </a:rPr>
              <a:t>議論の深化</a:t>
            </a:r>
            <a:endParaRPr lang="en-US" altLang="ja-JP" sz="2800" dirty="0">
              <a:solidFill>
                <a:schemeClr val="bg1"/>
              </a:solidFill>
            </a:endParaRPr>
          </a:p>
        </p:txBody>
      </p:sp>
      <p:sp>
        <p:nvSpPr>
          <p:cNvPr id="5" name="スライド番号プレースホルダー 4">
            <a:extLst>
              <a:ext uri="{FF2B5EF4-FFF2-40B4-BE49-F238E27FC236}">
                <a16:creationId xmlns:a16="http://schemas.microsoft.com/office/drawing/2014/main" id="{61B7176A-3A82-DD8A-8604-3642CFD40B52}"/>
              </a:ext>
            </a:extLst>
          </p:cNvPr>
          <p:cNvSpPr>
            <a:spLocks noGrp="1"/>
          </p:cNvSpPr>
          <p:nvPr>
            <p:ph type="sldNum" sz="quarter" idx="11"/>
          </p:nvPr>
        </p:nvSpPr>
        <p:spPr>
          <a:xfrm>
            <a:off x="17695001" y="9786651"/>
            <a:ext cx="327013" cy="307777"/>
          </a:xfrm>
        </p:spPr>
        <p:txBody>
          <a:bodyPr/>
          <a:lstStyle/>
          <a:p>
            <a:r>
              <a:rPr lang="en-US" altLang="ja-JP"/>
              <a:t>17</a:t>
            </a:r>
            <a:endParaRPr lang="ja-JP" altLang="en-US" dirty="0"/>
          </a:p>
        </p:txBody>
      </p:sp>
      <p:grpSp>
        <p:nvGrpSpPr>
          <p:cNvPr id="15" name="グループ化 14">
            <a:extLst>
              <a:ext uri="{FF2B5EF4-FFF2-40B4-BE49-F238E27FC236}">
                <a16:creationId xmlns:a16="http://schemas.microsoft.com/office/drawing/2014/main" id="{869105FB-D934-1872-B636-5EF393CCF0A1}"/>
              </a:ext>
            </a:extLst>
          </p:cNvPr>
          <p:cNvGrpSpPr/>
          <p:nvPr/>
        </p:nvGrpSpPr>
        <p:grpSpPr>
          <a:xfrm>
            <a:off x="16004989" y="3896359"/>
            <a:ext cx="1144628" cy="1642175"/>
            <a:chOff x="16004989" y="3896359"/>
            <a:chExt cx="1144628" cy="1642175"/>
          </a:xfrm>
        </p:grpSpPr>
        <p:sp>
          <p:nvSpPr>
            <p:cNvPr id="24" name="テキスト ボックス 23">
              <a:extLst>
                <a:ext uri="{FF2B5EF4-FFF2-40B4-BE49-F238E27FC236}">
                  <a16:creationId xmlns:a16="http://schemas.microsoft.com/office/drawing/2014/main" id="{4A9AA544-667F-30C5-E08A-8883C0CCFB48}"/>
                </a:ext>
              </a:extLst>
            </p:cNvPr>
            <p:cNvSpPr txBox="1"/>
            <p:nvPr/>
          </p:nvSpPr>
          <p:spPr>
            <a:xfrm flipH="1">
              <a:off x="16377729" y="5107647"/>
              <a:ext cx="399148" cy="430887"/>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sp>
          <p:nvSpPr>
            <p:cNvPr id="27" name="楕円 26">
              <a:extLst>
                <a:ext uri="{FF2B5EF4-FFF2-40B4-BE49-F238E27FC236}">
                  <a16:creationId xmlns:a16="http://schemas.microsoft.com/office/drawing/2014/main" id="{1EFF7EAD-0126-8FE4-5BD6-F70CC274174A}"/>
                </a:ext>
              </a:extLst>
            </p:cNvPr>
            <p:cNvSpPr/>
            <p:nvPr/>
          </p:nvSpPr>
          <p:spPr>
            <a:xfrm>
              <a:off x="16004989" y="3896360"/>
              <a:ext cx="1144628" cy="1144628"/>
            </a:xfrm>
            <a:prstGeom prst="ellipse">
              <a:avLst/>
            </a:prstGeom>
            <a:blipFill>
              <a:blip r:embed="rId3">
                <a:extLst>
                  <a:ext uri="{96DAC541-7B7A-43D3-8B79-37D633B846F1}">
                    <asvg:svgBlip xmlns:asvg="http://schemas.microsoft.com/office/drawing/2016/SVG/main" r:embed="rId4"/>
                  </a:ext>
                </a:extLst>
              </a:blip>
              <a:srcRect/>
              <a:stretch>
                <a:fillRect l="13868" t="16173" r="13868" b="22375"/>
              </a:stretch>
            </a:blip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14" name="図 13">
              <a:extLst>
                <a:ext uri="{FF2B5EF4-FFF2-40B4-BE49-F238E27FC236}">
                  <a16:creationId xmlns:a16="http://schemas.microsoft.com/office/drawing/2014/main" id="{A7C28D25-59C4-2797-F5E0-ABD46FF08026}"/>
                </a:ext>
              </a:extLst>
            </p:cNvPr>
            <p:cNvPicPr>
              <a:picLocks noChangeAspect="1"/>
            </p:cNvPicPr>
            <p:nvPr/>
          </p:nvPicPr>
          <p:blipFill>
            <a:blip r:embed="rId5"/>
            <a:stretch>
              <a:fillRect/>
            </a:stretch>
          </p:blipFill>
          <p:spPr>
            <a:xfrm>
              <a:off x="16004989" y="3896359"/>
              <a:ext cx="1144628" cy="1144628"/>
            </a:xfrm>
            <a:prstGeom prst="rect">
              <a:avLst/>
            </a:prstGeom>
          </p:spPr>
        </p:pic>
      </p:grpSp>
      <p:grpSp>
        <p:nvGrpSpPr>
          <p:cNvPr id="28" name="グループ化 27">
            <a:extLst>
              <a:ext uri="{FF2B5EF4-FFF2-40B4-BE49-F238E27FC236}">
                <a16:creationId xmlns:a16="http://schemas.microsoft.com/office/drawing/2014/main" id="{ABAC1CDB-01D1-F7AF-CD29-7672CC696EB3}"/>
              </a:ext>
            </a:extLst>
          </p:cNvPr>
          <p:cNvGrpSpPr/>
          <p:nvPr/>
        </p:nvGrpSpPr>
        <p:grpSpPr>
          <a:xfrm>
            <a:off x="16016893" y="7675699"/>
            <a:ext cx="1144628" cy="1642175"/>
            <a:chOff x="16004989" y="3896359"/>
            <a:chExt cx="1144628" cy="1642175"/>
          </a:xfrm>
        </p:grpSpPr>
        <p:sp>
          <p:nvSpPr>
            <p:cNvPr id="29" name="テキスト ボックス 28">
              <a:extLst>
                <a:ext uri="{FF2B5EF4-FFF2-40B4-BE49-F238E27FC236}">
                  <a16:creationId xmlns:a16="http://schemas.microsoft.com/office/drawing/2014/main" id="{5C9583FC-28E3-A50E-8E3E-5F18F2CF8F3C}"/>
                </a:ext>
              </a:extLst>
            </p:cNvPr>
            <p:cNvSpPr txBox="1"/>
            <p:nvPr/>
          </p:nvSpPr>
          <p:spPr>
            <a:xfrm flipH="1">
              <a:off x="16377729" y="5107647"/>
              <a:ext cx="399148" cy="430887"/>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sp>
          <p:nvSpPr>
            <p:cNvPr id="30" name="楕円 29">
              <a:extLst>
                <a:ext uri="{FF2B5EF4-FFF2-40B4-BE49-F238E27FC236}">
                  <a16:creationId xmlns:a16="http://schemas.microsoft.com/office/drawing/2014/main" id="{02C5F292-8BFC-16A6-86A0-3F17E419270E}"/>
                </a:ext>
              </a:extLst>
            </p:cNvPr>
            <p:cNvSpPr/>
            <p:nvPr/>
          </p:nvSpPr>
          <p:spPr>
            <a:xfrm>
              <a:off x="16004989" y="3896360"/>
              <a:ext cx="1144628" cy="1144628"/>
            </a:xfrm>
            <a:prstGeom prst="ellipse">
              <a:avLst/>
            </a:prstGeom>
            <a:blipFill>
              <a:blip r:embed="rId3">
                <a:extLst>
                  <a:ext uri="{96DAC541-7B7A-43D3-8B79-37D633B846F1}">
                    <asvg:svgBlip xmlns:asvg="http://schemas.microsoft.com/office/drawing/2016/SVG/main" r:embed="rId4"/>
                  </a:ext>
                </a:extLst>
              </a:blip>
              <a:srcRect/>
              <a:stretch>
                <a:fillRect l="13868" t="16173" r="13868" b="22375"/>
              </a:stretch>
            </a:blip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31" name="図 30">
              <a:extLst>
                <a:ext uri="{FF2B5EF4-FFF2-40B4-BE49-F238E27FC236}">
                  <a16:creationId xmlns:a16="http://schemas.microsoft.com/office/drawing/2014/main" id="{1738922A-D543-B298-F33A-A8EE2F44E7DA}"/>
                </a:ext>
              </a:extLst>
            </p:cNvPr>
            <p:cNvPicPr>
              <a:picLocks noChangeAspect="1"/>
            </p:cNvPicPr>
            <p:nvPr/>
          </p:nvPicPr>
          <p:blipFill>
            <a:blip r:embed="rId5"/>
            <a:stretch>
              <a:fillRect/>
            </a:stretch>
          </p:blipFill>
          <p:spPr>
            <a:xfrm>
              <a:off x="16004989" y="3896359"/>
              <a:ext cx="1144628" cy="1144628"/>
            </a:xfrm>
            <a:prstGeom prst="rect">
              <a:avLst/>
            </a:prstGeom>
          </p:spPr>
        </p:pic>
      </p:grpSp>
      <p:pic>
        <p:nvPicPr>
          <p:cNvPr id="33" name="図 32">
            <a:extLst>
              <a:ext uri="{FF2B5EF4-FFF2-40B4-BE49-F238E27FC236}">
                <a16:creationId xmlns:a16="http://schemas.microsoft.com/office/drawing/2014/main" id="{C9DBEEC8-2578-707E-FAD8-4B32F09B1317}"/>
              </a:ext>
            </a:extLst>
          </p:cNvPr>
          <p:cNvPicPr>
            <a:picLocks noChangeAspect="1"/>
          </p:cNvPicPr>
          <p:nvPr/>
        </p:nvPicPr>
        <p:blipFill>
          <a:blip r:embed="rId6"/>
          <a:stretch>
            <a:fillRect/>
          </a:stretch>
        </p:blipFill>
        <p:spPr>
          <a:xfrm>
            <a:off x="891184" y="2407470"/>
            <a:ext cx="1150050" cy="1144625"/>
          </a:xfrm>
          <a:prstGeom prst="rect">
            <a:avLst/>
          </a:prstGeom>
        </p:spPr>
      </p:pic>
      <p:pic>
        <p:nvPicPr>
          <p:cNvPr id="35" name="図 34">
            <a:extLst>
              <a:ext uri="{FF2B5EF4-FFF2-40B4-BE49-F238E27FC236}">
                <a16:creationId xmlns:a16="http://schemas.microsoft.com/office/drawing/2014/main" id="{C31F0DB9-62DB-8F74-1A39-78304A3E3269}"/>
              </a:ext>
            </a:extLst>
          </p:cNvPr>
          <p:cNvPicPr>
            <a:picLocks noChangeAspect="1"/>
          </p:cNvPicPr>
          <p:nvPr/>
        </p:nvPicPr>
        <p:blipFill>
          <a:blip r:embed="rId6"/>
          <a:stretch>
            <a:fillRect/>
          </a:stretch>
        </p:blipFill>
        <p:spPr>
          <a:xfrm>
            <a:off x="891181" y="6186812"/>
            <a:ext cx="1150050" cy="1144625"/>
          </a:xfrm>
          <a:prstGeom prst="rect">
            <a:avLst/>
          </a:prstGeom>
        </p:spPr>
      </p:pic>
      <p:sp>
        <p:nvSpPr>
          <p:cNvPr id="2" name="テキスト ボックス 1">
            <a:extLst>
              <a:ext uri="{FF2B5EF4-FFF2-40B4-BE49-F238E27FC236}">
                <a16:creationId xmlns:a16="http://schemas.microsoft.com/office/drawing/2014/main" id="{111FEFA3-49C8-44C8-6FF9-2E2242D77B9B}"/>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から一部抜粋</a:t>
            </a:r>
          </a:p>
        </p:txBody>
      </p:sp>
    </p:spTree>
    <p:extLst>
      <p:ext uri="{BB962C8B-B14F-4D97-AF65-F5344CB8AC3E}">
        <p14:creationId xmlns:p14="http://schemas.microsoft.com/office/powerpoint/2010/main" val="303448414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D6CAE1EB-382C-F1CE-1AE1-3830F6CCDE91}"/>
              </a:ext>
            </a:extLst>
          </p:cNvPr>
          <p:cNvSpPr>
            <a:spLocks noGrp="1"/>
          </p:cNvSpPr>
          <p:nvPr>
            <p:ph type="sldNum" sz="quarter" idx="11"/>
          </p:nvPr>
        </p:nvSpPr>
        <p:spPr>
          <a:xfrm>
            <a:off x="17695001" y="9786651"/>
            <a:ext cx="327013" cy="307777"/>
          </a:xfrm>
        </p:spPr>
        <p:txBody>
          <a:bodyPr/>
          <a:lstStyle/>
          <a:p>
            <a:r>
              <a:rPr lang="en-US" altLang="ja-JP"/>
              <a:t>18</a:t>
            </a:r>
            <a:endParaRPr lang="ja-JP" altLang="en-US" dirty="0"/>
          </a:p>
        </p:txBody>
      </p:sp>
      <p:sp>
        <p:nvSpPr>
          <p:cNvPr id="2" name="テキスト ボックス 1">
            <a:extLst>
              <a:ext uri="{FF2B5EF4-FFF2-40B4-BE49-F238E27FC236}">
                <a16:creationId xmlns:a16="http://schemas.microsoft.com/office/drawing/2014/main" id="{678F849F-D1EA-D4C6-7FC8-8E20DCF68EED}"/>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1" name="図 10">
            <a:extLst>
              <a:ext uri="{FF2B5EF4-FFF2-40B4-BE49-F238E27FC236}">
                <a16:creationId xmlns:a16="http://schemas.microsoft.com/office/drawing/2014/main" id="{048F5EC0-8494-D18E-C880-80B0BF7D532F}"/>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311581069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6D88D9A-764E-96AE-15E0-DEFA0689A88B}"/>
              </a:ext>
            </a:extLst>
          </p:cNvPr>
          <p:cNvSpPr>
            <a:spLocks noGrp="1"/>
          </p:cNvSpPr>
          <p:nvPr>
            <p:ph type="title"/>
          </p:nvPr>
        </p:nvSpPr>
        <p:spPr>
          <a:xfrm>
            <a:off x="891741" y="506301"/>
            <a:ext cx="8927124" cy="492443"/>
          </a:xfrm>
        </p:spPr>
        <p:txBody>
          <a:bodyPr/>
          <a:lstStyle/>
          <a:p>
            <a:r>
              <a:rPr lang="ja-JP" altLang="en-US" dirty="0"/>
              <a:t>目的に沿った生成</a:t>
            </a:r>
            <a:r>
              <a:rPr lang="en-US" altLang="ja-JP" dirty="0"/>
              <a:t>AI</a:t>
            </a:r>
            <a:r>
              <a:rPr lang="ja-JP" altLang="en-US" dirty="0"/>
              <a:t>サービスを選ぶことが大事</a:t>
            </a:r>
          </a:p>
        </p:txBody>
      </p:sp>
      <p:grpSp>
        <p:nvGrpSpPr>
          <p:cNvPr id="55" name="グループ化 54">
            <a:extLst>
              <a:ext uri="{FF2B5EF4-FFF2-40B4-BE49-F238E27FC236}">
                <a16:creationId xmlns:a16="http://schemas.microsoft.com/office/drawing/2014/main" id="{71696FC7-A4A0-2D36-7F1F-8128B957CB31}"/>
              </a:ext>
            </a:extLst>
          </p:cNvPr>
          <p:cNvGrpSpPr/>
          <p:nvPr/>
        </p:nvGrpSpPr>
        <p:grpSpPr>
          <a:xfrm>
            <a:off x="1290576" y="1486616"/>
            <a:ext cx="8328585" cy="633221"/>
            <a:chOff x="4979708" y="1416819"/>
            <a:chExt cx="8328585" cy="633221"/>
          </a:xfrm>
        </p:grpSpPr>
        <p:sp>
          <p:nvSpPr>
            <p:cNvPr id="56" name="テキスト ボックス 55">
              <a:extLst>
                <a:ext uri="{FF2B5EF4-FFF2-40B4-BE49-F238E27FC236}">
                  <a16:creationId xmlns:a16="http://schemas.microsoft.com/office/drawing/2014/main" id="{21ECF714-4929-D40A-50E9-E0D886393801}"/>
                </a:ext>
              </a:extLst>
            </p:cNvPr>
            <p:cNvSpPr txBox="1"/>
            <p:nvPr/>
          </p:nvSpPr>
          <p:spPr>
            <a:xfrm>
              <a:off x="5522391" y="1416819"/>
              <a:ext cx="7058022" cy="625684"/>
            </a:xfrm>
            <a:prstGeom prst="rect">
              <a:avLst/>
            </a:prstGeom>
            <a:noFill/>
          </p:spPr>
          <p:txBody>
            <a:bodyPr wrap="none" lIns="0" tIns="0" rIns="0" bIns="0" rtlCol="0" anchor="ctr">
              <a:spAutoFit/>
            </a:bodyPr>
            <a:lstStyle/>
            <a:p>
              <a:pPr algn="ctr">
                <a:lnSpc>
                  <a:spcPct val="120000"/>
                </a:lnSpc>
                <a:spcAft>
                  <a:spcPts val="1500"/>
                </a:spcAft>
              </a:pPr>
              <a:r>
                <a:rPr lang="ja-JP" altLang="en-US" sz="3600" spc="50" dirty="0">
                  <a:solidFill>
                    <a:schemeClr val="accent1"/>
                  </a:solidFill>
                  <a:latin typeface="+mj-ea"/>
                  <a:ea typeface="+mj-ea"/>
                </a:rPr>
                <a:t>生成</a:t>
              </a:r>
              <a:r>
                <a:rPr lang="en-US" altLang="ja-JP" sz="3600" spc="50" dirty="0">
                  <a:solidFill>
                    <a:schemeClr val="accent1"/>
                  </a:solidFill>
                  <a:latin typeface="+mj-ea"/>
                  <a:ea typeface="+mj-ea"/>
                </a:rPr>
                <a:t>AI</a:t>
              </a:r>
              <a:r>
                <a:rPr lang="ja-JP" altLang="en-US" sz="3600" spc="50" dirty="0">
                  <a:solidFill>
                    <a:schemeClr val="accent1"/>
                  </a:solidFill>
                  <a:latin typeface="+mj-ea"/>
                  <a:ea typeface="+mj-ea"/>
                </a:rPr>
                <a:t>のアウトプット形式は様々</a:t>
              </a:r>
            </a:p>
          </p:txBody>
        </p:sp>
        <p:grpSp>
          <p:nvGrpSpPr>
            <p:cNvPr id="57" name="グループ化 56">
              <a:extLst>
                <a:ext uri="{FF2B5EF4-FFF2-40B4-BE49-F238E27FC236}">
                  <a16:creationId xmlns:a16="http://schemas.microsoft.com/office/drawing/2014/main" id="{421B7BCE-C519-8F3E-5452-FA0C59D6F281}"/>
                </a:ext>
              </a:extLst>
            </p:cNvPr>
            <p:cNvGrpSpPr/>
            <p:nvPr/>
          </p:nvGrpSpPr>
          <p:grpSpPr>
            <a:xfrm>
              <a:off x="4979708" y="1493862"/>
              <a:ext cx="8328585" cy="556178"/>
              <a:chOff x="5949387" y="2277388"/>
              <a:chExt cx="8328585" cy="556178"/>
            </a:xfrm>
          </p:grpSpPr>
          <p:cxnSp>
            <p:nvCxnSpPr>
              <p:cNvPr id="58" name="直線コネクタ 57">
                <a:extLst>
                  <a:ext uri="{FF2B5EF4-FFF2-40B4-BE49-F238E27FC236}">
                    <a16:creationId xmlns:a16="http://schemas.microsoft.com/office/drawing/2014/main" id="{9B5C90F8-360E-C98E-799F-FB9F2D3375A3}"/>
                  </a:ext>
                </a:extLst>
              </p:cNvPr>
              <p:cNvCxnSpPr>
                <a:cxnSpLocks/>
              </p:cNvCxnSpPr>
              <p:nvPr/>
            </p:nvCxnSpPr>
            <p:spPr>
              <a:xfrm>
                <a:off x="5949387"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59" name="直線コネクタ 58">
                <a:extLst>
                  <a:ext uri="{FF2B5EF4-FFF2-40B4-BE49-F238E27FC236}">
                    <a16:creationId xmlns:a16="http://schemas.microsoft.com/office/drawing/2014/main" id="{5C293D48-2337-77F5-D994-7D9B7FD8A8B4}"/>
                  </a:ext>
                </a:extLst>
              </p:cNvPr>
              <p:cNvCxnSpPr>
                <a:cxnSpLocks/>
              </p:cNvCxnSpPr>
              <p:nvPr/>
            </p:nvCxnSpPr>
            <p:spPr>
              <a:xfrm flipH="1">
                <a:off x="13977030"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3" name="スライド番号プレースホルダー 2">
            <a:extLst>
              <a:ext uri="{FF2B5EF4-FFF2-40B4-BE49-F238E27FC236}">
                <a16:creationId xmlns:a16="http://schemas.microsoft.com/office/drawing/2014/main" id="{6D8B995A-1C48-4A41-BC5D-8AB815455AF5}"/>
              </a:ext>
            </a:extLst>
          </p:cNvPr>
          <p:cNvSpPr>
            <a:spLocks noGrp="1"/>
          </p:cNvSpPr>
          <p:nvPr>
            <p:ph type="sldNum" sz="quarter" idx="11"/>
          </p:nvPr>
        </p:nvSpPr>
        <p:spPr>
          <a:xfrm>
            <a:off x="17695001" y="9786651"/>
            <a:ext cx="327013" cy="307777"/>
          </a:xfrm>
        </p:spPr>
        <p:txBody>
          <a:bodyPr/>
          <a:lstStyle/>
          <a:p>
            <a:r>
              <a:rPr lang="en-US" altLang="ja-JP"/>
              <a:t>19</a:t>
            </a:r>
            <a:endParaRPr lang="ja-JP" altLang="en-US" dirty="0"/>
          </a:p>
        </p:txBody>
      </p:sp>
      <p:grpSp>
        <p:nvGrpSpPr>
          <p:cNvPr id="12" name="グループ化 11">
            <a:extLst>
              <a:ext uri="{FF2B5EF4-FFF2-40B4-BE49-F238E27FC236}">
                <a16:creationId xmlns:a16="http://schemas.microsoft.com/office/drawing/2014/main" id="{3176F3B8-CE08-8381-9DAE-2034CFD2603A}"/>
              </a:ext>
            </a:extLst>
          </p:cNvPr>
          <p:cNvGrpSpPr/>
          <p:nvPr/>
        </p:nvGrpSpPr>
        <p:grpSpPr>
          <a:xfrm>
            <a:off x="9903868" y="1786072"/>
            <a:ext cx="6881600" cy="7686989"/>
            <a:chOff x="9903868" y="1786072"/>
            <a:chExt cx="6881600" cy="7686989"/>
          </a:xfrm>
        </p:grpSpPr>
        <p:sp>
          <p:nvSpPr>
            <p:cNvPr id="74" name="フリーフォーム: 図形 73">
              <a:extLst>
                <a:ext uri="{FF2B5EF4-FFF2-40B4-BE49-F238E27FC236}">
                  <a16:creationId xmlns:a16="http://schemas.microsoft.com/office/drawing/2014/main" id="{60D10CCE-74FE-C588-BCF1-784CCFCDC2F6}"/>
                </a:ext>
              </a:extLst>
            </p:cNvPr>
            <p:cNvSpPr/>
            <p:nvPr/>
          </p:nvSpPr>
          <p:spPr>
            <a:xfrm>
              <a:off x="9903868" y="1786072"/>
              <a:ext cx="6881600" cy="7686989"/>
            </a:xfrm>
            <a:custGeom>
              <a:avLst/>
              <a:gdLst>
                <a:gd name="connsiteX0" fmla="*/ 619826 w 6543204"/>
                <a:gd name="connsiteY0" fmla="*/ 0 h 7686989"/>
                <a:gd name="connsiteX1" fmla="*/ 6416330 w 6543204"/>
                <a:gd name="connsiteY1" fmla="*/ 0 h 7686989"/>
                <a:gd name="connsiteX2" fmla="*/ 6543204 w 6543204"/>
                <a:gd name="connsiteY2" fmla="*/ 126874 h 7686989"/>
                <a:gd name="connsiteX3" fmla="*/ 6543204 w 6543204"/>
                <a:gd name="connsiteY3" fmla="*/ 7560115 h 7686989"/>
                <a:gd name="connsiteX4" fmla="*/ 6416330 w 6543204"/>
                <a:gd name="connsiteY4" fmla="*/ 7686989 h 7686989"/>
                <a:gd name="connsiteX5" fmla="*/ 619826 w 6543204"/>
                <a:gd name="connsiteY5" fmla="*/ 7686989 h 7686989"/>
                <a:gd name="connsiteX6" fmla="*/ 492952 w 6543204"/>
                <a:gd name="connsiteY6" fmla="*/ 7560115 h 7686989"/>
                <a:gd name="connsiteX7" fmla="*/ 492952 w 6543204"/>
                <a:gd name="connsiteY7" fmla="*/ 4147420 h 7686989"/>
                <a:gd name="connsiteX8" fmla="*/ 0 w 6543204"/>
                <a:gd name="connsiteY8" fmla="*/ 3843495 h 7686989"/>
                <a:gd name="connsiteX9" fmla="*/ 492952 w 6543204"/>
                <a:gd name="connsiteY9" fmla="*/ 3539571 h 7686989"/>
                <a:gd name="connsiteX10" fmla="*/ 492952 w 6543204"/>
                <a:gd name="connsiteY10" fmla="*/ 126874 h 7686989"/>
                <a:gd name="connsiteX11" fmla="*/ 619826 w 6543204"/>
                <a:gd name="connsiteY11" fmla="*/ 0 h 768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43204" h="7686989">
                  <a:moveTo>
                    <a:pt x="619826" y="0"/>
                  </a:moveTo>
                  <a:lnTo>
                    <a:pt x="6416330" y="0"/>
                  </a:lnTo>
                  <a:cubicBezTo>
                    <a:pt x="6486400" y="0"/>
                    <a:pt x="6543204" y="56803"/>
                    <a:pt x="6543204" y="126874"/>
                  </a:cubicBezTo>
                  <a:lnTo>
                    <a:pt x="6543204" y="7560115"/>
                  </a:lnTo>
                  <a:cubicBezTo>
                    <a:pt x="6543204" y="7630186"/>
                    <a:pt x="6486400" y="7686989"/>
                    <a:pt x="6416330" y="7686989"/>
                  </a:cubicBezTo>
                  <a:lnTo>
                    <a:pt x="619826" y="7686989"/>
                  </a:lnTo>
                  <a:cubicBezTo>
                    <a:pt x="549755" y="7686989"/>
                    <a:pt x="492952" y="7630186"/>
                    <a:pt x="492952" y="7560115"/>
                  </a:cubicBezTo>
                  <a:lnTo>
                    <a:pt x="492952" y="4147420"/>
                  </a:lnTo>
                  <a:lnTo>
                    <a:pt x="0" y="3843495"/>
                  </a:lnTo>
                  <a:lnTo>
                    <a:pt x="492952" y="3539571"/>
                  </a:lnTo>
                  <a:lnTo>
                    <a:pt x="492952" y="126874"/>
                  </a:lnTo>
                  <a:cubicBezTo>
                    <a:pt x="492952" y="56803"/>
                    <a:pt x="549755" y="0"/>
                    <a:pt x="619826" y="0"/>
                  </a:cubicBezTo>
                  <a:close/>
                </a:path>
              </a:pathLst>
            </a:cu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78" name="テキスト ボックス 77">
              <a:extLst>
                <a:ext uri="{FF2B5EF4-FFF2-40B4-BE49-F238E27FC236}">
                  <a16:creationId xmlns:a16="http://schemas.microsoft.com/office/drawing/2014/main" id="{40BBABFA-FD1B-5C8F-955C-5BCB9A14DDF4}"/>
                </a:ext>
              </a:extLst>
            </p:cNvPr>
            <p:cNvSpPr txBox="1"/>
            <p:nvPr/>
          </p:nvSpPr>
          <p:spPr>
            <a:xfrm>
              <a:off x="10890236" y="2440997"/>
              <a:ext cx="5578450" cy="1668534"/>
            </a:xfrm>
            <a:prstGeom prst="rect">
              <a:avLst/>
            </a:prstGeom>
            <a:noFill/>
          </p:spPr>
          <p:txBody>
            <a:bodyPr wrap="none" lIns="0" tIns="0" rIns="0" bIns="0">
              <a:spAutoFit/>
            </a:bodyPr>
            <a:lstStyle/>
            <a:p>
              <a:pPr algn="ctr">
                <a:lnSpc>
                  <a:spcPct val="120000"/>
                </a:lnSpc>
                <a:spcAft>
                  <a:spcPts val="1600"/>
                </a:spcAft>
                <a:buClr>
                  <a:schemeClr val="accent1"/>
                </a:buClr>
              </a:pPr>
              <a:r>
                <a:rPr kumimoji="1" lang="ja-JP" altLang="en-US" sz="2800" spc="100" dirty="0">
                  <a:latin typeface="+mj-ea"/>
                  <a:ea typeface="+mj-ea"/>
                </a:rPr>
                <a:t>求めるアウトプットを得るため、</a:t>
              </a:r>
              <a:br>
                <a:rPr kumimoji="1" lang="en-US" altLang="ja-JP" sz="2800" spc="100" dirty="0">
                  <a:latin typeface="+mj-ea"/>
                  <a:ea typeface="+mj-ea"/>
                </a:rPr>
              </a:br>
              <a:r>
                <a:rPr kumimoji="1" lang="ja-JP" altLang="en-US" sz="3600" spc="100" dirty="0">
                  <a:solidFill>
                    <a:schemeClr val="accent3"/>
                  </a:solidFill>
                  <a:latin typeface="+mj-ea"/>
                  <a:ea typeface="+mj-ea"/>
                </a:rPr>
                <a:t>目的に沿ったサービス</a:t>
              </a:r>
              <a:r>
                <a:rPr kumimoji="1" lang="ja-JP" altLang="en-US" sz="2800" spc="100" dirty="0">
                  <a:latin typeface="+mj-ea"/>
                  <a:ea typeface="+mj-ea"/>
                </a:rPr>
                <a:t>を</a:t>
              </a:r>
              <a:br>
                <a:rPr kumimoji="1" lang="en-US" altLang="ja-JP" sz="2800" spc="100" dirty="0">
                  <a:latin typeface="+mj-ea"/>
                  <a:ea typeface="+mj-ea"/>
                </a:rPr>
              </a:br>
              <a:r>
                <a:rPr kumimoji="1" lang="ja-JP" altLang="en-US" sz="2800" spc="100" dirty="0">
                  <a:latin typeface="+mj-ea"/>
                  <a:ea typeface="+mj-ea"/>
                </a:rPr>
                <a:t>選ぶことが大事</a:t>
              </a:r>
              <a:r>
                <a:rPr lang="ja-JP" altLang="en-US" sz="2800" spc="100" dirty="0">
                  <a:latin typeface="+mj-ea"/>
                  <a:ea typeface="+mj-ea"/>
                </a:rPr>
                <a:t>！</a:t>
              </a:r>
              <a:endParaRPr kumimoji="1" lang="ja-JP" altLang="en-US" sz="3200" spc="100" dirty="0">
                <a:latin typeface="+mj-ea"/>
                <a:ea typeface="+mj-ea"/>
              </a:endParaRPr>
            </a:p>
          </p:txBody>
        </p:sp>
        <p:pic>
          <p:nvPicPr>
            <p:cNvPr id="11" name="図 10">
              <a:extLst>
                <a:ext uri="{FF2B5EF4-FFF2-40B4-BE49-F238E27FC236}">
                  <a16:creationId xmlns:a16="http://schemas.microsoft.com/office/drawing/2014/main" id="{865F583E-4FA4-BE40-B1E7-AE688793A374}"/>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1640666" y="4436686"/>
              <a:ext cx="3920068" cy="4474852"/>
            </a:xfrm>
            <a:prstGeom prst="rect">
              <a:avLst/>
            </a:prstGeom>
          </p:spPr>
        </p:pic>
      </p:grpSp>
      <p:grpSp>
        <p:nvGrpSpPr>
          <p:cNvPr id="19" name="グループ化 18">
            <a:extLst>
              <a:ext uri="{FF2B5EF4-FFF2-40B4-BE49-F238E27FC236}">
                <a16:creationId xmlns:a16="http://schemas.microsoft.com/office/drawing/2014/main" id="{8AA2DF41-B090-8295-9DDC-5A79A419A810}"/>
              </a:ext>
            </a:extLst>
          </p:cNvPr>
          <p:cNvGrpSpPr/>
          <p:nvPr/>
        </p:nvGrpSpPr>
        <p:grpSpPr>
          <a:xfrm>
            <a:off x="1488175" y="2278491"/>
            <a:ext cx="3518855" cy="3536792"/>
            <a:chOff x="1488175" y="2278491"/>
            <a:chExt cx="3518855" cy="3536792"/>
          </a:xfrm>
        </p:grpSpPr>
        <p:grpSp>
          <p:nvGrpSpPr>
            <p:cNvPr id="62" name="グループ化 61">
              <a:extLst>
                <a:ext uri="{FF2B5EF4-FFF2-40B4-BE49-F238E27FC236}">
                  <a16:creationId xmlns:a16="http://schemas.microsoft.com/office/drawing/2014/main" id="{4B3F3249-B714-56FE-6B2B-C260022446DB}"/>
                </a:ext>
              </a:extLst>
            </p:cNvPr>
            <p:cNvGrpSpPr/>
            <p:nvPr/>
          </p:nvGrpSpPr>
          <p:grpSpPr>
            <a:xfrm>
              <a:off x="1488175" y="2278491"/>
              <a:ext cx="3518855" cy="3536792"/>
              <a:chOff x="5142263" y="2751368"/>
              <a:chExt cx="3518855" cy="3536792"/>
            </a:xfrm>
          </p:grpSpPr>
          <p:sp>
            <p:nvSpPr>
              <p:cNvPr id="63" name="楕円 62">
                <a:extLst>
                  <a:ext uri="{FF2B5EF4-FFF2-40B4-BE49-F238E27FC236}">
                    <a16:creationId xmlns:a16="http://schemas.microsoft.com/office/drawing/2014/main" id="{71BED6D6-2AF0-32E9-F021-B65F864DE03E}"/>
                  </a:ext>
                </a:extLst>
              </p:cNvPr>
              <p:cNvSpPr/>
              <p:nvPr/>
            </p:nvSpPr>
            <p:spPr>
              <a:xfrm>
                <a:off x="5142263" y="2751368"/>
                <a:ext cx="3518855" cy="3518855"/>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4" name="四角形: 角を丸くする 63">
                <a:extLst>
                  <a:ext uri="{FF2B5EF4-FFF2-40B4-BE49-F238E27FC236}">
                    <a16:creationId xmlns:a16="http://schemas.microsoft.com/office/drawing/2014/main" id="{63F5A283-810C-AE03-EF94-CD0A3E4C4948}"/>
                  </a:ext>
                </a:extLst>
              </p:cNvPr>
              <p:cNvSpPr/>
              <p:nvPr/>
            </p:nvSpPr>
            <p:spPr>
              <a:xfrm>
                <a:off x="5352101" y="5544575"/>
                <a:ext cx="3099178"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テキスト生成</a:t>
                </a:r>
              </a:p>
            </p:txBody>
          </p:sp>
        </p:grpSp>
        <p:pic>
          <p:nvPicPr>
            <p:cNvPr id="7" name="図 6">
              <a:extLst>
                <a:ext uri="{FF2B5EF4-FFF2-40B4-BE49-F238E27FC236}">
                  <a16:creationId xmlns:a16="http://schemas.microsoft.com/office/drawing/2014/main" id="{86B109CC-3B68-A6A4-9FB6-DDEE5774E527}"/>
                </a:ext>
              </a:extLst>
            </p:cNvPr>
            <p:cNvPicPr>
              <a:picLocks noChangeAspect="1"/>
            </p:cNvPicPr>
            <p:nvPr/>
          </p:nvPicPr>
          <p:blipFill>
            <a:blip r:embed="rId4"/>
            <a:stretch>
              <a:fillRect/>
            </a:stretch>
          </p:blipFill>
          <p:spPr>
            <a:xfrm>
              <a:off x="1922946" y="3317338"/>
              <a:ext cx="2792210" cy="1298561"/>
            </a:xfrm>
            <a:prstGeom prst="rect">
              <a:avLst/>
            </a:prstGeom>
          </p:spPr>
        </p:pic>
      </p:grpSp>
      <p:grpSp>
        <p:nvGrpSpPr>
          <p:cNvPr id="20" name="グループ化 19">
            <a:extLst>
              <a:ext uri="{FF2B5EF4-FFF2-40B4-BE49-F238E27FC236}">
                <a16:creationId xmlns:a16="http://schemas.microsoft.com/office/drawing/2014/main" id="{3C9B4C2A-13DF-9B2F-99EE-E3BF7868A040}"/>
              </a:ext>
            </a:extLst>
          </p:cNvPr>
          <p:cNvGrpSpPr/>
          <p:nvPr/>
        </p:nvGrpSpPr>
        <p:grpSpPr>
          <a:xfrm>
            <a:off x="5407722" y="2278491"/>
            <a:ext cx="3518855" cy="3536792"/>
            <a:chOff x="5407722" y="2278491"/>
            <a:chExt cx="3518855" cy="3536792"/>
          </a:xfrm>
        </p:grpSpPr>
        <p:grpSp>
          <p:nvGrpSpPr>
            <p:cNvPr id="61" name="グループ化 60">
              <a:extLst>
                <a:ext uri="{FF2B5EF4-FFF2-40B4-BE49-F238E27FC236}">
                  <a16:creationId xmlns:a16="http://schemas.microsoft.com/office/drawing/2014/main" id="{E8B4FC8E-C54D-3F7A-3492-87DAFBA9F665}"/>
                </a:ext>
              </a:extLst>
            </p:cNvPr>
            <p:cNvGrpSpPr/>
            <p:nvPr/>
          </p:nvGrpSpPr>
          <p:grpSpPr>
            <a:xfrm>
              <a:off x="5407722" y="2278491"/>
              <a:ext cx="3518855" cy="3536792"/>
              <a:chOff x="5142263" y="2751368"/>
              <a:chExt cx="3518855" cy="3536792"/>
            </a:xfrm>
          </p:grpSpPr>
          <p:sp>
            <p:nvSpPr>
              <p:cNvPr id="37" name="楕円 36">
                <a:extLst>
                  <a:ext uri="{FF2B5EF4-FFF2-40B4-BE49-F238E27FC236}">
                    <a16:creationId xmlns:a16="http://schemas.microsoft.com/office/drawing/2014/main" id="{CDC2622C-955C-7001-5BA3-E5B378C7D365}"/>
                  </a:ext>
                </a:extLst>
              </p:cNvPr>
              <p:cNvSpPr/>
              <p:nvPr/>
            </p:nvSpPr>
            <p:spPr>
              <a:xfrm>
                <a:off x="5142263" y="2751368"/>
                <a:ext cx="3518855" cy="3518855"/>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7" name="四角形: 角を丸くする 16">
                <a:extLst>
                  <a:ext uri="{FF2B5EF4-FFF2-40B4-BE49-F238E27FC236}">
                    <a16:creationId xmlns:a16="http://schemas.microsoft.com/office/drawing/2014/main" id="{AB272907-7E56-D9AE-C0B9-66F07F63C259}"/>
                  </a:ext>
                </a:extLst>
              </p:cNvPr>
              <p:cNvSpPr/>
              <p:nvPr/>
            </p:nvSpPr>
            <p:spPr>
              <a:xfrm>
                <a:off x="5142263" y="5544575"/>
                <a:ext cx="351885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画像・映像生成</a:t>
                </a:r>
              </a:p>
            </p:txBody>
          </p:sp>
        </p:grpSp>
        <p:pic>
          <p:nvPicPr>
            <p:cNvPr id="9" name="図 8">
              <a:extLst>
                <a:ext uri="{FF2B5EF4-FFF2-40B4-BE49-F238E27FC236}">
                  <a16:creationId xmlns:a16="http://schemas.microsoft.com/office/drawing/2014/main" id="{D7FDB05E-FB02-A5FF-B2C1-22801F91322E}"/>
                </a:ext>
              </a:extLst>
            </p:cNvPr>
            <p:cNvPicPr>
              <a:picLocks noChangeAspect="1"/>
            </p:cNvPicPr>
            <p:nvPr/>
          </p:nvPicPr>
          <p:blipFill>
            <a:blip r:embed="rId5"/>
            <a:stretch>
              <a:fillRect/>
            </a:stretch>
          </p:blipFill>
          <p:spPr>
            <a:xfrm>
              <a:off x="5682645" y="3408196"/>
              <a:ext cx="2969009" cy="1030313"/>
            </a:xfrm>
            <a:prstGeom prst="rect">
              <a:avLst/>
            </a:prstGeom>
          </p:spPr>
        </p:pic>
      </p:grpSp>
      <p:grpSp>
        <p:nvGrpSpPr>
          <p:cNvPr id="18" name="グループ化 17">
            <a:extLst>
              <a:ext uri="{FF2B5EF4-FFF2-40B4-BE49-F238E27FC236}">
                <a16:creationId xmlns:a16="http://schemas.microsoft.com/office/drawing/2014/main" id="{CD323D62-97F5-899A-29CF-61685C0EFF25}"/>
              </a:ext>
            </a:extLst>
          </p:cNvPr>
          <p:cNvGrpSpPr/>
          <p:nvPr/>
        </p:nvGrpSpPr>
        <p:grpSpPr>
          <a:xfrm>
            <a:off x="1432923" y="6027933"/>
            <a:ext cx="3518855" cy="3536792"/>
            <a:chOff x="1432923" y="6027933"/>
            <a:chExt cx="3518855" cy="3536792"/>
          </a:xfrm>
        </p:grpSpPr>
        <p:grpSp>
          <p:nvGrpSpPr>
            <p:cNvPr id="65" name="グループ化 64">
              <a:extLst>
                <a:ext uri="{FF2B5EF4-FFF2-40B4-BE49-F238E27FC236}">
                  <a16:creationId xmlns:a16="http://schemas.microsoft.com/office/drawing/2014/main" id="{DF8DA7A1-50FB-5CFB-3743-BB3C3339C9FF}"/>
                </a:ext>
              </a:extLst>
            </p:cNvPr>
            <p:cNvGrpSpPr/>
            <p:nvPr/>
          </p:nvGrpSpPr>
          <p:grpSpPr>
            <a:xfrm>
              <a:off x="1432923" y="6027933"/>
              <a:ext cx="3518855" cy="3536792"/>
              <a:chOff x="5142263" y="2638197"/>
              <a:chExt cx="3518855" cy="3536792"/>
            </a:xfrm>
          </p:grpSpPr>
          <p:sp>
            <p:nvSpPr>
              <p:cNvPr id="66" name="楕円 65">
                <a:extLst>
                  <a:ext uri="{FF2B5EF4-FFF2-40B4-BE49-F238E27FC236}">
                    <a16:creationId xmlns:a16="http://schemas.microsoft.com/office/drawing/2014/main" id="{D66B51FD-3158-83E7-A87E-9EB2B1B0F835}"/>
                  </a:ext>
                </a:extLst>
              </p:cNvPr>
              <p:cNvSpPr/>
              <p:nvPr/>
            </p:nvSpPr>
            <p:spPr>
              <a:xfrm>
                <a:off x="5142263" y="2638197"/>
                <a:ext cx="3518855" cy="3518855"/>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7" name="四角形: 角を丸くする 66">
                <a:extLst>
                  <a:ext uri="{FF2B5EF4-FFF2-40B4-BE49-F238E27FC236}">
                    <a16:creationId xmlns:a16="http://schemas.microsoft.com/office/drawing/2014/main" id="{3AAD9B50-D997-1B5C-BC05-9686F5D908E0}"/>
                  </a:ext>
                </a:extLst>
              </p:cNvPr>
              <p:cNvSpPr/>
              <p:nvPr/>
            </p:nvSpPr>
            <p:spPr>
              <a:xfrm>
                <a:off x="5774113" y="5431404"/>
                <a:ext cx="2255154"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音声生成</a:t>
                </a:r>
              </a:p>
            </p:txBody>
          </p:sp>
        </p:grpSp>
        <p:pic>
          <p:nvPicPr>
            <p:cNvPr id="13" name="図 12">
              <a:extLst>
                <a:ext uri="{FF2B5EF4-FFF2-40B4-BE49-F238E27FC236}">
                  <a16:creationId xmlns:a16="http://schemas.microsoft.com/office/drawing/2014/main" id="{DF9C1C13-6D06-43A2-8048-2E7D9ED9BAC1}"/>
                </a:ext>
              </a:extLst>
            </p:cNvPr>
            <p:cNvPicPr>
              <a:picLocks noChangeAspect="1"/>
            </p:cNvPicPr>
            <p:nvPr/>
          </p:nvPicPr>
          <p:blipFill>
            <a:blip r:embed="rId6"/>
            <a:stretch>
              <a:fillRect/>
            </a:stretch>
          </p:blipFill>
          <p:spPr>
            <a:xfrm>
              <a:off x="2549510" y="6863426"/>
              <a:ext cx="1286367" cy="1633870"/>
            </a:xfrm>
            <a:prstGeom prst="rect">
              <a:avLst/>
            </a:prstGeom>
          </p:spPr>
        </p:pic>
      </p:grpSp>
      <p:grpSp>
        <p:nvGrpSpPr>
          <p:cNvPr id="16" name="グループ化 15">
            <a:extLst>
              <a:ext uri="{FF2B5EF4-FFF2-40B4-BE49-F238E27FC236}">
                <a16:creationId xmlns:a16="http://schemas.microsoft.com/office/drawing/2014/main" id="{2F65AD54-0211-E5C6-68E0-A438CC6C3D5E}"/>
              </a:ext>
            </a:extLst>
          </p:cNvPr>
          <p:cNvGrpSpPr/>
          <p:nvPr/>
        </p:nvGrpSpPr>
        <p:grpSpPr>
          <a:xfrm>
            <a:off x="5352470" y="6027933"/>
            <a:ext cx="3518855" cy="3536792"/>
            <a:chOff x="5352470" y="6027933"/>
            <a:chExt cx="3518855" cy="3536792"/>
          </a:xfrm>
        </p:grpSpPr>
        <p:grpSp>
          <p:nvGrpSpPr>
            <p:cNvPr id="68" name="グループ化 67">
              <a:extLst>
                <a:ext uri="{FF2B5EF4-FFF2-40B4-BE49-F238E27FC236}">
                  <a16:creationId xmlns:a16="http://schemas.microsoft.com/office/drawing/2014/main" id="{493F9307-7DF4-32FC-89D4-D578EDE1BD6B}"/>
                </a:ext>
              </a:extLst>
            </p:cNvPr>
            <p:cNvGrpSpPr/>
            <p:nvPr/>
          </p:nvGrpSpPr>
          <p:grpSpPr>
            <a:xfrm>
              <a:off x="5352470" y="6027933"/>
              <a:ext cx="3518855" cy="3536792"/>
              <a:chOff x="5142263" y="2638197"/>
              <a:chExt cx="3518855" cy="3536792"/>
            </a:xfrm>
          </p:grpSpPr>
          <p:sp>
            <p:nvSpPr>
              <p:cNvPr id="69" name="楕円 68">
                <a:extLst>
                  <a:ext uri="{FF2B5EF4-FFF2-40B4-BE49-F238E27FC236}">
                    <a16:creationId xmlns:a16="http://schemas.microsoft.com/office/drawing/2014/main" id="{35CFFFCC-5A8C-5A35-FBC5-F7A9B76D81C1}"/>
                  </a:ext>
                </a:extLst>
              </p:cNvPr>
              <p:cNvSpPr/>
              <p:nvPr/>
            </p:nvSpPr>
            <p:spPr>
              <a:xfrm>
                <a:off x="5142263" y="2638197"/>
                <a:ext cx="3518855" cy="3518855"/>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0" name="四角形: 角を丸くする 69">
                <a:extLst>
                  <a:ext uri="{FF2B5EF4-FFF2-40B4-BE49-F238E27FC236}">
                    <a16:creationId xmlns:a16="http://schemas.microsoft.com/office/drawing/2014/main" id="{D6DB41E5-5505-B03E-502C-FF5737337F38}"/>
                  </a:ext>
                </a:extLst>
              </p:cNvPr>
              <p:cNvSpPr/>
              <p:nvPr/>
            </p:nvSpPr>
            <p:spPr>
              <a:xfrm>
                <a:off x="5982483" y="5431404"/>
                <a:ext cx="183841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その他</a:t>
                </a:r>
              </a:p>
            </p:txBody>
          </p:sp>
        </p:grpSp>
        <p:sp>
          <p:nvSpPr>
            <p:cNvPr id="21" name="テキスト ボックス 20">
              <a:extLst>
                <a:ext uri="{FF2B5EF4-FFF2-40B4-BE49-F238E27FC236}">
                  <a16:creationId xmlns:a16="http://schemas.microsoft.com/office/drawing/2014/main" id="{A68B5A2E-FB7A-F657-C778-36B377FFCE4B}"/>
                </a:ext>
              </a:extLst>
            </p:cNvPr>
            <p:cNvSpPr txBox="1"/>
            <p:nvPr/>
          </p:nvSpPr>
          <p:spPr>
            <a:xfrm>
              <a:off x="6186163" y="8119984"/>
              <a:ext cx="1851468" cy="417102"/>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sz="2400" spc="100" dirty="0">
                  <a:latin typeface="+mj-ea"/>
                  <a:ea typeface="+mj-ea"/>
                </a:rPr>
                <a:t>3D</a:t>
              </a:r>
              <a:r>
                <a:rPr kumimoji="1" lang="ja-JP" altLang="en-US" sz="2400" spc="100" dirty="0">
                  <a:latin typeface="+mj-ea"/>
                  <a:ea typeface="+mj-ea"/>
                </a:rPr>
                <a:t>モデル</a:t>
              </a:r>
              <a:r>
                <a:rPr kumimoji="1" lang="ja-JP" altLang="en-US" sz="1200" spc="100" dirty="0">
                  <a:latin typeface="+mj-ea"/>
                  <a:ea typeface="+mj-ea"/>
                </a:rPr>
                <a:t> など</a:t>
              </a:r>
              <a:endParaRPr kumimoji="1" lang="ja-JP" altLang="en-US" sz="2400" spc="100" dirty="0">
                <a:latin typeface="+mj-ea"/>
                <a:ea typeface="+mj-ea"/>
              </a:endParaRPr>
            </a:p>
          </p:txBody>
        </p:sp>
        <p:pic>
          <p:nvPicPr>
            <p:cNvPr id="15" name="図 14">
              <a:extLst>
                <a:ext uri="{FF2B5EF4-FFF2-40B4-BE49-F238E27FC236}">
                  <a16:creationId xmlns:a16="http://schemas.microsoft.com/office/drawing/2014/main" id="{EF56279D-A41A-1660-C21C-585F930F93CA}"/>
                </a:ext>
              </a:extLst>
            </p:cNvPr>
            <p:cNvPicPr>
              <a:picLocks noChangeAspect="1"/>
            </p:cNvPicPr>
            <p:nvPr/>
          </p:nvPicPr>
          <p:blipFill>
            <a:blip r:embed="rId7"/>
            <a:stretch>
              <a:fillRect/>
            </a:stretch>
          </p:blipFill>
          <p:spPr>
            <a:xfrm>
              <a:off x="6470768" y="6621319"/>
              <a:ext cx="1286367" cy="1268078"/>
            </a:xfrm>
            <a:prstGeom prst="rect">
              <a:avLst/>
            </a:prstGeom>
          </p:spPr>
        </p:pic>
      </p:grpSp>
    </p:spTree>
    <p:extLst>
      <p:ext uri="{BB962C8B-B14F-4D97-AF65-F5344CB8AC3E}">
        <p14:creationId xmlns:p14="http://schemas.microsoft.com/office/powerpoint/2010/main" val="333326258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6" name="四角形: 角を丸くする 25">
            <a:extLst>
              <a:ext uri="{FF2B5EF4-FFF2-40B4-BE49-F238E27FC236}">
                <a16:creationId xmlns:a16="http://schemas.microsoft.com/office/drawing/2014/main" id="{7EE7625D-E43D-627B-7576-FC09BC7030A4}"/>
              </a:ext>
            </a:extLst>
          </p:cNvPr>
          <p:cNvSpPr/>
          <p:nvPr/>
        </p:nvSpPr>
        <p:spPr>
          <a:xfrm>
            <a:off x="9776389" y="1786072"/>
            <a:ext cx="6862272" cy="766557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 name="四角形: 角を丸くする 2">
            <a:extLst>
              <a:ext uri="{FF2B5EF4-FFF2-40B4-BE49-F238E27FC236}">
                <a16:creationId xmlns:a16="http://schemas.microsoft.com/office/drawing/2014/main" id="{DF2F49BE-1587-0309-67F9-CBA976FEBE5F}"/>
              </a:ext>
            </a:extLst>
          </p:cNvPr>
          <p:cNvSpPr/>
          <p:nvPr/>
        </p:nvSpPr>
        <p:spPr>
          <a:xfrm>
            <a:off x="1649339" y="1786072"/>
            <a:ext cx="6862272" cy="766557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5" name="テキスト ボックス 64">
            <a:extLst>
              <a:ext uri="{FF2B5EF4-FFF2-40B4-BE49-F238E27FC236}">
                <a16:creationId xmlns:a16="http://schemas.microsoft.com/office/drawing/2014/main" id="{6A7B4D2E-9AD6-B261-66FC-ADA06714AE50}"/>
              </a:ext>
            </a:extLst>
          </p:cNvPr>
          <p:cNvSpPr txBox="1"/>
          <p:nvPr/>
        </p:nvSpPr>
        <p:spPr>
          <a:xfrm>
            <a:off x="2177687" y="6722674"/>
            <a:ext cx="5891036" cy="1290481"/>
          </a:xfrm>
          <a:prstGeom prst="rect">
            <a:avLst/>
          </a:prstGeom>
          <a:noFill/>
        </p:spPr>
        <p:txBody>
          <a:bodyPr wrap="none" lIns="0" tIns="0" rIns="0" bIns="0" rtlCol="0">
            <a:spAutoFit/>
          </a:bodyPr>
          <a:lstStyle/>
          <a:p>
            <a:pPr algn="ctr">
              <a:lnSpc>
                <a:spcPct val="120000"/>
              </a:lnSpc>
            </a:pPr>
            <a:r>
              <a:rPr kumimoji="1" lang="ja-JP" altLang="en-US" sz="3600" spc="100" dirty="0">
                <a:latin typeface="+mj-ea"/>
                <a:ea typeface="+mj-ea"/>
              </a:rPr>
              <a:t>今後の生活の中で、</a:t>
            </a:r>
            <a:br>
              <a:rPr kumimoji="1" lang="ja-JP" altLang="en-US" sz="3600" spc="100" dirty="0">
                <a:latin typeface="+mj-ea"/>
                <a:ea typeface="+mj-ea"/>
              </a:rPr>
            </a:b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に触れうる国民の方 </a:t>
            </a:r>
          </a:p>
        </p:txBody>
      </p:sp>
      <p:sp>
        <p:nvSpPr>
          <p:cNvPr id="2" name="テキスト ボックス 1">
            <a:extLst>
              <a:ext uri="{FF2B5EF4-FFF2-40B4-BE49-F238E27FC236}">
                <a16:creationId xmlns:a16="http://schemas.microsoft.com/office/drawing/2014/main" id="{9D8540B4-F0DE-D4F4-970C-926791F5C172}"/>
              </a:ext>
            </a:extLst>
          </p:cNvPr>
          <p:cNvSpPr txBox="1"/>
          <p:nvPr/>
        </p:nvSpPr>
        <p:spPr>
          <a:xfrm>
            <a:off x="3459839" y="8131306"/>
            <a:ext cx="3241272" cy="716928"/>
          </a:xfrm>
          <a:prstGeom prst="rect">
            <a:avLst/>
          </a:prstGeom>
          <a:noFill/>
        </p:spPr>
        <p:txBody>
          <a:bodyPr wrap="none" lIns="0" tIns="0" rIns="0" bIns="0" rtlCol="0">
            <a:spAutoFit/>
          </a:bodyPr>
          <a:lstStyle/>
          <a:p>
            <a:pPr algn="ctr">
              <a:lnSpc>
                <a:spcPct val="120000"/>
              </a:lnSpc>
            </a:pPr>
            <a:r>
              <a:rPr kumimoji="1" lang="en-US" altLang="ja-JP" sz="2000" spc="100" dirty="0">
                <a:latin typeface="+mn-ea"/>
              </a:rPr>
              <a:t>※IT</a:t>
            </a:r>
            <a:r>
              <a:rPr kumimoji="1" lang="ja-JP" altLang="en-US" sz="2000" spc="100" dirty="0">
                <a:latin typeface="+mn-ea"/>
              </a:rPr>
              <a:t>関連の専門職等のみを</a:t>
            </a:r>
            <a:br>
              <a:rPr kumimoji="1" lang="en-US" altLang="ja-JP" sz="2000" spc="100" dirty="0">
                <a:latin typeface="+mn-ea"/>
              </a:rPr>
            </a:br>
            <a:r>
              <a:rPr kumimoji="1" lang="ja-JP" altLang="en-US" sz="2000" spc="100" dirty="0">
                <a:latin typeface="+mn-ea"/>
              </a:rPr>
              <a:t>　対象としたもので</a:t>
            </a:r>
            <a:r>
              <a:rPr lang="ja-JP" altLang="en-US" sz="2000" spc="100" dirty="0">
                <a:latin typeface="+mn-ea"/>
              </a:rPr>
              <a:t>はない</a:t>
            </a:r>
            <a:endParaRPr kumimoji="1" lang="ja-JP" altLang="en-US" sz="2000" spc="100" dirty="0">
              <a:latin typeface="+mn-ea"/>
            </a:endParaRPr>
          </a:p>
        </p:txBody>
      </p:sp>
      <p:sp>
        <p:nvSpPr>
          <p:cNvPr id="8" name="テキスト ボックス 7">
            <a:extLst>
              <a:ext uri="{FF2B5EF4-FFF2-40B4-BE49-F238E27FC236}">
                <a16:creationId xmlns:a16="http://schemas.microsoft.com/office/drawing/2014/main" id="{0CC53902-6AB2-71B9-9652-BD454BA8C6CB}"/>
              </a:ext>
            </a:extLst>
          </p:cNvPr>
          <p:cNvSpPr txBox="1"/>
          <p:nvPr/>
        </p:nvSpPr>
        <p:spPr>
          <a:xfrm>
            <a:off x="10360592" y="6722674"/>
            <a:ext cx="5693866" cy="1955279"/>
          </a:xfrm>
          <a:prstGeom prst="rect">
            <a:avLst/>
          </a:prstGeom>
          <a:noFill/>
        </p:spPr>
        <p:txBody>
          <a:bodyPr wrap="none" lIns="0" tIns="0" rIns="0" bIns="0" rtlCol="0">
            <a:spAutoFit/>
          </a:bodyPr>
          <a:lstStyle/>
          <a:p>
            <a:pPr algn="ctr">
              <a:lnSpc>
                <a:spcPct val="120000"/>
              </a:lnSpc>
            </a:pP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を自身で</a:t>
            </a:r>
            <a:br>
              <a:rPr kumimoji="1" lang="en-US" altLang="ja-JP" sz="3600" spc="100" dirty="0">
                <a:latin typeface="+mj-ea"/>
                <a:ea typeface="+mj-ea"/>
              </a:rPr>
            </a:br>
            <a:r>
              <a:rPr kumimoji="1" lang="ja-JP" altLang="en-US" sz="3600" spc="100" dirty="0">
                <a:latin typeface="+mj-ea"/>
                <a:ea typeface="+mj-ea"/>
              </a:rPr>
              <a:t>利活用できるリテラシーを</a:t>
            </a:r>
            <a:br>
              <a:rPr kumimoji="1" lang="en-US" altLang="ja-JP" sz="3600" spc="100" dirty="0">
                <a:latin typeface="+mj-ea"/>
                <a:ea typeface="+mj-ea"/>
              </a:rPr>
            </a:br>
            <a:r>
              <a:rPr kumimoji="1" lang="ja-JP" altLang="en-US" sz="3600" spc="100" dirty="0">
                <a:latin typeface="+mj-ea"/>
                <a:ea typeface="+mj-ea"/>
              </a:rPr>
              <a:t>身に付けること</a:t>
            </a:r>
          </a:p>
        </p:txBody>
      </p:sp>
      <p:sp>
        <p:nvSpPr>
          <p:cNvPr id="1068" name="楕円 1067">
            <a:extLst>
              <a:ext uri="{FF2B5EF4-FFF2-40B4-BE49-F238E27FC236}">
                <a16:creationId xmlns:a16="http://schemas.microsoft.com/office/drawing/2014/main" id="{2C7C6B85-94C2-086D-F153-57500B519C9E}"/>
              </a:ext>
            </a:extLst>
          </p:cNvPr>
          <p:cNvSpPr>
            <a:spLocks noChangeAspect="1"/>
          </p:cNvSpPr>
          <p:nvPr/>
        </p:nvSpPr>
        <p:spPr>
          <a:xfrm>
            <a:off x="1319303" y="1490335"/>
            <a:ext cx="1727027" cy="1728792"/>
          </a:xfrm>
          <a:prstGeom prst="ellipse">
            <a:avLst/>
          </a:prstGeom>
          <a:solidFill>
            <a:schemeClr val="accent1"/>
          </a:solidFill>
          <a:ln w="1016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lang="ja-JP" altLang="en-US" sz="3600" spc="200" dirty="0">
                <a:solidFill>
                  <a:schemeClr val="bg1"/>
                </a:solidFill>
                <a:latin typeface="+mj-ea"/>
                <a:ea typeface="+mj-ea"/>
              </a:rPr>
              <a:t>対象</a:t>
            </a:r>
            <a:endParaRPr kumimoji="1" lang="ja-JP" altLang="en-US" sz="3600" spc="200" dirty="0">
              <a:solidFill>
                <a:schemeClr val="bg1"/>
              </a:solidFill>
              <a:latin typeface="+mj-ea"/>
              <a:ea typeface="+mj-ea"/>
            </a:endParaRPr>
          </a:p>
        </p:txBody>
      </p:sp>
      <p:sp>
        <p:nvSpPr>
          <p:cNvPr id="1070" name="楕円 1069">
            <a:extLst>
              <a:ext uri="{FF2B5EF4-FFF2-40B4-BE49-F238E27FC236}">
                <a16:creationId xmlns:a16="http://schemas.microsoft.com/office/drawing/2014/main" id="{3E98006C-CD5D-2AC4-F3C6-8C9B054E64A8}"/>
              </a:ext>
            </a:extLst>
          </p:cNvPr>
          <p:cNvSpPr>
            <a:spLocks noChangeAspect="1"/>
          </p:cNvSpPr>
          <p:nvPr/>
        </p:nvSpPr>
        <p:spPr>
          <a:xfrm>
            <a:off x="9463783" y="1490335"/>
            <a:ext cx="1727027" cy="1728792"/>
          </a:xfrm>
          <a:prstGeom prst="ellipse">
            <a:avLst/>
          </a:prstGeom>
          <a:solidFill>
            <a:schemeClr val="accent1"/>
          </a:solidFill>
          <a:ln w="1016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ja-JP" altLang="en-US" sz="3600" spc="200" dirty="0">
                <a:solidFill>
                  <a:schemeClr val="bg1"/>
                </a:solidFill>
                <a:latin typeface="+mj-ea"/>
                <a:ea typeface="+mj-ea"/>
              </a:rPr>
              <a:t>目的</a:t>
            </a:r>
          </a:p>
        </p:txBody>
      </p:sp>
      <p:sp>
        <p:nvSpPr>
          <p:cNvPr id="6" name="タイトル 5">
            <a:extLst>
              <a:ext uri="{FF2B5EF4-FFF2-40B4-BE49-F238E27FC236}">
                <a16:creationId xmlns:a16="http://schemas.microsoft.com/office/drawing/2014/main" id="{2DB775E3-3E4E-555F-DE41-25ADC839565D}"/>
              </a:ext>
            </a:extLst>
          </p:cNvPr>
          <p:cNvSpPr>
            <a:spLocks noGrp="1"/>
          </p:cNvSpPr>
          <p:nvPr>
            <p:ph type="title"/>
          </p:nvPr>
        </p:nvSpPr>
        <p:spPr>
          <a:xfrm>
            <a:off x="891741" y="506301"/>
            <a:ext cx="3385542" cy="492443"/>
          </a:xfrm>
        </p:spPr>
        <p:txBody>
          <a:bodyPr/>
          <a:lstStyle/>
          <a:p>
            <a:r>
              <a:rPr lang="ja-JP" altLang="en-US" dirty="0"/>
              <a:t>コンテンツの対象と目的</a:t>
            </a:r>
          </a:p>
        </p:txBody>
      </p:sp>
      <p:sp>
        <p:nvSpPr>
          <p:cNvPr id="4" name="スライド番号プレースホルダー 3">
            <a:extLst>
              <a:ext uri="{FF2B5EF4-FFF2-40B4-BE49-F238E27FC236}">
                <a16:creationId xmlns:a16="http://schemas.microsoft.com/office/drawing/2014/main" id="{44521678-74C8-546C-E144-8D932DA722D3}"/>
              </a:ext>
            </a:extLst>
          </p:cNvPr>
          <p:cNvSpPr>
            <a:spLocks noGrp="1"/>
          </p:cNvSpPr>
          <p:nvPr>
            <p:ph type="sldNum" sz="quarter" idx="11"/>
          </p:nvPr>
        </p:nvSpPr>
        <p:spPr>
          <a:xfrm>
            <a:off x="17776755" y="9786651"/>
            <a:ext cx="163506" cy="307777"/>
          </a:xfrm>
        </p:spPr>
        <p:txBody>
          <a:bodyPr/>
          <a:lstStyle/>
          <a:p>
            <a:r>
              <a:rPr lang="en-US" altLang="ja-JP"/>
              <a:t>2</a:t>
            </a:r>
            <a:endParaRPr lang="ja-JP" altLang="en-US" dirty="0"/>
          </a:p>
        </p:txBody>
      </p:sp>
      <p:pic>
        <p:nvPicPr>
          <p:cNvPr id="5" name="図 4">
            <a:extLst>
              <a:ext uri="{FF2B5EF4-FFF2-40B4-BE49-F238E27FC236}">
                <a16:creationId xmlns:a16="http://schemas.microsoft.com/office/drawing/2014/main" id="{B55C2FD6-CA9D-CC7F-6EF3-9B186A031650}"/>
              </a:ext>
            </a:extLst>
          </p:cNvPr>
          <p:cNvPicPr>
            <a:picLocks noChangeAspect="1"/>
          </p:cNvPicPr>
          <p:nvPr/>
        </p:nvPicPr>
        <p:blipFill>
          <a:blip r:embed="rId3"/>
          <a:stretch>
            <a:fillRect/>
          </a:stretch>
        </p:blipFill>
        <p:spPr>
          <a:xfrm>
            <a:off x="10863152" y="2779735"/>
            <a:ext cx="4541914" cy="3340898"/>
          </a:xfrm>
          <a:prstGeom prst="rect">
            <a:avLst/>
          </a:prstGeom>
        </p:spPr>
      </p:pic>
      <p:pic>
        <p:nvPicPr>
          <p:cNvPr id="13" name="図 12">
            <a:extLst>
              <a:ext uri="{FF2B5EF4-FFF2-40B4-BE49-F238E27FC236}">
                <a16:creationId xmlns:a16="http://schemas.microsoft.com/office/drawing/2014/main" id="{A15C4A82-7AA6-9917-FB0E-EFCF62AA5682}"/>
              </a:ext>
            </a:extLst>
          </p:cNvPr>
          <p:cNvPicPr>
            <a:picLocks noChangeAspect="1"/>
          </p:cNvPicPr>
          <p:nvPr/>
        </p:nvPicPr>
        <p:blipFill>
          <a:blip r:embed="rId4"/>
          <a:stretch>
            <a:fillRect/>
          </a:stretch>
        </p:blipFill>
        <p:spPr>
          <a:xfrm>
            <a:off x="3227130" y="2855453"/>
            <a:ext cx="3706689" cy="3072650"/>
          </a:xfrm>
          <a:prstGeom prst="rect">
            <a:avLst/>
          </a:prstGeom>
        </p:spPr>
      </p:pic>
    </p:spTree>
    <p:extLst>
      <p:ext uri="{BB962C8B-B14F-4D97-AF65-F5344CB8AC3E}">
        <p14:creationId xmlns:p14="http://schemas.microsoft.com/office/powerpoint/2010/main" val="219048526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2152C6FB-EF6C-DAB0-6D9F-FF0B0A7631BF}"/>
              </a:ext>
            </a:extLst>
          </p:cNvPr>
          <p:cNvSpPr>
            <a:spLocks noGrp="1"/>
          </p:cNvSpPr>
          <p:nvPr>
            <p:ph type="title"/>
          </p:nvPr>
        </p:nvSpPr>
        <p:spPr>
          <a:xfrm>
            <a:off x="891741" y="506301"/>
            <a:ext cx="5996834" cy="492443"/>
          </a:xfrm>
        </p:spPr>
        <p:txBody>
          <a:bodyPr/>
          <a:lstStyle/>
          <a:p>
            <a:r>
              <a:rPr lang="ja-JP" altLang="en-US" dirty="0"/>
              <a:t>生成</a:t>
            </a:r>
            <a:r>
              <a:rPr lang="en-US" altLang="ja-JP" dirty="0"/>
              <a:t>AI</a:t>
            </a:r>
            <a:r>
              <a:rPr lang="ja-JP" altLang="en-US" dirty="0"/>
              <a:t>サービスの使い方 </a:t>
            </a:r>
            <a:r>
              <a:rPr lang="en-US" altLang="ja-JP" dirty="0"/>
              <a:t>(1/2)</a:t>
            </a:r>
            <a:endParaRPr lang="ja-JP" altLang="en-US" dirty="0"/>
          </a:p>
        </p:txBody>
      </p:sp>
      <p:sp>
        <p:nvSpPr>
          <p:cNvPr id="13" name="テキスト ボックス 12">
            <a:extLst>
              <a:ext uri="{FF2B5EF4-FFF2-40B4-BE49-F238E27FC236}">
                <a16:creationId xmlns:a16="http://schemas.microsoft.com/office/drawing/2014/main" id="{D2A9E8DB-CC2D-1810-B3B1-E76C54A92E40}"/>
              </a:ext>
            </a:extLst>
          </p:cNvPr>
          <p:cNvSpPr txBox="1"/>
          <p:nvPr/>
        </p:nvSpPr>
        <p:spPr>
          <a:xfrm>
            <a:off x="372103" y="9617374"/>
            <a:ext cx="12250148" cy="430887"/>
          </a:xfrm>
          <a:prstGeom prst="rect">
            <a:avLst/>
          </a:prstGeom>
          <a:noFill/>
        </p:spPr>
        <p:txBody>
          <a:bodyPr wrap="none" lIns="0" tIns="0" rIns="0" bIns="0" rtlCol="0" anchor="b">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を例として紹介。多少見た目は異なるが、</a:t>
            </a:r>
            <a:r>
              <a:rPr kumimoji="1" lang="en-US" altLang="ja-JP" sz="1400" spc="100" dirty="0">
                <a:solidFill>
                  <a:schemeClr val="tx2"/>
                </a:solidFill>
                <a:latin typeface="+mn-ea"/>
              </a:rPr>
              <a:t>2023</a:t>
            </a:r>
            <a:r>
              <a:rPr kumimoji="1" lang="ja-JP" altLang="en-US" sz="1400" spc="100" dirty="0">
                <a:solidFill>
                  <a:schemeClr val="tx2"/>
                </a:solidFill>
                <a:latin typeface="+mn-ea"/>
              </a:rPr>
              <a:t>年時点で主流のテキスト系生成</a:t>
            </a:r>
            <a:r>
              <a:rPr kumimoji="1" lang="en-US" altLang="ja-JP" sz="1400" spc="100" dirty="0">
                <a:solidFill>
                  <a:schemeClr val="tx2"/>
                </a:solidFill>
                <a:latin typeface="+mn-ea"/>
              </a:rPr>
              <a:t>AI</a:t>
            </a:r>
            <a:r>
              <a:rPr kumimoji="1" lang="ja-JP" altLang="en-US" sz="1400" spc="100" dirty="0">
                <a:solidFill>
                  <a:schemeClr val="tx2"/>
                </a:solidFill>
                <a:latin typeface="+mn-ea"/>
              </a:rPr>
              <a:t>サービスの基本的な使い方は同じ</a:t>
            </a:r>
          </a:p>
          <a:p>
            <a:pPr algn="l"/>
            <a:r>
              <a:rPr lang="ja-JP" altLang="en-US" sz="1400" spc="100" dirty="0">
                <a:solidFill>
                  <a:schemeClr val="tx2"/>
                </a:solidFill>
                <a:latin typeface="+mn-ea"/>
              </a:rPr>
              <a:t>　　　 </a:t>
            </a:r>
            <a:r>
              <a:rPr kumimoji="1" lang="ja-JP" altLang="en-US" sz="1400" spc="100" dirty="0">
                <a:solidFill>
                  <a:schemeClr val="tx2"/>
                </a:solidFill>
                <a:latin typeface="+mn-ea"/>
              </a:rPr>
              <a:t>生成</a:t>
            </a:r>
            <a:r>
              <a:rPr kumimoji="1" lang="en-US" altLang="ja-JP" sz="1400" spc="100" dirty="0">
                <a:solidFill>
                  <a:schemeClr val="tx2"/>
                </a:solidFill>
                <a:latin typeface="+mn-ea"/>
              </a:rPr>
              <a:t>AI</a:t>
            </a:r>
            <a:r>
              <a:rPr kumimoji="1" lang="ja-JP" altLang="en-US" sz="1400" spc="100" dirty="0">
                <a:solidFill>
                  <a:schemeClr val="tx2"/>
                </a:solidFill>
                <a:latin typeface="+mn-ea"/>
              </a:rPr>
              <a:t>サービスによっては、年齢制限や保護者同意が課されている</a:t>
            </a:r>
          </a:p>
        </p:txBody>
      </p:sp>
      <p:pic>
        <p:nvPicPr>
          <p:cNvPr id="20" name="図 19">
            <a:extLst>
              <a:ext uri="{FF2B5EF4-FFF2-40B4-BE49-F238E27FC236}">
                <a16:creationId xmlns:a16="http://schemas.microsoft.com/office/drawing/2014/main" id="{35B2F75E-F9F9-1C29-F0FE-42A525704B89}"/>
              </a:ext>
            </a:extLst>
          </p:cNvPr>
          <p:cNvPicPr>
            <a:picLocks noChangeAspect="1"/>
          </p:cNvPicPr>
          <p:nvPr/>
        </p:nvPicPr>
        <p:blipFill>
          <a:blip r:embed="rId3"/>
          <a:stretch>
            <a:fillRect/>
          </a:stretch>
        </p:blipFill>
        <p:spPr>
          <a:xfrm>
            <a:off x="891740" y="1376855"/>
            <a:ext cx="12955674" cy="7850212"/>
          </a:xfrm>
          <a:prstGeom prst="rect">
            <a:avLst/>
          </a:prstGeom>
          <a:ln w="38100">
            <a:noFill/>
          </a:ln>
          <a:effectLst>
            <a:outerShdw blurRad="38100" dist="38100" dir="2700000" algn="tl" rotWithShape="0">
              <a:schemeClr val="bg2">
                <a:lumMod val="10000"/>
                <a:alpha val="30000"/>
              </a:schemeClr>
            </a:outerShdw>
          </a:effectLst>
        </p:spPr>
      </p:pic>
      <p:sp>
        <p:nvSpPr>
          <p:cNvPr id="44" name="四角形: 角を丸くする 43">
            <a:extLst>
              <a:ext uri="{FF2B5EF4-FFF2-40B4-BE49-F238E27FC236}">
                <a16:creationId xmlns:a16="http://schemas.microsoft.com/office/drawing/2014/main" id="{E31B46AE-8D32-9F11-A47E-FAF1CF8F8691}"/>
              </a:ext>
            </a:extLst>
          </p:cNvPr>
          <p:cNvSpPr/>
          <p:nvPr/>
        </p:nvSpPr>
        <p:spPr>
          <a:xfrm>
            <a:off x="4939863" y="8161281"/>
            <a:ext cx="7241628" cy="667406"/>
          </a:xfrm>
          <a:prstGeom prst="roundRect">
            <a:avLst/>
          </a:prstGeom>
          <a:noFill/>
          <a:ln w="50800">
            <a:solidFill>
              <a:schemeClr val="accent1">
                <a:lumMod val="40000"/>
                <a:lumOff val="6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5" name="グループ化 44">
            <a:extLst>
              <a:ext uri="{FF2B5EF4-FFF2-40B4-BE49-F238E27FC236}">
                <a16:creationId xmlns:a16="http://schemas.microsoft.com/office/drawing/2014/main" id="{B2437EAE-492F-D8D7-2082-F179FB586988}"/>
              </a:ext>
            </a:extLst>
          </p:cNvPr>
          <p:cNvGrpSpPr/>
          <p:nvPr/>
        </p:nvGrpSpPr>
        <p:grpSpPr>
          <a:xfrm>
            <a:off x="11110233" y="6113459"/>
            <a:ext cx="2737181" cy="2381525"/>
            <a:chOff x="10055616" y="7220607"/>
            <a:chExt cx="2737181" cy="2381525"/>
          </a:xfrm>
        </p:grpSpPr>
        <p:cxnSp>
          <p:nvCxnSpPr>
            <p:cNvPr id="46" name="直線コネクタ 45">
              <a:extLst>
                <a:ext uri="{FF2B5EF4-FFF2-40B4-BE49-F238E27FC236}">
                  <a16:creationId xmlns:a16="http://schemas.microsoft.com/office/drawing/2014/main" id="{E9EF6778-35FB-114E-A855-F1CAD874181D}"/>
                </a:ext>
              </a:extLst>
            </p:cNvPr>
            <p:cNvCxnSpPr>
              <a:cxnSpLocks/>
            </p:cNvCxnSpPr>
            <p:nvPr/>
          </p:nvCxnSpPr>
          <p:spPr>
            <a:xfrm flipV="1">
              <a:off x="10055616" y="7220607"/>
              <a:ext cx="959226" cy="2381525"/>
            </a:xfrm>
            <a:prstGeom prst="line">
              <a:avLst/>
            </a:prstGeom>
            <a:ln w="38100" cap="rnd">
              <a:solidFill>
                <a:schemeClr val="accent1"/>
              </a:solidFill>
              <a:round/>
              <a:headEnd type="oval"/>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4BF6C431-75B7-FA75-39F6-8B10F9DDD87F}"/>
                </a:ext>
              </a:extLst>
            </p:cNvPr>
            <p:cNvCxnSpPr>
              <a:cxnSpLocks/>
            </p:cNvCxnSpPr>
            <p:nvPr/>
          </p:nvCxnSpPr>
          <p:spPr>
            <a:xfrm>
              <a:off x="11025352" y="7220607"/>
              <a:ext cx="1767445"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grpSp>
        <p:nvGrpSpPr>
          <p:cNvPr id="61" name="グループ化 60">
            <a:extLst>
              <a:ext uri="{FF2B5EF4-FFF2-40B4-BE49-F238E27FC236}">
                <a16:creationId xmlns:a16="http://schemas.microsoft.com/office/drawing/2014/main" id="{27BD4234-821B-AE87-E39F-7D84179E65AB}"/>
              </a:ext>
            </a:extLst>
          </p:cNvPr>
          <p:cNvGrpSpPr/>
          <p:nvPr/>
        </p:nvGrpSpPr>
        <p:grpSpPr>
          <a:xfrm>
            <a:off x="12838007" y="3427713"/>
            <a:ext cx="4756112" cy="3280848"/>
            <a:chOff x="12838007" y="3427713"/>
            <a:chExt cx="4756112" cy="3280848"/>
          </a:xfrm>
        </p:grpSpPr>
        <p:grpSp>
          <p:nvGrpSpPr>
            <p:cNvPr id="53" name="グループ化 52">
              <a:extLst>
                <a:ext uri="{FF2B5EF4-FFF2-40B4-BE49-F238E27FC236}">
                  <a16:creationId xmlns:a16="http://schemas.microsoft.com/office/drawing/2014/main" id="{68378EDF-667B-5058-6E10-78B6A4F16D2F}"/>
                </a:ext>
              </a:extLst>
            </p:cNvPr>
            <p:cNvGrpSpPr/>
            <p:nvPr/>
          </p:nvGrpSpPr>
          <p:grpSpPr>
            <a:xfrm>
              <a:off x="12838007" y="3895362"/>
              <a:ext cx="4756112" cy="2813199"/>
              <a:chOff x="12533405" y="3776787"/>
              <a:chExt cx="4756112" cy="2813199"/>
            </a:xfrm>
          </p:grpSpPr>
          <p:sp>
            <p:nvSpPr>
              <p:cNvPr id="54" name="四角形: 対角を丸める 53">
                <a:extLst>
                  <a:ext uri="{FF2B5EF4-FFF2-40B4-BE49-F238E27FC236}">
                    <a16:creationId xmlns:a16="http://schemas.microsoft.com/office/drawing/2014/main" id="{42D99161-9A5B-6E5A-3969-75FA0FC89D23}"/>
                  </a:ext>
                </a:extLst>
              </p:cNvPr>
              <p:cNvSpPr/>
              <p:nvPr/>
            </p:nvSpPr>
            <p:spPr>
              <a:xfrm>
                <a:off x="12533405" y="3776787"/>
                <a:ext cx="4756112" cy="2813199"/>
              </a:xfrm>
              <a:prstGeom prst="round2DiagRect">
                <a:avLst>
                  <a:gd name="adj1" fmla="val 0"/>
                  <a:gd name="adj2" fmla="val 4296"/>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252000" rIns="216000" bIns="252000" rtlCol="0" anchor="t">
                <a:noAutofit/>
              </a:bodyPr>
              <a:lstStyle/>
              <a:p>
                <a:r>
                  <a:rPr kumimoji="1" lang="ja-JP" altLang="en-US" sz="2800" spc="100" dirty="0">
                    <a:solidFill>
                      <a:schemeClr val="tx1"/>
                    </a:solidFill>
                    <a:latin typeface="+mn-ea"/>
                  </a:rPr>
                  <a:t>チャットを入力して、</a:t>
                </a:r>
                <a:br>
                  <a:rPr kumimoji="1" lang="en-US" altLang="ja-JP" sz="2800" spc="100" dirty="0">
                    <a:solidFill>
                      <a:schemeClr val="tx1"/>
                    </a:solidFill>
                    <a:latin typeface="+mn-ea"/>
                  </a:rPr>
                </a:br>
                <a:r>
                  <a:rPr kumimoji="1" lang="ja-JP" altLang="en-US" sz="2800" spc="100" dirty="0">
                    <a:solidFill>
                      <a:schemeClr val="tx1"/>
                    </a:solidFill>
                    <a:latin typeface="+mn-ea"/>
                  </a:rPr>
                  <a:t>右側の「紙飛行機ボタン」</a:t>
                </a:r>
                <a:br>
                  <a:rPr kumimoji="1" lang="en-US" altLang="ja-JP" sz="2800" spc="100" dirty="0">
                    <a:solidFill>
                      <a:schemeClr val="tx1"/>
                    </a:solidFill>
                    <a:latin typeface="+mn-ea"/>
                  </a:rPr>
                </a:br>
                <a:r>
                  <a:rPr kumimoji="1" lang="ja-JP" altLang="en-US" sz="2800" spc="100" dirty="0">
                    <a:solidFill>
                      <a:schemeClr val="tx1"/>
                    </a:solidFill>
                    <a:latin typeface="+mn-ea"/>
                  </a:rPr>
                  <a:t>をクリック</a:t>
                </a:r>
                <a:endParaRPr kumimoji="1" lang="en-US" altLang="ja-JP" sz="2800" spc="100" dirty="0">
                  <a:solidFill>
                    <a:schemeClr val="tx1"/>
                  </a:solidFill>
                  <a:latin typeface="+mn-ea"/>
                </a:endParaRPr>
              </a:p>
            </p:txBody>
          </p:sp>
          <p:grpSp>
            <p:nvGrpSpPr>
              <p:cNvPr id="55" name="グループ化 54">
                <a:extLst>
                  <a:ext uri="{FF2B5EF4-FFF2-40B4-BE49-F238E27FC236}">
                    <a16:creationId xmlns:a16="http://schemas.microsoft.com/office/drawing/2014/main" id="{D239D0D6-E9CA-B454-B940-6AB12D164947}"/>
                  </a:ext>
                </a:extLst>
              </p:cNvPr>
              <p:cNvGrpSpPr/>
              <p:nvPr/>
            </p:nvGrpSpPr>
            <p:grpSpPr>
              <a:xfrm>
                <a:off x="12890757" y="5615486"/>
                <a:ext cx="3128606" cy="693683"/>
                <a:chOff x="12890757" y="6269523"/>
                <a:chExt cx="3128606" cy="693683"/>
              </a:xfrm>
            </p:grpSpPr>
            <p:sp>
              <p:nvSpPr>
                <p:cNvPr id="56" name="テキスト ボックス 55">
                  <a:extLst>
                    <a:ext uri="{FF2B5EF4-FFF2-40B4-BE49-F238E27FC236}">
                      <a16:creationId xmlns:a16="http://schemas.microsoft.com/office/drawing/2014/main" id="{F43DF579-9057-254A-18B2-FEBA366DCC13}"/>
                    </a:ext>
                  </a:extLst>
                </p:cNvPr>
                <p:cNvSpPr txBox="1"/>
                <p:nvPr/>
              </p:nvSpPr>
              <p:spPr>
                <a:xfrm>
                  <a:off x="13760731" y="6338243"/>
                  <a:ext cx="2258632" cy="486672"/>
                </a:xfrm>
                <a:prstGeom prst="rect">
                  <a:avLst/>
                </a:prstGeom>
                <a:noFill/>
              </p:spPr>
              <p:txBody>
                <a:bodyPr wrap="none" lIns="0" tIns="0" rIns="0" bIns="0" rtlCol="0" anchor="b">
                  <a:spAutoFit/>
                </a:bodyPr>
                <a:lstStyle/>
                <a:p>
                  <a:pPr>
                    <a:lnSpc>
                      <a:spcPct val="120000"/>
                    </a:lnSpc>
                    <a:spcAft>
                      <a:spcPts val="1600"/>
                    </a:spcAft>
                    <a:buClr>
                      <a:schemeClr val="accent1"/>
                    </a:buClr>
                  </a:pPr>
                  <a:r>
                    <a:rPr kumimoji="1" lang="ja-JP" altLang="en-US" sz="2800" spc="100" dirty="0">
                      <a:latin typeface="+mn-ea"/>
                    </a:rPr>
                    <a:t>生成</a:t>
                  </a:r>
                  <a:r>
                    <a:rPr kumimoji="1" lang="en-US" altLang="ja-JP" sz="2800" spc="100" dirty="0">
                      <a:latin typeface="+mn-ea"/>
                    </a:rPr>
                    <a:t>AI</a:t>
                  </a:r>
                  <a:r>
                    <a:rPr kumimoji="1" lang="ja-JP" altLang="en-US" sz="2800" spc="100" dirty="0">
                      <a:latin typeface="+mn-ea"/>
                    </a:rPr>
                    <a:t>とは？</a:t>
                  </a:r>
                </a:p>
              </p:txBody>
            </p:sp>
            <p:sp>
              <p:nvSpPr>
                <p:cNvPr id="57" name="楕円 56">
                  <a:extLst>
                    <a:ext uri="{FF2B5EF4-FFF2-40B4-BE49-F238E27FC236}">
                      <a16:creationId xmlns:a16="http://schemas.microsoft.com/office/drawing/2014/main" id="{653CDF63-8B54-6D9C-4652-FBBA5F91C525}"/>
                    </a:ext>
                  </a:extLst>
                </p:cNvPr>
                <p:cNvSpPr/>
                <p:nvPr/>
              </p:nvSpPr>
              <p:spPr>
                <a:xfrm>
                  <a:off x="12890757" y="6269523"/>
                  <a:ext cx="693683" cy="69368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例</a:t>
                  </a:r>
                  <a:endParaRPr kumimoji="1" lang="ja-JP" altLang="en-US" dirty="0">
                    <a:solidFill>
                      <a:schemeClr val="tx1"/>
                    </a:solidFill>
                  </a:endParaRPr>
                </a:p>
              </p:txBody>
            </p:sp>
          </p:grpSp>
        </p:grpSp>
        <p:sp>
          <p:nvSpPr>
            <p:cNvPr id="60" name="四角形: 上の 2 つの角を丸める 59">
              <a:extLst>
                <a:ext uri="{FF2B5EF4-FFF2-40B4-BE49-F238E27FC236}">
                  <a16:creationId xmlns:a16="http://schemas.microsoft.com/office/drawing/2014/main" id="{1DD8B46C-8BC8-A971-D7C3-1BB141454CB9}"/>
                </a:ext>
              </a:extLst>
            </p:cNvPr>
            <p:cNvSpPr/>
            <p:nvPr/>
          </p:nvSpPr>
          <p:spPr>
            <a:xfrm>
              <a:off x="12838007" y="3427713"/>
              <a:ext cx="1418750" cy="452554"/>
            </a:xfrm>
            <a:prstGeom prst="round2SameRect">
              <a:avLst>
                <a:gd name="adj1" fmla="val 22191"/>
                <a:gd name="adj2" fmla="val 0"/>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手順１</a:t>
              </a:r>
              <a:endParaRPr kumimoji="1" lang="ja-JP" altLang="en-US" sz="2400" spc="300" dirty="0">
                <a:solidFill>
                  <a:schemeClr val="bg1"/>
                </a:solidFill>
                <a:latin typeface="+mj-ea"/>
                <a:ea typeface="+mj-ea"/>
              </a:endParaRPr>
            </a:p>
          </p:txBody>
        </p:sp>
      </p:grpSp>
      <p:sp>
        <p:nvSpPr>
          <p:cNvPr id="3" name="スライド番号プレースホルダー 2">
            <a:extLst>
              <a:ext uri="{FF2B5EF4-FFF2-40B4-BE49-F238E27FC236}">
                <a16:creationId xmlns:a16="http://schemas.microsoft.com/office/drawing/2014/main" id="{C05C51BA-B3F6-9B67-8AD3-A8091FF0629E}"/>
              </a:ext>
            </a:extLst>
          </p:cNvPr>
          <p:cNvSpPr>
            <a:spLocks noGrp="1"/>
          </p:cNvSpPr>
          <p:nvPr>
            <p:ph type="sldNum" sz="quarter" idx="11"/>
          </p:nvPr>
        </p:nvSpPr>
        <p:spPr>
          <a:xfrm>
            <a:off x="17695001" y="9786651"/>
            <a:ext cx="327013" cy="307777"/>
          </a:xfrm>
        </p:spPr>
        <p:txBody>
          <a:bodyPr/>
          <a:lstStyle/>
          <a:p>
            <a:r>
              <a:rPr lang="en-US" altLang="ja-JP"/>
              <a:t>20</a:t>
            </a:r>
            <a:endParaRPr lang="ja-JP" altLang="en-US" dirty="0"/>
          </a:p>
        </p:txBody>
      </p:sp>
    </p:spTree>
    <p:extLst>
      <p:ext uri="{BB962C8B-B14F-4D97-AF65-F5344CB8AC3E}">
        <p14:creationId xmlns:p14="http://schemas.microsoft.com/office/powerpoint/2010/main" val="4162900849"/>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6" name="図 15">
            <a:extLst>
              <a:ext uri="{FF2B5EF4-FFF2-40B4-BE49-F238E27FC236}">
                <a16:creationId xmlns:a16="http://schemas.microsoft.com/office/drawing/2014/main" id="{F6237987-F813-4B26-5466-5B80BC9AFAE4}"/>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891740" y="1393666"/>
            <a:ext cx="12955674" cy="7816589"/>
          </a:xfrm>
          <a:prstGeom prst="rect">
            <a:avLst/>
          </a:prstGeom>
          <a:ln w="38100">
            <a:noFill/>
          </a:ln>
          <a:effectLst>
            <a:outerShdw blurRad="38100" dist="38100" dir="2700000" algn="tl" rotWithShape="0">
              <a:schemeClr val="bg2">
                <a:lumMod val="10000"/>
                <a:alpha val="30000"/>
              </a:schemeClr>
            </a:outerShdw>
          </a:effectLst>
        </p:spPr>
      </p:pic>
      <p:sp>
        <p:nvSpPr>
          <p:cNvPr id="4" name="タイトル 3">
            <a:extLst>
              <a:ext uri="{FF2B5EF4-FFF2-40B4-BE49-F238E27FC236}">
                <a16:creationId xmlns:a16="http://schemas.microsoft.com/office/drawing/2014/main" id="{798D9467-36E7-CBE7-8E69-98AD2F0FE8C2}"/>
              </a:ext>
            </a:extLst>
          </p:cNvPr>
          <p:cNvSpPr>
            <a:spLocks noGrp="1"/>
          </p:cNvSpPr>
          <p:nvPr>
            <p:ph type="title"/>
          </p:nvPr>
        </p:nvSpPr>
        <p:spPr>
          <a:xfrm>
            <a:off x="891741" y="506301"/>
            <a:ext cx="5996834" cy="492443"/>
          </a:xfrm>
        </p:spPr>
        <p:txBody>
          <a:bodyPr/>
          <a:lstStyle/>
          <a:p>
            <a:r>
              <a:rPr lang="ja-JP" altLang="en-US" dirty="0"/>
              <a:t>生成</a:t>
            </a:r>
            <a:r>
              <a:rPr lang="en-US" altLang="ja-JP" dirty="0"/>
              <a:t>AI</a:t>
            </a:r>
            <a:r>
              <a:rPr lang="ja-JP" altLang="en-US" dirty="0"/>
              <a:t>サービスの使い方 </a:t>
            </a:r>
            <a:r>
              <a:rPr lang="en-US" altLang="ja-JP" dirty="0"/>
              <a:t>(2/2)</a:t>
            </a:r>
            <a:endParaRPr lang="ja-JP" altLang="en-US" dirty="0"/>
          </a:p>
        </p:txBody>
      </p:sp>
      <p:sp>
        <p:nvSpPr>
          <p:cNvPr id="5" name="テキスト ボックス 4">
            <a:extLst>
              <a:ext uri="{FF2B5EF4-FFF2-40B4-BE49-F238E27FC236}">
                <a16:creationId xmlns:a16="http://schemas.microsoft.com/office/drawing/2014/main" id="{D39683FF-41EC-6441-3523-379334289D87}"/>
              </a:ext>
            </a:extLst>
          </p:cNvPr>
          <p:cNvSpPr txBox="1"/>
          <p:nvPr/>
        </p:nvSpPr>
        <p:spPr>
          <a:xfrm>
            <a:off x="372103" y="9832817"/>
            <a:ext cx="12250148" cy="215444"/>
          </a:xfrm>
          <a:prstGeom prst="rect">
            <a:avLst/>
          </a:prstGeom>
          <a:noFill/>
        </p:spPr>
        <p:txBody>
          <a:bodyPr wrap="none" lIns="0" tIns="0" rIns="0" bIns="0" rtlCol="0" anchor="b">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を例として紹介。多少見た目は異なるが、</a:t>
            </a:r>
            <a:r>
              <a:rPr kumimoji="1" lang="en-US" altLang="ja-JP" sz="1400" spc="100" dirty="0">
                <a:solidFill>
                  <a:schemeClr val="tx2"/>
                </a:solidFill>
                <a:latin typeface="+mn-ea"/>
              </a:rPr>
              <a:t>2023</a:t>
            </a:r>
            <a:r>
              <a:rPr kumimoji="1" lang="ja-JP" altLang="en-US" sz="1400" spc="100" dirty="0">
                <a:solidFill>
                  <a:schemeClr val="tx2"/>
                </a:solidFill>
                <a:latin typeface="+mn-ea"/>
              </a:rPr>
              <a:t>年時点で主流のテキスト系生成</a:t>
            </a:r>
            <a:r>
              <a:rPr kumimoji="1" lang="en-US" altLang="ja-JP" sz="1400" spc="100" dirty="0">
                <a:solidFill>
                  <a:schemeClr val="tx2"/>
                </a:solidFill>
                <a:latin typeface="+mn-ea"/>
              </a:rPr>
              <a:t>AI</a:t>
            </a:r>
            <a:r>
              <a:rPr kumimoji="1" lang="ja-JP" altLang="en-US" sz="1400" spc="100" dirty="0">
                <a:solidFill>
                  <a:schemeClr val="tx2"/>
                </a:solidFill>
                <a:latin typeface="+mn-ea"/>
              </a:rPr>
              <a:t>サービスの基本的な使い方は同じ</a:t>
            </a:r>
          </a:p>
        </p:txBody>
      </p:sp>
      <p:sp>
        <p:nvSpPr>
          <p:cNvPr id="20" name="四角形: 角を丸くする 19">
            <a:extLst>
              <a:ext uri="{FF2B5EF4-FFF2-40B4-BE49-F238E27FC236}">
                <a16:creationId xmlns:a16="http://schemas.microsoft.com/office/drawing/2014/main" id="{B64D14AE-09BE-40A4-DE17-61F0DF241BA2}"/>
              </a:ext>
            </a:extLst>
          </p:cNvPr>
          <p:cNvSpPr/>
          <p:nvPr/>
        </p:nvSpPr>
        <p:spPr>
          <a:xfrm>
            <a:off x="4866289" y="2593416"/>
            <a:ext cx="7672552" cy="4732295"/>
          </a:xfrm>
          <a:prstGeom prst="roundRect">
            <a:avLst>
              <a:gd name="adj" fmla="val 2196"/>
            </a:avLst>
          </a:prstGeom>
          <a:noFill/>
          <a:ln w="50800">
            <a:solidFill>
              <a:schemeClr val="accent1">
                <a:lumMod val="40000"/>
                <a:lumOff val="6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3" name="四角形: 角を丸くする 42">
            <a:extLst>
              <a:ext uri="{FF2B5EF4-FFF2-40B4-BE49-F238E27FC236}">
                <a16:creationId xmlns:a16="http://schemas.microsoft.com/office/drawing/2014/main" id="{C85FFDE2-62D8-AE0D-34B6-E903378E5F44}"/>
              </a:ext>
            </a:extLst>
          </p:cNvPr>
          <p:cNvSpPr/>
          <p:nvPr/>
        </p:nvSpPr>
        <p:spPr>
          <a:xfrm>
            <a:off x="4939863" y="8192811"/>
            <a:ext cx="7241628" cy="667406"/>
          </a:xfrm>
          <a:prstGeom prst="roundRect">
            <a:avLst/>
          </a:prstGeom>
          <a:noFill/>
          <a:ln w="50800">
            <a:solidFill>
              <a:schemeClr val="accent1">
                <a:lumMod val="40000"/>
                <a:lumOff val="60000"/>
              </a:schemeClr>
            </a:solidFill>
            <a:prstDash val="sysDash"/>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44" name="グループ化 43">
            <a:extLst>
              <a:ext uri="{FF2B5EF4-FFF2-40B4-BE49-F238E27FC236}">
                <a16:creationId xmlns:a16="http://schemas.microsoft.com/office/drawing/2014/main" id="{61CE7229-DA3F-AFAA-2C93-D2224F539D25}"/>
              </a:ext>
            </a:extLst>
          </p:cNvPr>
          <p:cNvGrpSpPr/>
          <p:nvPr/>
        </p:nvGrpSpPr>
        <p:grpSpPr>
          <a:xfrm>
            <a:off x="10744365" y="7669454"/>
            <a:ext cx="2122736" cy="856007"/>
            <a:chOff x="10670061" y="7220607"/>
            <a:chExt cx="2122736" cy="856007"/>
          </a:xfrm>
        </p:grpSpPr>
        <p:cxnSp>
          <p:nvCxnSpPr>
            <p:cNvPr id="45" name="直線コネクタ 44">
              <a:extLst>
                <a:ext uri="{FF2B5EF4-FFF2-40B4-BE49-F238E27FC236}">
                  <a16:creationId xmlns:a16="http://schemas.microsoft.com/office/drawing/2014/main" id="{13D695CD-2F57-9B26-9402-D981BFF9C3C7}"/>
                </a:ext>
              </a:extLst>
            </p:cNvPr>
            <p:cNvCxnSpPr>
              <a:cxnSpLocks/>
            </p:cNvCxnSpPr>
            <p:nvPr/>
          </p:nvCxnSpPr>
          <p:spPr>
            <a:xfrm flipV="1">
              <a:off x="10670061" y="7220607"/>
              <a:ext cx="344781" cy="856007"/>
            </a:xfrm>
            <a:prstGeom prst="line">
              <a:avLst/>
            </a:prstGeom>
            <a:ln w="38100" cap="rnd">
              <a:solidFill>
                <a:schemeClr val="accent1"/>
              </a:solidFill>
              <a:round/>
              <a:headEnd type="oval"/>
            </a:ln>
          </p:spPr>
          <p:style>
            <a:lnRef idx="1">
              <a:schemeClr val="accent1"/>
            </a:lnRef>
            <a:fillRef idx="0">
              <a:schemeClr val="accent1"/>
            </a:fillRef>
            <a:effectRef idx="0">
              <a:schemeClr val="accent1"/>
            </a:effectRef>
            <a:fontRef idx="minor">
              <a:schemeClr val="tx1"/>
            </a:fontRef>
          </p:style>
        </p:cxnSp>
        <p:cxnSp>
          <p:nvCxnSpPr>
            <p:cNvPr id="46" name="直線コネクタ 45">
              <a:extLst>
                <a:ext uri="{FF2B5EF4-FFF2-40B4-BE49-F238E27FC236}">
                  <a16:creationId xmlns:a16="http://schemas.microsoft.com/office/drawing/2014/main" id="{D1B1D954-FA55-C601-170B-7156498B9D72}"/>
                </a:ext>
              </a:extLst>
            </p:cNvPr>
            <p:cNvCxnSpPr>
              <a:cxnSpLocks/>
            </p:cNvCxnSpPr>
            <p:nvPr/>
          </p:nvCxnSpPr>
          <p:spPr>
            <a:xfrm>
              <a:off x="11025352" y="7220607"/>
              <a:ext cx="1767445"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grpSp>
        <p:nvGrpSpPr>
          <p:cNvPr id="48" name="グループ化 47">
            <a:extLst>
              <a:ext uri="{FF2B5EF4-FFF2-40B4-BE49-F238E27FC236}">
                <a16:creationId xmlns:a16="http://schemas.microsoft.com/office/drawing/2014/main" id="{E914A167-CB82-5F27-DFB7-7FFD41702F76}"/>
              </a:ext>
            </a:extLst>
          </p:cNvPr>
          <p:cNvGrpSpPr/>
          <p:nvPr/>
        </p:nvGrpSpPr>
        <p:grpSpPr>
          <a:xfrm>
            <a:off x="12838007" y="4721082"/>
            <a:ext cx="4756112" cy="4139135"/>
            <a:chOff x="12838007" y="3427713"/>
            <a:chExt cx="4756112" cy="4139135"/>
          </a:xfrm>
        </p:grpSpPr>
        <p:grpSp>
          <p:nvGrpSpPr>
            <p:cNvPr id="49" name="グループ化 48">
              <a:extLst>
                <a:ext uri="{FF2B5EF4-FFF2-40B4-BE49-F238E27FC236}">
                  <a16:creationId xmlns:a16="http://schemas.microsoft.com/office/drawing/2014/main" id="{D42FC4A9-2DAA-6331-6082-14EFC803F97D}"/>
                </a:ext>
              </a:extLst>
            </p:cNvPr>
            <p:cNvGrpSpPr/>
            <p:nvPr/>
          </p:nvGrpSpPr>
          <p:grpSpPr>
            <a:xfrm>
              <a:off x="12838007" y="3895361"/>
              <a:ext cx="4756112" cy="3671487"/>
              <a:chOff x="12533405" y="3776786"/>
              <a:chExt cx="4756112" cy="3671487"/>
            </a:xfrm>
          </p:grpSpPr>
          <p:sp>
            <p:nvSpPr>
              <p:cNvPr id="51" name="四角形: 対角を丸める 50">
                <a:extLst>
                  <a:ext uri="{FF2B5EF4-FFF2-40B4-BE49-F238E27FC236}">
                    <a16:creationId xmlns:a16="http://schemas.microsoft.com/office/drawing/2014/main" id="{DEF565A3-3376-3ABA-AFCA-5F685402AF15}"/>
                  </a:ext>
                </a:extLst>
              </p:cNvPr>
              <p:cNvSpPr/>
              <p:nvPr/>
            </p:nvSpPr>
            <p:spPr>
              <a:xfrm>
                <a:off x="12533405" y="3776786"/>
                <a:ext cx="4756112" cy="3671487"/>
              </a:xfrm>
              <a:prstGeom prst="round2DiagRect">
                <a:avLst>
                  <a:gd name="adj1" fmla="val 0"/>
                  <a:gd name="adj2" fmla="val 2865"/>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252000" rIns="216000" bIns="252000" rtlCol="0" anchor="t">
                <a:noAutofit/>
              </a:bodyPr>
              <a:lstStyle/>
              <a:p>
                <a:r>
                  <a:rPr kumimoji="1" lang="ja-JP" altLang="en-US" sz="2800" spc="100" dirty="0">
                    <a:solidFill>
                      <a:schemeClr val="tx1"/>
                    </a:solidFill>
                    <a:latin typeface="+mn-ea"/>
                  </a:rPr>
                  <a:t>生成</a:t>
                </a:r>
                <a:r>
                  <a:rPr kumimoji="1" lang="en-US" altLang="ja-JP" sz="2800" spc="100" dirty="0">
                    <a:solidFill>
                      <a:schemeClr val="tx1"/>
                    </a:solidFill>
                    <a:latin typeface="+mn-ea"/>
                  </a:rPr>
                  <a:t>AI</a:t>
                </a:r>
                <a:r>
                  <a:rPr kumimoji="1" lang="ja-JP" altLang="en-US" sz="2800" spc="100" dirty="0">
                    <a:solidFill>
                      <a:schemeClr val="tx1"/>
                    </a:solidFill>
                    <a:latin typeface="+mn-ea"/>
                  </a:rPr>
                  <a:t>からの返答に</a:t>
                </a:r>
                <a:br>
                  <a:rPr kumimoji="1" lang="en-US" altLang="ja-JP" sz="2800" spc="100" dirty="0">
                    <a:solidFill>
                      <a:schemeClr val="tx1"/>
                    </a:solidFill>
                    <a:latin typeface="+mn-ea"/>
                  </a:rPr>
                </a:br>
                <a:r>
                  <a:rPr kumimoji="1" lang="ja-JP" altLang="en-US" sz="2800" spc="100" dirty="0">
                    <a:solidFill>
                      <a:schemeClr val="tx1"/>
                    </a:solidFill>
                    <a:latin typeface="+mn-ea"/>
                  </a:rPr>
                  <a:t>応じて追加の質問などを</a:t>
                </a:r>
                <a:br>
                  <a:rPr kumimoji="1" lang="en-US" altLang="ja-JP" sz="2800" spc="100" dirty="0">
                    <a:solidFill>
                      <a:schemeClr val="tx1"/>
                    </a:solidFill>
                    <a:latin typeface="+mn-ea"/>
                  </a:rPr>
                </a:br>
                <a:r>
                  <a:rPr kumimoji="1" lang="ja-JP" altLang="en-US" sz="2800" spc="100" dirty="0">
                    <a:solidFill>
                      <a:schemeClr val="tx1"/>
                    </a:solidFill>
                    <a:latin typeface="+mn-ea"/>
                  </a:rPr>
                  <a:t>することで、</a:t>
                </a:r>
                <a:br>
                  <a:rPr kumimoji="1" lang="ja-JP" altLang="en-US" sz="2800" spc="100" dirty="0">
                    <a:solidFill>
                      <a:schemeClr val="tx1"/>
                    </a:solidFill>
                    <a:latin typeface="+mn-ea"/>
                  </a:rPr>
                </a:br>
                <a:r>
                  <a:rPr kumimoji="1" lang="ja-JP" altLang="en-US" sz="2800" spc="100" dirty="0">
                    <a:solidFill>
                      <a:schemeClr val="tx1"/>
                    </a:solidFill>
                    <a:latin typeface="+mn-ea"/>
                  </a:rPr>
                  <a:t>欲しい情報を収集</a:t>
                </a:r>
              </a:p>
            </p:txBody>
          </p:sp>
          <p:grpSp>
            <p:nvGrpSpPr>
              <p:cNvPr id="52" name="グループ化 51">
                <a:extLst>
                  <a:ext uri="{FF2B5EF4-FFF2-40B4-BE49-F238E27FC236}">
                    <a16:creationId xmlns:a16="http://schemas.microsoft.com/office/drawing/2014/main" id="{D3B526F1-5481-32F8-ADC5-47290E98F5BA}"/>
                  </a:ext>
                </a:extLst>
              </p:cNvPr>
              <p:cNvGrpSpPr/>
              <p:nvPr/>
            </p:nvGrpSpPr>
            <p:grpSpPr>
              <a:xfrm>
                <a:off x="12890757" y="6145230"/>
                <a:ext cx="3986212" cy="931986"/>
                <a:chOff x="12890757" y="6799267"/>
                <a:chExt cx="3986212" cy="931986"/>
              </a:xfrm>
            </p:grpSpPr>
            <p:sp>
              <p:nvSpPr>
                <p:cNvPr id="53" name="テキスト ボックス 52">
                  <a:extLst>
                    <a:ext uri="{FF2B5EF4-FFF2-40B4-BE49-F238E27FC236}">
                      <a16:creationId xmlns:a16="http://schemas.microsoft.com/office/drawing/2014/main" id="{733DF0A7-0B3C-7189-0139-EE0FCC93175B}"/>
                    </a:ext>
                  </a:extLst>
                </p:cNvPr>
                <p:cNvSpPr txBox="1"/>
                <p:nvPr/>
              </p:nvSpPr>
              <p:spPr>
                <a:xfrm>
                  <a:off x="13760731" y="6799267"/>
                  <a:ext cx="3116238" cy="931986"/>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2600" spc="100" dirty="0">
                      <a:latin typeface="+mn-ea"/>
                    </a:rPr>
                    <a:t>もっとわかりやすく</a:t>
                  </a:r>
                  <a:br>
                    <a:rPr kumimoji="1" lang="en-US" altLang="ja-JP" sz="2600" spc="100" dirty="0">
                      <a:latin typeface="+mn-ea"/>
                    </a:rPr>
                  </a:br>
                  <a:r>
                    <a:rPr kumimoji="1" lang="ja-JP" altLang="en-US" sz="2600" spc="100" dirty="0">
                      <a:latin typeface="+mn-ea"/>
                    </a:rPr>
                    <a:t>教えて</a:t>
                  </a:r>
                </a:p>
              </p:txBody>
            </p:sp>
            <p:sp>
              <p:nvSpPr>
                <p:cNvPr id="54" name="楕円 53">
                  <a:extLst>
                    <a:ext uri="{FF2B5EF4-FFF2-40B4-BE49-F238E27FC236}">
                      <a16:creationId xmlns:a16="http://schemas.microsoft.com/office/drawing/2014/main" id="{B2E1D089-27FC-71F6-84B4-7E4A66ED7AC7}"/>
                    </a:ext>
                  </a:extLst>
                </p:cNvPr>
                <p:cNvSpPr/>
                <p:nvPr/>
              </p:nvSpPr>
              <p:spPr>
                <a:xfrm>
                  <a:off x="12890757" y="6921674"/>
                  <a:ext cx="693683" cy="693683"/>
                </a:xfrm>
                <a:prstGeom prst="ellipse">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ja-JP" altLang="en-US" dirty="0">
                      <a:solidFill>
                        <a:schemeClr val="tx1"/>
                      </a:solidFill>
                    </a:rPr>
                    <a:t>例</a:t>
                  </a:r>
                  <a:endParaRPr kumimoji="1" lang="ja-JP" altLang="en-US" dirty="0">
                    <a:solidFill>
                      <a:schemeClr val="tx1"/>
                    </a:solidFill>
                  </a:endParaRPr>
                </a:p>
              </p:txBody>
            </p:sp>
          </p:grpSp>
        </p:grpSp>
        <p:sp>
          <p:nvSpPr>
            <p:cNvPr id="50" name="四角形: 上の 2 つの角を丸める 49">
              <a:extLst>
                <a:ext uri="{FF2B5EF4-FFF2-40B4-BE49-F238E27FC236}">
                  <a16:creationId xmlns:a16="http://schemas.microsoft.com/office/drawing/2014/main" id="{77BD0A8B-3774-5DA7-2508-B933FC80AEE9}"/>
                </a:ext>
              </a:extLst>
            </p:cNvPr>
            <p:cNvSpPr/>
            <p:nvPr/>
          </p:nvSpPr>
          <p:spPr>
            <a:xfrm>
              <a:off x="12838007" y="3427713"/>
              <a:ext cx="1418750" cy="452554"/>
            </a:xfrm>
            <a:prstGeom prst="round2SameRect">
              <a:avLst>
                <a:gd name="adj1" fmla="val 22191"/>
                <a:gd name="adj2" fmla="val 0"/>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手順３</a:t>
              </a:r>
              <a:endParaRPr kumimoji="1" lang="ja-JP" altLang="en-US" sz="2400" spc="300" dirty="0">
                <a:solidFill>
                  <a:schemeClr val="bg1"/>
                </a:solidFill>
                <a:latin typeface="+mj-ea"/>
                <a:ea typeface="+mj-ea"/>
              </a:endParaRPr>
            </a:p>
          </p:txBody>
        </p:sp>
      </p:grpSp>
      <p:grpSp>
        <p:nvGrpSpPr>
          <p:cNvPr id="55" name="グループ化 54">
            <a:extLst>
              <a:ext uri="{FF2B5EF4-FFF2-40B4-BE49-F238E27FC236}">
                <a16:creationId xmlns:a16="http://schemas.microsoft.com/office/drawing/2014/main" id="{97A1E002-41BF-1A7B-CB4F-21B4ECA518DA}"/>
              </a:ext>
            </a:extLst>
          </p:cNvPr>
          <p:cNvGrpSpPr/>
          <p:nvPr/>
        </p:nvGrpSpPr>
        <p:grpSpPr>
          <a:xfrm>
            <a:off x="11745492" y="3602983"/>
            <a:ext cx="2122736" cy="856007"/>
            <a:chOff x="10670061" y="7220607"/>
            <a:chExt cx="2122736" cy="856007"/>
          </a:xfrm>
        </p:grpSpPr>
        <p:cxnSp>
          <p:nvCxnSpPr>
            <p:cNvPr id="56" name="直線コネクタ 55">
              <a:extLst>
                <a:ext uri="{FF2B5EF4-FFF2-40B4-BE49-F238E27FC236}">
                  <a16:creationId xmlns:a16="http://schemas.microsoft.com/office/drawing/2014/main" id="{1DB60279-ACF0-365B-F8CA-73A932C467C4}"/>
                </a:ext>
              </a:extLst>
            </p:cNvPr>
            <p:cNvCxnSpPr>
              <a:cxnSpLocks/>
            </p:cNvCxnSpPr>
            <p:nvPr/>
          </p:nvCxnSpPr>
          <p:spPr>
            <a:xfrm flipV="1">
              <a:off x="10670061" y="7220607"/>
              <a:ext cx="344781" cy="856007"/>
            </a:xfrm>
            <a:prstGeom prst="line">
              <a:avLst/>
            </a:prstGeom>
            <a:ln w="38100" cap="rnd">
              <a:solidFill>
                <a:schemeClr val="accent1"/>
              </a:solidFill>
              <a:round/>
              <a:headEnd type="oval"/>
            </a:ln>
          </p:spPr>
          <p:style>
            <a:lnRef idx="1">
              <a:schemeClr val="accent1"/>
            </a:lnRef>
            <a:fillRef idx="0">
              <a:schemeClr val="accent1"/>
            </a:fillRef>
            <a:effectRef idx="0">
              <a:schemeClr val="accent1"/>
            </a:effectRef>
            <a:fontRef idx="minor">
              <a:schemeClr val="tx1"/>
            </a:fontRef>
          </p:style>
        </p:cxnSp>
        <p:cxnSp>
          <p:nvCxnSpPr>
            <p:cNvPr id="57" name="直線コネクタ 56">
              <a:extLst>
                <a:ext uri="{FF2B5EF4-FFF2-40B4-BE49-F238E27FC236}">
                  <a16:creationId xmlns:a16="http://schemas.microsoft.com/office/drawing/2014/main" id="{2087640D-99B4-6DA7-3010-43D8D0A0E75A}"/>
                </a:ext>
              </a:extLst>
            </p:cNvPr>
            <p:cNvCxnSpPr>
              <a:cxnSpLocks/>
            </p:cNvCxnSpPr>
            <p:nvPr/>
          </p:nvCxnSpPr>
          <p:spPr>
            <a:xfrm>
              <a:off x="11025352" y="7220607"/>
              <a:ext cx="1767445" cy="0"/>
            </a:xfrm>
            <a:prstGeom prst="line">
              <a:avLst/>
            </a:prstGeom>
            <a:ln w="38100" cap="rnd">
              <a:solidFill>
                <a:schemeClr val="accent1"/>
              </a:solidFill>
              <a:round/>
            </a:ln>
          </p:spPr>
          <p:style>
            <a:lnRef idx="1">
              <a:schemeClr val="accent1"/>
            </a:lnRef>
            <a:fillRef idx="0">
              <a:schemeClr val="accent1"/>
            </a:fillRef>
            <a:effectRef idx="0">
              <a:schemeClr val="accent1"/>
            </a:effectRef>
            <a:fontRef idx="minor">
              <a:schemeClr val="tx1"/>
            </a:fontRef>
          </p:style>
        </p:cxnSp>
      </p:grpSp>
      <p:grpSp>
        <p:nvGrpSpPr>
          <p:cNvPr id="58" name="グループ化 57">
            <a:extLst>
              <a:ext uri="{FF2B5EF4-FFF2-40B4-BE49-F238E27FC236}">
                <a16:creationId xmlns:a16="http://schemas.microsoft.com/office/drawing/2014/main" id="{8216068F-B55D-5035-EF25-52A81C8D94F8}"/>
              </a:ext>
            </a:extLst>
          </p:cNvPr>
          <p:cNvGrpSpPr/>
          <p:nvPr/>
        </p:nvGrpSpPr>
        <p:grpSpPr>
          <a:xfrm>
            <a:off x="12838007" y="1725977"/>
            <a:ext cx="4756112" cy="2289916"/>
            <a:chOff x="12838007" y="3427713"/>
            <a:chExt cx="4756112" cy="2289916"/>
          </a:xfrm>
        </p:grpSpPr>
        <p:sp>
          <p:nvSpPr>
            <p:cNvPr id="59" name="四角形: 対角を丸める 58">
              <a:extLst>
                <a:ext uri="{FF2B5EF4-FFF2-40B4-BE49-F238E27FC236}">
                  <a16:creationId xmlns:a16="http://schemas.microsoft.com/office/drawing/2014/main" id="{CE7A1EBC-1D42-0C17-CCF0-455E699E9FD0}"/>
                </a:ext>
              </a:extLst>
            </p:cNvPr>
            <p:cNvSpPr/>
            <p:nvPr/>
          </p:nvSpPr>
          <p:spPr>
            <a:xfrm>
              <a:off x="12838007" y="3895363"/>
              <a:ext cx="4756112" cy="1822266"/>
            </a:xfrm>
            <a:prstGeom prst="round2DiagRect">
              <a:avLst>
                <a:gd name="adj1" fmla="val 0"/>
                <a:gd name="adj2" fmla="val 6603"/>
              </a:avLst>
            </a:prstGeom>
            <a:solidFill>
              <a:schemeClr val="bg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252000" rIns="216000" bIns="252000" rtlCol="0" anchor="t">
              <a:noAutofit/>
            </a:bodyPr>
            <a:lstStyle/>
            <a:p>
              <a:r>
                <a:rPr kumimoji="1" lang="ja-JP" altLang="en-US" sz="2800" spc="100" dirty="0">
                  <a:solidFill>
                    <a:schemeClr val="tx1"/>
                  </a:solidFill>
                  <a:latin typeface="+mn-ea"/>
                </a:rPr>
                <a:t>入力した指示に対応した</a:t>
              </a:r>
              <a:br>
                <a:rPr kumimoji="1" lang="en-US" altLang="ja-JP" sz="2800" spc="100" dirty="0">
                  <a:solidFill>
                    <a:schemeClr val="tx1"/>
                  </a:solidFill>
                  <a:latin typeface="+mn-ea"/>
                </a:rPr>
              </a:br>
              <a:r>
                <a:rPr kumimoji="1" lang="ja-JP" altLang="en-US" sz="2800" spc="100" dirty="0">
                  <a:solidFill>
                    <a:schemeClr val="tx1"/>
                  </a:solidFill>
                  <a:latin typeface="+mn-ea"/>
                </a:rPr>
                <a:t>回答を</a:t>
              </a:r>
              <a:r>
                <a:rPr kumimoji="1" lang="en-US" altLang="ja-JP" sz="2800" spc="100" dirty="0">
                  <a:solidFill>
                    <a:schemeClr val="tx1"/>
                  </a:solidFill>
                  <a:latin typeface="+mn-ea"/>
                </a:rPr>
                <a:t>ChatGPT</a:t>
              </a:r>
              <a:r>
                <a:rPr kumimoji="1" lang="ja-JP" altLang="en-US" sz="2800" spc="100" dirty="0">
                  <a:solidFill>
                    <a:schemeClr val="tx1"/>
                  </a:solidFill>
                  <a:latin typeface="+mn-ea"/>
                </a:rPr>
                <a:t>が</a:t>
              </a:r>
              <a:br>
                <a:rPr kumimoji="1" lang="en-US" altLang="ja-JP" sz="2800" spc="100" dirty="0">
                  <a:solidFill>
                    <a:schemeClr val="tx1"/>
                  </a:solidFill>
                  <a:latin typeface="+mn-ea"/>
                </a:rPr>
              </a:br>
              <a:r>
                <a:rPr kumimoji="1" lang="ja-JP" altLang="en-US" sz="2800" spc="100" dirty="0">
                  <a:solidFill>
                    <a:schemeClr val="tx1"/>
                  </a:solidFill>
                  <a:latin typeface="+mn-ea"/>
                </a:rPr>
                <a:t>その場で生成</a:t>
              </a:r>
            </a:p>
          </p:txBody>
        </p:sp>
        <p:sp>
          <p:nvSpPr>
            <p:cNvPr id="60" name="四角形: 上の 2 つの角を丸める 59">
              <a:extLst>
                <a:ext uri="{FF2B5EF4-FFF2-40B4-BE49-F238E27FC236}">
                  <a16:creationId xmlns:a16="http://schemas.microsoft.com/office/drawing/2014/main" id="{77D21095-9D1C-FFBA-7304-2BAFE42B38AA}"/>
                </a:ext>
              </a:extLst>
            </p:cNvPr>
            <p:cNvSpPr/>
            <p:nvPr/>
          </p:nvSpPr>
          <p:spPr>
            <a:xfrm>
              <a:off x="12838007" y="3427713"/>
              <a:ext cx="1418750" cy="452554"/>
            </a:xfrm>
            <a:prstGeom prst="round2SameRect">
              <a:avLst>
                <a:gd name="adj1" fmla="val 22191"/>
                <a:gd name="adj2" fmla="val 0"/>
              </a:avLst>
            </a:prstGeom>
            <a:solidFill>
              <a:schemeClr val="accent1"/>
            </a:solidFill>
            <a:ln w="3810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手順２</a:t>
              </a:r>
              <a:endParaRPr kumimoji="1" lang="ja-JP" altLang="en-US" sz="2400" spc="300" dirty="0">
                <a:solidFill>
                  <a:schemeClr val="bg1"/>
                </a:solidFill>
                <a:latin typeface="+mj-ea"/>
                <a:ea typeface="+mj-ea"/>
              </a:endParaRPr>
            </a:p>
          </p:txBody>
        </p:sp>
      </p:grpSp>
      <p:sp>
        <p:nvSpPr>
          <p:cNvPr id="3" name="スライド番号プレースホルダー 2">
            <a:extLst>
              <a:ext uri="{FF2B5EF4-FFF2-40B4-BE49-F238E27FC236}">
                <a16:creationId xmlns:a16="http://schemas.microsoft.com/office/drawing/2014/main" id="{6FB6E764-DABE-5D29-5531-AC0E685AA364}"/>
              </a:ext>
            </a:extLst>
          </p:cNvPr>
          <p:cNvSpPr>
            <a:spLocks noGrp="1"/>
          </p:cNvSpPr>
          <p:nvPr>
            <p:ph type="sldNum" sz="quarter" idx="11"/>
          </p:nvPr>
        </p:nvSpPr>
        <p:spPr>
          <a:xfrm>
            <a:off x="17695001" y="9786651"/>
            <a:ext cx="327013" cy="307777"/>
          </a:xfrm>
        </p:spPr>
        <p:txBody>
          <a:bodyPr/>
          <a:lstStyle/>
          <a:p>
            <a:r>
              <a:rPr lang="en-US" altLang="ja-JP"/>
              <a:t>21</a:t>
            </a:r>
            <a:endParaRPr lang="ja-JP" altLang="en-US" dirty="0"/>
          </a:p>
        </p:txBody>
      </p:sp>
    </p:spTree>
    <p:extLst>
      <p:ext uri="{BB962C8B-B14F-4D97-AF65-F5344CB8AC3E}">
        <p14:creationId xmlns:p14="http://schemas.microsoft.com/office/powerpoint/2010/main" val="930080765"/>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69" name="グループ化 68">
            <a:extLst>
              <a:ext uri="{FF2B5EF4-FFF2-40B4-BE49-F238E27FC236}">
                <a16:creationId xmlns:a16="http://schemas.microsoft.com/office/drawing/2014/main" id="{BDC5A383-92D1-2400-CEFC-5292E29ED82D}"/>
              </a:ext>
            </a:extLst>
          </p:cNvPr>
          <p:cNvGrpSpPr/>
          <p:nvPr/>
        </p:nvGrpSpPr>
        <p:grpSpPr>
          <a:xfrm>
            <a:off x="1265447" y="1398228"/>
            <a:ext cx="15757106" cy="7568054"/>
            <a:chOff x="1068964" y="1398228"/>
            <a:chExt cx="16150073" cy="7568054"/>
          </a:xfrm>
        </p:grpSpPr>
        <p:grpSp>
          <p:nvGrpSpPr>
            <p:cNvPr id="64" name="グループ化 63">
              <a:extLst>
                <a:ext uri="{FF2B5EF4-FFF2-40B4-BE49-F238E27FC236}">
                  <a16:creationId xmlns:a16="http://schemas.microsoft.com/office/drawing/2014/main" id="{848AB0E1-6425-AB4D-47E4-0DF10784A048}"/>
                </a:ext>
              </a:extLst>
            </p:cNvPr>
            <p:cNvGrpSpPr/>
            <p:nvPr/>
          </p:nvGrpSpPr>
          <p:grpSpPr>
            <a:xfrm>
              <a:off x="1068964" y="1398228"/>
              <a:ext cx="16150073" cy="7568054"/>
              <a:chOff x="1096826" y="1398228"/>
              <a:chExt cx="16150073" cy="7568054"/>
            </a:xfrm>
          </p:grpSpPr>
          <p:sp>
            <p:nvSpPr>
              <p:cNvPr id="47" name="四角形: 角を丸くする 46">
                <a:extLst>
                  <a:ext uri="{FF2B5EF4-FFF2-40B4-BE49-F238E27FC236}">
                    <a16:creationId xmlns:a16="http://schemas.microsoft.com/office/drawing/2014/main" id="{F77A10E5-5F92-1792-4C3F-5CABE49826DB}"/>
                  </a:ext>
                </a:extLst>
              </p:cNvPr>
              <p:cNvSpPr/>
              <p:nvPr/>
            </p:nvSpPr>
            <p:spPr>
              <a:xfrm>
                <a:off x="1109395" y="1398228"/>
                <a:ext cx="16137504" cy="7568054"/>
              </a:xfrm>
              <a:prstGeom prst="roundRect">
                <a:avLst>
                  <a:gd name="adj" fmla="val 1259"/>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9" name="四角形: 上の 2 つの角を丸める 8">
                <a:extLst>
                  <a:ext uri="{FF2B5EF4-FFF2-40B4-BE49-F238E27FC236}">
                    <a16:creationId xmlns:a16="http://schemas.microsoft.com/office/drawing/2014/main" id="{EDD4A792-7406-405B-D820-DAFE8AE0BB97}"/>
                  </a:ext>
                </a:extLst>
              </p:cNvPr>
              <p:cNvSpPr/>
              <p:nvPr/>
            </p:nvSpPr>
            <p:spPr>
              <a:xfrm>
                <a:off x="1096826" y="1398228"/>
                <a:ext cx="16150073" cy="589335"/>
              </a:xfrm>
              <a:prstGeom prst="round2SameRect">
                <a:avLst>
                  <a:gd name="adj1" fmla="val 16162"/>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endParaRPr kumimoji="1" lang="ja-JP" altLang="en-US" sz="2800" spc="300" dirty="0">
                  <a:solidFill>
                    <a:schemeClr val="bg1"/>
                  </a:solidFill>
                  <a:latin typeface="+mj-ea"/>
                  <a:ea typeface="+mj-ea"/>
                </a:endParaRPr>
              </a:p>
            </p:txBody>
          </p:sp>
        </p:grpSp>
        <p:grpSp>
          <p:nvGrpSpPr>
            <p:cNvPr id="68" name="グループ化 67">
              <a:extLst>
                <a:ext uri="{FF2B5EF4-FFF2-40B4-BE49-F238E27FC236}">
                  <a16:creationId xmlns:a16="http://schemas.microsoft.com/office/drawing/2014/main" id="{51366803-AD33-ACAD-DACC-2FE697E1EC25}"/>
                </a:ext>
              </a:extLst>
            </p:cNvPr>
            <p:cNvGrpSpPr/>
            <p:nvPr/>
          </p:nvGrpSpPr>
          <p:grpSpPr>
            <a:xfrm>
              <a:off x="1215406" y="3721464"/>
              <a:ext cx="15857188" cy="3442104"/>
              <a:chOff x="830900" y="3721464"/>
              <a:chExt cx="16416000" cy="3442104"/>
            </a:xfrm>
          </p:grpSpPr>
          <p:cxnSp>
            <p:nvCxnSpPr>
              <p:cNvPr id="65" name="直線コネクタ 64">
                <a:extLst>
                  <a:ext uri="{FF2B5EF4-FFF2-40B4-BE49-F238E27FC236}">
                    <a16:creationId xmlns:a16="http://schemas.microsoft.com/office/drawing/2014/main" id="{F5CA023F-468C-82DE-D864-77DA2165B787}"/>
                  </a:ext>
                </a:extLst>
              </p:cNvPr>
              <p:cNvCxnSpPr>
                <a:cxnSpLocks/>
              </p:cNvCxnSpPr>
              <p:nvPr/>
            </p:nvCxnSpPr>
            <p:spPr>
              <a:xfrm>
                <a:off x="830900" y="3721464"/>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0AAEB9A0-06F7-79C7-5EB5-DD82578E88A4}"/>
                  </a:ext>
                </a:extLst>
              </p:cNvPr>
              <p:cNvCxnSpPr>
                <a:cxnSpLocks/>
              </p:cNvCxnSpPr>
              <p:nvPr/>
            </p:nvCxnSpPr>
            <p:spPr>
              <a:xfrm>
                <a:off x="830900" y="5409142"/>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3A862883-6D70-F0BC-5D68-973801505311}"/>
                  </a:ext>
                </a:extLst>
              </p:cNvPr>
              <p:cNvCxnSpPr>
                <a:cxnSpLocks/>
              </p:cNvCxnSpPr>
              <p:nvPr/>
            </p:nvCxnSpPr>
            <p:spPr>
              <a:xfrm>
                <a:off x="830900" y="7163568"/>
                <a:ext cx="16416000" cy="0"/>
              </a:xfrm>
              <a:prstGeom prst="line">
                <a:avLst/>
              </a:prstGeom>
              <a:ln w="38100" cap="rnd">
                <a:solidFill>
                  <a:schemeClr val="tx2">
                    <a:lumMod val="40000"/>
                    <a:lumOff val="60000"/>
                  </a:schemeClr>
                </a:solidFill>
                <a:prstDash val="sysDot"/>
                <a:round/>
              </a:ln>
            </p:spPr>
            <p:style>
              <a:lnRef idx="1">
                <a:schemeClr val="accent1"/>
              </a:lnRef>
              <a:fillRef idx="0">
                <a:schemeClr val="accent1"/>
              </a:fillRef>
              <a:effectRef idx="0">
                <a:schemeClr val="accent1"/>
              </a:effectRef>
              <a:fontRef idx="minor">
                <a:schemeClr val="tx1"/>
              </a:fontRef>
            </p:style>
          </p:cxnSp>
        </p:grpSp>
      </p:grpSp>
      <p:sp>
        <p:nvSpPr>
          <p:cNvPr id="4" name="タイトル 3">
            <a:extLst>
              <a:ext uri="{FF2B5EF4-FFF2-40B4-BE49-F238E27FC236}">
                <a16:creationId xmlns:a16="http://schemas.microsoft.com/office/drawing/2014/main" id="{DF771D88-E237-565F-87D3-D4224656CB3D}"/>
              </a:ext>
            </a:extLst>
          </p:cNvPr>
          <p:cNvSpPr>
            <a:spLocks noGrp="1"/>
          </p:cNvSpPr>
          <p:nvPr>
            <p:ph type="title"/>
          </p:nvPr>
        </p:nvSpPr>
        <p:spPr>
          <a:xfrm>
            <a:off x="891741" y="506301"/>
            <a:ext cx="6811160" cy="492443"/>
          </a:xfrm>
        </p:spPr>
        <p:txBody>
          <a:bodyPr/>
          <a:lstStyle/>
          <a:p>
            <a:r>
              <a:rPr lang="ja-JP" altLang="en-US" dirty="0"/>
              <a:t>生成</a:t>
            </a:r>
            <a:r>
              <a:rPr lang="en-US" altLang="ja-JP" dirty="0"/>
              <a:t>AI</a:t>
            </a:r>
            <a:r>
              <a:rPr lang="ja-JP" altLang="en-US" dirty="0"/>
              <a:t>への指示入力には工夫が必要</a:t>
            </a:r>
          </a:p>
        </p:txBody>
      </p:sp>
      <p:grpSp>
        <p:nvGrpSpPr>
          <p:cNvPr id="33" name="グループ化 32">
            <a:extLst>
              <a:ext uri="{FF2B5EF4-FFF2-40B4-BE49-F238E27FC236}">
                <a16:creationId xmlns:a16="http://schemas.microsoft.com/office/drawing/2014/main" id="{C559CBAD-1E1F-B10F-83C4-877346242B60}"/>
              </a:ext>
            </a:extLst>
          </p:cNvPr>
          <p:cNvGrpSpPr/>
          <p:nvPr/>
        </p:nvGrpSpPr>
        <p:grpSpPr>
          <a:xfrm>
            <a:off x="1583432" y="9212926"/>
            <a:ext cx="15121136" cy="558798"/>
            <a:chOff x="788860" y="9212926"/>
            <a:chExt cx="15121136" cy="558798"/>
          </a:xfrm>
        </p:grpSpPr>
        <p:sp>
          <p:nvSpPr>
            <p:cNvPr id="35" name="テキスト ボックス 34">
              <a:extLst>
                <a:ext uri="{FF2B5EF4-FFF2-40B4-BE49-F238E27FC236}">
                  <a16:creationId xmlns:a16="http://schemas.microsoft.com/office/drawing/2014/main" id="{2AF3196C-7D03-122C-C27B-527725DE97A5}"/>
                </a:ext>
              </a:extLst>
            </p:cNvPr>
            <p:cNvSpPr txBox="1"/>
            <p:nvPr/>
          </p:nvSpPr>
          <p:spPr>
            <a:xfrm>
              <a:off x="1497396" y="9271952"/>
              <a:ext cx="14412600" cy="417102"/>
            </a:xfrm>
            <a:prstGeom prst="rect">
              <a:avLst/>
            </a:prstGeom>
            <a:noFill/>
          </p:spPr>
          <p:txBody>
            <a:bodyPr wrap="none" lIns="0" tIns="0" rIns="0" bIns="0" rtlCol="0" anchor="ctr" anchorCtr="0">
              <a:spAutoFit/>
            </a:bodyPr>
            <a:lstStyle/>
            <a:p>
              <a:pPr>
                <a:lnSpc>
                  <a:spcPct val="120000"/>
                </a:lnSpc>
                <a:spcAft>
                  <a:spcPts val="1600"/>
                </a:spcAft>
                <a:buClr>
                  <a:schemeClr val="accent1"/>
                </a:buClr>
              </a:pPr>
              <a:r>
                <a:rPr kumimoji="1" lang="ja-JP" altLang="en-US" sz="2400" spc="100" dirty="0">
                  <a:latin typeface="+mn-ea"/>
                </a:rPr>
                <a:t>生成</a:t>
              </a:r>
              <a:r>
                <a:rPr kumimoji="1" lang="en-US" altLang="ja-JP" sz="2400" spc="100" dirty="0">
                  <a:latin typeface="+mn-ea"/>
                </a:rPr>
                <a:t>AI</a:t>
              </a:r>
              <a:r>
                <a:rPr kumimoji="1" lang="ja-JP" altLang="en-US" sz="2400" spc="100" dirty="0">
                  <a:latin typeface="+mn-ea"/>
                </a:rPr>
                <a:t>から最適な回答を得るための指示</a:t>
              </a:r>
              <a:r>
                <a:rPr lang="ja-JP" altLang="en-US" sz="1800" spc="100" dirty="0">
                  <a:latin typeface="+mn-ea"/>
                </a:rPr>
                <a:t>（</a:t>
              </a:r>
              <a:r>
                <a:rPr kumimoji="1" lang="ja-JP" altLang="en-US" sz="1800" spc="100" dirty="0">
                  <a:latin typeface="+mn-ea"/>
                </a:rPr>
                <a:t>プロンプト</a:t>
              </a:r>
              <a:r>
                <a:rPr lang="ja-JP" altLang="en-US" sz="1800" spc="100" dirty="0">
                  <a:latin typeface="+mn-ea"/>
                </a:rPr>
                <a:t>）</a:t>
              </a:r>
              <a:r>
                <a:rPr kumimoji="1" lang="ja-JP" altLang="en-US" sz="2400" spc="100" dirty="0">
                  <a:latin typeface="+mn-ea"/>
                </a:rPr>
                <a:t>の工夫を </a:t>
              </a:r>
              <a:r>
                <a:rPr kumimoji="1" lang="en-US" altLang="ja-JP" sz="2400" spc="100" dirty="0">
                  <a:latin typeface="+mn-ea"/>
                </a:rPr>
                <a:t>"</a:t>
              </a:r>
              <a:r>
                <a:rPr kumimoji="1" lang="ja-JP" altLang="en-US" sz="2400" b="1" spc="100" dirty="0">
                  <a:solidFill>
                    <a:schemeClr val="accent3"/>
                  </a:solidFill>
                  <a:latin typeface="+mj-ea"/>
                  <a:ea typeface="+mj-ea"/>
                </a:rPr>
                <a:t>プロンプトエンジニアリング</a:t>
              </a:r>
              <a:r>
                <a:rPr kumimoji="1" lang="en-US" altLang="ja-JP" sz="2400" spc="100" dirty="0">
                  <a:latin typeface="+mn-ea"/>
                </a:rPr>
                <a:t>" </a:t>
              </a:r>
              <a:r>
                <a:rPr kumimoji="1" lang="ja-JP" altLang="en-US" sz="2400" spc="100" dirty="0">
                  <a:latin typeface="+mn-ea"/>
                </a:rPr>
                <a:t>と呼ぶ</a:t>
              </a:r>
            </a:p>
          </p:txBody>
        </p:sp>
        <p:grpSp>
          <p:nvGrpSpPr>
            <p:cNvPr id="29" name="グループ化 28">
              <a:extLst>
                <a:ext uri="{FF2B5EF4-FFF2-40B4-BE49-F238E27FC236}">
                  <a16:creationId xmlns:a16="http://schemas.microsoft.com/office/drawing/2014/main" id="{0D7C0AB4-B8EC-5FF7-585D-1E7DA0EE61B5}"/>
                </a:ext>
              </a:extLst>
            </p:cNvPr>
            <p:cNvGrpSpPr/>
            <p:nvPr/>
          </p:nvGrpSpPr>
          <p:grpSpPr>
            <a:xfrm>
              <a:off x="788860" y="9212926"/>
              <a:ext cx="558798" cy="558798"/>
              <a:chOff x="8113986" y="273269"/>
              <a:chExt cx="641131" cy="641131"/>
            </a:xfrm>
          </p:grpSpPr>
          <p:sp>
            <p:nvSpPr>
              <p:cNvPr id="6" name="楕円 5">
                <a:extLst>
                  <a:ext uri="{FF2B5EF4-FFF2-40B4-BE49-F238E27FC236}">
                    <a16:creationId xmlns:a16="http://schemas.microsoft.com/office/drawing/2014/main" id="{6E63B269-AA14-E800-425A-B3ACA01223DC}"/>
                  </a:ext>
                </a:extLst>
              </p:cNvPr>
              <p:cNvSpPr/>
              <p:nvPr/>
            </p:nvSpPr>
            <p:spPr>
              <a:xfrm>
                <a:off x="8113986" y="273269"/>
                <a:ext cx="641131" cy="641131"/>
              </a:xfrm>
              <a:prstGeom prst="ellips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E0E606C0-29CB-8814-81AF-DEE7B03A69F4}"/>
                  </a:ext>
                </a:extLst>
              </p:cNvPr>
              <p:cNvSpPr txBox="1"/>
              <p:nvPr/>
            </p:nvSpPr>
            <p:spPr>
              <a:xfrm>
                <a:off x="8387354" y="387977"/>
                <a:ext cx="94394" cy="411715"/>
              </a:xfrm>
              <a:custGeom>
                <a:avLst/>
                <a:gdLst>
                  <a:gd name="connsiteX0" fmla="*/ 65327 w 130654"/>
                  <a:gd name="connsiteY0" fmla="*/ 439217 h 569871"/>
                  <a:gd name="connsiteX1" fmla="*/ 111807 w 130654"/>
                  <a:gd name="connsiteY1" fmla="*/ 458062 h 569871"/>
                  <a:gd name="connsiteX2" fmla="*/ 130654 w 130654"/>
                  <a:gd name="connsiteY2" fmla="*/ 504544 h 569871"/>
                  <a:gd name="connsiteX3" fmla="*/ 111807 w 130654"/>
                  <a:gd name="connsiteY3" fmla="*/ 551027 h 569871"/>
                  <a:gd name="connsiteX4" fmla="*/ 65327 w 130654"/>
                  <a:gd name="connsiteY4" fmla="*/ 569871 h 569871"/>
                  <a:gd name="connsiteX5" fmla="*/ 18847 w 130654"/>
                  <a:gd name="connsiteY5" fmla="*/ 551027 h 569871"/>
                  <a:gd name="connsiteX6" fmla="*/ 0 w 130654"/>
                  <a:gd name="connsiteY6" fmla="*/ 504544 h 569871"/>
                  <a:gd name="connsiteX7" fmla="*/ 18847 w 130654"/>
                  <a:gd name="connsiteY7" fmla="*/ 458062 h 569871"/>
                  <a:gd name="connsiteX8" fmla="*/ 65327 w 130654"/>
                  <a:gd name="connsiteY8" fmla="*/ 439217 h 569871"/>
                  <a:gd name="connsiteX9" fmla="*/ 13411 w 130654"/>
                  <a:gd name="connsiteY9" fmla="*/ 0 h 569871"/>
                  <a:gd name="connsiteX10" fmla="*/ 117243 w 130654"/>
                  <a:gd name="connsiteY10" fmla="*/ 0 h 569871"/>
                  <a:gd name="connsiteX11" fmla="*/ 117243 w 130654"/>
                  <a:gd name="connsiteY11" fmla="*/ 388925 h 569871"/>
                  <a:gd name="connsiteX12" fmla="*/ 13411 w 130654"/>
                  <a:gd name="connsiteY12" fmla="*/ 388925 h 56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654" h="569871">
                    <a:moveTo>
                      <a:pt x="65327" y="439217"/>
                    </a:moveTo>
                    <a:cubicBezTo>
                      <a:pt x="84168" y="439636"/>
                      <a:pt x="99662" y="445917"/>
                      <a:pt x="111807" y="458062"/>
                    </a:cubicBezTo>
                    <a:cubicBezTo>
                      <a:pt x="123953" y="470206"/>
                      <a:pt x="130235" y="485700"/>
                      <a:pt x="130654" y="504544"/>
                    </a:cubicBezTo>
                    <a:cubicBezTo>
                      <a:pt x="130235" y="523389"/>
                      <a:pt x="123953" y="538883"/>
                      <a:pt x="111807" y="551027"/>
                    </a:cubicBezTo>
                    <a:cubicBezTo>
                      <a:pt x="99662" y="563171"/>
                      <a:pt x="84168" y="569453"/>
                      <a:pt x="65327" y="569871"/>
                    </a:cubicBezTo>
                    <a:cubicBezTo>
                      <a:pt x="46486" y="569453"/>
                      <a:pt x="30993" y="563171"/>
                      <a:pt x="18847" y="551027"/>
                    </a:cubicBezTo>
                    <a:cubicBezTo>
                      <a:pt x="6702" y="538883"/>
                      <a:pt x="419" y="523389"/>
                      <a:pt x="0" y="504544"/>
                    </a:cubicBezTo>
                    <a:cubicBezTo>
                      <a:pt x="419" y="485700"/>
                      <a:pt x="6702" y="470206"/>
                      <a:pt x="18847" y="458062"/>
                    </a:cubicBezTo>
                    <a:cubicBezTo>
                      <a:pt x="30993" y="445917"/>
                      <a:pt x="46486" y="439636"/>
                      <a:pt x="65327" y="439217"/>
                    </a:cubicBezTo>
                    <a:close/>
                    <a:moveTo>
                      <a:pt x="13411" y="0"/>
                    </a:moveTo>
                    <a:lnTo>
                      <a:pt x="117243" y="0"/>
                    </a:lnTo>
                    <a:lnTo>
                      <a:pt x="117243" y="388925"/>
                    </a:lnTo>
                    <a:lnTo>
                      <a:pt x="13411" y="388925"/>
                    </a:lnTo>
                    <a:close/>
                  </a:path>
                </a:pathLst>
              </a:custGeom>
              <a:solidFill>
                <a:schemeClr val="bg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6600" spc="100" dirty="0">
                  <a:latin typeface="M PLUS 1p Medium" panose="020B0602020203020207" pitchFamily="50" charset="-128"/>
                </a:endParaRPr>
              </a:p>
            </p:txBody>
          </p:sp>
        </p:grpSp>
      </p:grpSp>
      <p:sp>
        <p:nvSpPr>
          <p:cNvPr id="38" name="テキスト ボックス 37">
            <a:extLst>
              <a:ext uri="{FF2B5EF4-FFF2-40B4-BE49-F238E27FC236}">
                <a16:creationId xmlns:a16="http://schemas.microsoft.com/office/drawing/2014/main" id="{9CD9A2A0-6DAA-F28E-ABC9-94F0F846F33E}"/>
              </a:ext>
            </a:extLst>
          </p:cNvPr>
          <p:cNvSpPr txBox="1"/>
          <p:nvPr/>
        </p:nvSpPr>
        <p:spPr>
          <a:xfrm>
            <a:off x="4617625" y="1473834"/>
            <a:ext cx="746999" cy="417102"/>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2400" spc="100" dirty="0">
                <a:solidFill>
                  <a:schemeClr val="bg1"/>
                </a:solidFill>
                <a:latin typeface="+mj-ea"/>
                <a:ea typeface="+mj-ea"/>
              </a:rPr>
              <a:t>工 夫</a:t>
            </a:r>
          </a:p>
        </p:txBody>
      </p:sp>
      <p:grpSp>
        <p:nvGrpSpPr>
          <p:cNvPr id="49" name="グループ化 48">
            <a:extLst>
              <a:ext uri="{FF2B5EF4-FFF2-40B4-BE49-F238E27FC236}">
                <a16:creationId xmlns:a16="http://schemas.microsoft.com/office/drawing/2014/main" id="{D289C009-1E9D-4B54-D955-76B5AF9A7295}"/>
              </a:ext>
            </a:extLst>
          </p:cNvPr>
          <p:cNvGrpSpPr/>
          <p:nvPr/>
        </p:nvGrpSpPr>
        <p:grpSpPr>
          <a:xfrm>
            <a:off x="10804559" y="1463922"/>
            <a:ext cx="3782495" cy="436927"/>
            <a:chOff x="10561966" y="1507628"/>
            <a:chExt cx="3782495" cy="436927"/>
          </a:xfrm>
        </p:grpSpPr>
        <p:sp>
          <p:nvSpPr>
            <p:cNvPr id="10" name="グラフィックス 5">
              <a:extLst>
                <a:ext uri="{FF2B5EF4-FFF2-40B4-BE49-F238E27FC236}">
                  <a16:creationId xmlns:a16="http://schemas.microsoft.com/office/drawing/2014/main" id="{8B30F0C0-47C9-3FA0-541E-7B053300A742}"/>
                </a:ext>
              </a:extLst>
            </p:cNvPr>
            <p:cNvSpPr/>
            <p:nvPr/>
          </p:nvSpPr>
          <p:spPr>
            <a:xfrm>
              <a:off x="10561966" y="1536483"/>
              <a:ext cx="482293" cy="408072"/>
            </a:xfrm>
            <a:custGeom>
              <a:avLst/>
              <a:gdLst>
                <a:gd name="connsiteX0" fmla="*/ 293641 w 381740"/>
                <a:gd name="connsiteY0" fmla="*/ 0 h 322993"/>
                <a:gd name="connsiteX1" fmla="*/ 88100 w 381740"/>
                <a:gd name="connsiteY1" fmla="*/ 0 h 322993"/>
                <a:gd name="connsiteX2" fmla="*/ 8 w 381740"/>
                <a:gd name="connsiteY2" fmla="*/ 90421 h 322993"/>
                <a:gd name="connsiteX3" fmla="*/ 11 w 381740"/>
                <a:gd name="connsiteY3" fmla="*/ 90585 h 322993"/>
                <a:gd name="connsiteX4" fmla="*/ 11 w 381740"/>
                <a:gd name="connsiteY4" fmla="*/ 322993 h 322993"/>
                <a:gd name="connsiteX5" fmla="*/ 75327 w 381740"/>
                <a:gd name="connsiteY5" fmla="*/ 245475 h 322993"/>
                <a:gd name="connsiteX6" fmla="*/ 293641 w 381740"/>
                <a:gd name="connsiteY6" fmla="*/ 245475 h 322993"/>
                <a:gd name="connsiteX7" fmla="*/ 381733 w 381740"/>
                <a:gd name="connsiteY7" fmla="*/ 155054 h 322993"/>
                <a:gd name="connsiteX8" fmla="*/ 381730 w 381740"/>
                <a:gd name="connsiteY8" fmla="*/ 154890 h 322993"/>
                <a:gd name="connsiteX9" fmla="*/ 381730 w 381740"/>
                <a:gd name="connsiteY9" fmla="*/ 90585 h 322993"/>
                <a:gd name="connsiteX10" fmla="*/ 293806 w 381740"/>
                <a:gd name="connsiteY10" fmla="*/ 3 h 322993"/>
                <a:gd name="connsiteX11" fmla="*/ 293641 w 381740"/>
                <a:gd name="connsiteY11" fmla="*/ 0 h 3229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381740" h="322993">
                  <a:moveTo>
                    <a:pt x="293641" y="0"/>
                  </a:moveTo>
                  <a:lnTo>
                    <a:pt x="88100" y="0"/>
                  </a:lnTo>
                  <a:cubicBezTo>
                    <a:pt x="38805" y="643"/>
                    <a:pt x="-635" y="41126"/>
                    <a:pt x="8" y="90421"/>
                  </a:cubicBezTo>
                  <a:cubicBezTo>
                    <a:pt x="9" y="90475"/>
                    <a:pt x="9" y="90531"/>
                    <a:pt x="11" y="90585"/>
                  </a:cubicBezTo>
                  <a:lnTo>
                    <a:pt x="11" y="322993"/>
                  </a:lnTo>
                  <a:lnTo>
                    <a:pt x="75327" y="245475"/>
                  </a:lnTo>
                  <a:lnTo>
                    <a:pt x="293641" y="245475"/>
                  </a:lnTo>
                  <a:cubicBezTo>
                    <a:pt x="342936" y="244832"/>
                    <a:pt x="382376" y="204349"/>
                    <a:pt x="381733" y="155054"/>
                  </a:cubicBezTo>
                  <a:cubicBezTo>
                    <a:pt x="381732" y="155000"/>
                    <a:pt x="381732" y="154944"/>
                    <a:pt x="381730" y="154890"/>
                  </a:cubicBezTo>
                  <a:lnTo>
                    <a:pt x="381730" y="90585"/>
                  </a:lnTo>
                  <a:cubicBezTo>
                    <a:pt x="382464" y="41292"/>
                    <a:pt x="343099" y="736"/>
                    <a:pt x="293806" y="3"/>
                  </a:cubicBezTo>
                  <a:cubicBezTo>
                    <a:pt x="293751" y="1"/>
                    <a:pt x="293695" y="0"/>
                    <a:pt x="293641" y="0"/>
                  </a:cubicBezTo>
                  <a:close/>
                </a:path>
              </a:pathLst>
            </a:custGeom>
            <a:solidFill>
              <a:schemeClr val="bg1"/>
            </a:solidFill>
            <a:ln w="28972" cap="rnd">
              <a:noFill/>
              <a:prstDash val="solid"/>
              <a:round/>
            </a:ln>
          </p:spPr>
          <p:txBody>
            <a:bodyPr rtlCol="0" anchor="ctr"/>
            <a:lstStyle/>
            <a:p>
              <a:endParaRPr lang="ja-JP" altLang="en-US" sz="2400"/>
            </a:p>
          </p:txBody>
        </p:sp>
        <p:sp>
          <p:nvSpPr>
            <p:cNvPr id="48" name="テキスト ボックス 47">
              <a:extLst>
                <a:ext uri="{FF2B5EF4-FFF2-40B4-BE49-F238E27FC236}">
                  <a16:creationId xmlns:a16="http://schemas.microsoft.com/office/drawing/2014/main" id="{F30913D2-CBD3-2869-8623-4FA2398CF620}"/>
                </a:ext>
              </a:extLst>
            </p:cNvPr>
            <p:cNvSpPr txBox="1"/>
            <p:nvPr/>
          </p:nvSpPr>
          <p:spPr>
            <a:xfrm>
              <a:off x="11279519" y="1507628"/>
              <a:ext cx="3064942" cy="417102"/>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2400" spc="100" dirty="0">
                  <a:solidFill>
                    <a:schemeClr val="bg1"/>
                  </a:solidFill>
                  <a:latin typeface="+mj-ea"/>
                  <a:ea typeface="+mj-ea"/>
                </a:rPr>
                <a:t>指示 </a:t>
              </a:r>
              <a:r>
                <a:rPr kumimoji="1" lang="en-US" altLang="ja-JP" sz="2400" spc="100" dirty="0">
                  <a:solidFill>
                    <a:schemeClr val="bg1"/>
                  </a:solidFill>
                  <a:latin typeface="+mj-ea"/>
                  <a:ea typeface="+mj-ea"/>
                </a:rPr>
                <a:t>(</a:t>
              </a:r>
              <a:r>
                <a:rPr kumimoji="1" lang="ja-JP" altLang="en-US" sz="2400" spc="100" dirty="0">
                  <a:solidFill>
                    <a:schemeClr val="bg1"/>
                  </a:solidFill>
                  <a:latin typeface="+mj-ea"/>
                  <a:ea typeface="+mj-ea"/>
                </a:rPr>
                <a:t>プロンプト</a:t>
              </a:r>
              <a:r>
                <a:rPr kumimoji="1" lang="en-US" altLang="ja-JP" sz="2400" spc="100" dirty="0">
                  <a:solidFill>
                    <a:schemeClr val="bg1"/>
                  </a:solidFill>
                  <a:latin typeface="+mj-ea"/>
                  <a:ea typeface="+mj-ea"/>
                </a:rPr>
                <a:t>) </a:t>
              </a:r>
              <a:r>
                <a:rPr kumimoji="1" lang="ja-JP" altLang="en-US" sz="2400" spc="100" dirty="0">
                  <a:solidFill>
                    <a:schemeClr val="bg1"/>
                  </a:solidFill>
                  <a:latin typeface="+mj-ea"/>
                  <a:ea typeface="+mj-ea"/>
                </a:rPr>
                <a:t>例</a:t>
              </a:r>
            </a:p>
          </p:txBody>
        </p:sp>
      </p:grpSp>
      <p:grpSp>
        <p:nvGrpSpPr>
          <p:cNvPr id="63" name="グループ化 62">
            <a:extLst>
              <a:ext uri="{FF2B5EF4-FFF2-40B4-BE49-F238E27FC236}">
                <a16:creationId xmlns:a16="http://schemas.microsoft.com/office/drawing/2014/main" id="{21A88984-2090-9498-50FE-140A5CD0F774}"/>
              </a:ext>
            </a:extLst>
          </p:cNvPr>
          <p:cNvGrpSpPr/>
          <p:nvPr/>
        </p:nvGrpSpPr>
        <p:grpSpPr>
          <a:xfrm>
            <a:off x="1821695" y="2195387"/>
            <a:ext cx="14830323" cy="6519906"/>
            <a:chOff x="1736416" y="2174367"/>
            <a:chExt cx="14830323" cy="6519906"/>
          </a:xfrm>
        </p:grpSpPr>
        <p:grpSp>
          <p:nvGrpSpPr>
            <p:cNvPr id="59" name="グループ化 58">
              <a:extLst>
                <a:ext uri="{FF2B5EF4-FFF2-40B4-BE49-F238E27FC236}">
                  <a16:creationId xmlns:a16="http://schemas.microsoft.com/office/drawing/2014/main" id="{1F3BECAD-8B4C-4D14-DB2A-7D8AF42479DC}"/>
                </a:ext>
              </a:extLst>
            </p:cNvPr>
            <p:cNvGrpSpPr/>
            <p:nvPr/>
          </p:nvGrpSpPr>
          <p:grpSpPr>
            <a:xfrm>
              <a:off x="1736416" y="2174367"/>
              <a:ext cx="14830323" cy="1349024"/>
              <a:chOff x="1736416" y="2340617"/>
              <a:chExt cx="14830323" cy="1349024"/>
            </a:xfrm>
          </p:grpSpPr>
          <p:sp>
            <p:nvSpPr>
              <p:cNvPr id="11" name="テキスト ボックス 10">
                <a:extLst>
                  <a:ext uri="{FF2B5EF4-FFF2-40B4-BE49-F238E27FC236}">
                    <a16:creationId xmlns:a16="http://schemas.microsoft.com/office/drawing/2014/main" id="{964D8CC2-48BE-7ED7-26F2-41E4948DAA54}"/>
                  </a:ext>
                </a:extLst>
              </p:cNvPr>
              <p:cNvSpPr txBox="1"/>
              <p:nvPr/>
            </p:nvSpPr>
            <p:spPr>
              <a:xfrm>
                <a:off x="2627979" y="2441575"/>
                <a:ext cx="3808735" cy="1147109"/>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3200" spc="100" dirty="0">
                    <a:latin typeface="+mj-ea"/>
                    <a:ea typeface="+mj-ea"/>
                  </a:rPr>
                  <a:t>目的・詳細な設定・</a:t>
                </a:r>
                <a:br>
                  <a:rPr kumimoji="1" lang="en-US" altLang="ja-JP" sz="3200" spc="100" dirty="0">
                    <a:latin typeface="+mj-ea"/>
                    <a:ea typeface="+mj-ea"/>
                  </a:rPr>
                </a:br>
                <a:r>
                  <a:rPr kumimoji="1" lang="ja-JP" altLang="en-US" sz="3200" spc="100" dirty="0">
                    <a:latin typeface="+mj-ea"/>
                    <a:ea typeface="+mj-ea"/>
                  </a:rPr>
                  <a:t>検討の材料を書く</a:t>
                </a:r>
              </a:p>
            </p:txBody>
          </p:sp>
          <p:sp>
            <p:nvSpPr>
              <p:cNvPr id="14" name="楕円 13">
                <a:extLst>
                  <a:ext uri="{FF2B5EF4-FFF2-40B4-BE49-F238E27FC236}">
                    <a16:creationId xmlns:a16="http://schemas.microsoft.com/office/drawing/2014/main" id="{8DFDD19E-02F0-FCD1-9AFB-8A259F2FE3C2}"/>
                  </a:ext>
                </a:extLst>
              </p:cNvPr>
              <p:cNvSpPr>
                <a:spLocks noChangeAspect="1"/>
              </p:cNvSpPr>
              <p:nvPr/>
            </p:nvSpPr>
            <p:spPr>
              <a:xfrm>
                <a:off x="1736416" y="268288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3200" spc="200" dirty="0">
                    <a:solidFill>
                      <a:schemeClr val="bg1"/>
                    </a:solidFill>
                    <a:latin typeface="+mj-ea"/>
                    <a:ea typeface="+mj-ea"/>
                  </a:rPr>
                  <a:t>1</a:t>
                </a:r>
                <a:endParaRPr kumimoji="1" lang="ja-JP" altLang="en-US" sz="3200" spc="200" dirty="0">
                  <a:solidFill>
                    <a:schemeClr val="bg1"/>
                  </a:solidFill>
                  <a:latin typeface="+mj-ea"/>
                  <a:ea typeface="+mj-ea"/>
                </a:endParaRPr>
              </a:p>
            </p:txBody>
          </p:sp>
          <p:sp>
            <p:nvSpPr>
              <p:cNvPr id="25" name="テキスト ボックス 24">
                <a:extLst>
                  <a:ext uri="{FF2B5EF4-FFF2-40B4-BE49-F238E27FC236}">
                    <a16:creationId xmlns:a16="http://schemas.microsoft.com/office/drawing/2014/main" id="{87B63F88-86BB-677A-AF3A-983A9797ED0D}"/>
                  </a:ext>
                </a:extLst>
              </p:cNvPr>
              <p:cNvSpPr txBox="1"/>
              <p:nvPr/>
            </p:nvSpPr>
            <p:spPr>
              <a:xfrm>
                <a:off x="8654317" y="2355974"/>
                <a:ext cx="7912422" cy="1318310"/>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この質問は、</a:t>
                </a:r>
                <a:r>
                  <a:rPr kumimoji="1" lang="en-US" altLang="ja-JP" sz="2300" spc="100" dirty="0">
                    <a:latin typeface="+mn-ea"/>
                  </a:rPr>
                  <a:t>XXX</a:t>
                </a:r>
                <a:r>
                  <a:rPr kumimoji="1" lang="ja-JP" altLang="en-US" sz="2300" spc="100" dirty="0">
                    <a:latin typeface="+mn-ea"/>
                  </a:rPr>
                  <a:t>を作成するために聞いています</a:t>
                </a:r>
              </a:p>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なお、</a:t>
                </a:r>
                <a:r>
                  <a:rPr kumimoji="1" lang="en-US" altLang="ja-JP" sz="2300" spc="100" dirty="0">
                    <a:latin typeface="+mn-ea"/>
                  </a:rPr>
                  <a:t>8</a:t>
                </a:r>
                <a:r>
                  <a:rPr kumimoji="1" lang="ja-JP" altLang="en-US" sz="2300" spc="100" dirty="0">
                    <a:latin typeface="+mn-ea"/>
                  </a:rPr>
                  <a:t>月の夏休みに行く旅行について検討しています</a:t>
                </a:r>
              </a:p>
              <a:p>
                <a:pPr marL="324000" indent="-324000">
                  <a:spcAft>
                    <a:spcPts val="1000"/>
                  </a:spcAft>
                  <a:buClr>
                    <a:schemeClr val="accent1"/>
                  </a:buClr>
                  <a:buFont typeface="Wingdings" panose="05000000000000000000" pitchFamily="2" charset="2"/>
                  <a:buChar char="l"/>
                </a:pPr>
                <a:r>
                  <a:rPr kumimoji="1" lang="en-US" altLang="ja-JP" sz="2300" spc="100" dirty="0">
                    <a:latin typeface="+mn-ea"/>
                  </a:rPr>
                  <a:t>XXX</a:t>
                </a:r>
                <a:r>
                  <a:rPr kumimoji="1" lang="ja-JP" altLang="en-US" sz="2300" spc="100" dirty="0">
                    <a:latin typeface="+mn-ea"/>
                  </a:rPr>
                  <a:t>の文脈に絞って、</a:t>
                </a:r>
                <a:r>
                  <a:rPr kumimoji="1" lang="en-US" altLang="ja-JP" sz="2300" spc="100" dirty="0">
                    <a:latin typeface="+mn-ea"/>
                  </a:rPr>
                  <a:t>XXX</a:t>
                </a:r>
                <a:r>
                  <a:rPr kumimoji="1" lang="ja-JP" altLang="en-US" sz="2300" spc="100" dirty="0">
                    <a:latin typeface="+mn-ea"/>
                  </a:rPr>
                  <a:t>について教えてください</a:t>
                </a:r>
              </a:p>
            </p:txBody>
          </p:sp>
          <p:sp>
            <p:nvSpPr>
              <p:cNvPr id="58" name="グラフィックス 36">
                <a:extLst>
                  <a:ext uri="{FF2B5EF4-FFF2-40B4-BE49-F238E27FC236}">
                    <a16:creationId xmlns:a16="http://schemas.microsoft.com/office/drawing/2014/main" id="{069A74B1-FF7A-4E10-7B07-8D71371C4E74}"/>
                  </a:ext>
                </a:extLst>
              </p:cNvPr>
              <p:cNvSpPr/>
              <p:nvPr/>
            </p:nvSpPr>
            <p:spPr>
              <a:xfrm>
                <a:off x="8180223" y="234061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a:p>
            </p:txBody>
          </p:sp>
        </p:grpSp>
        <p:grpSp>
          <p:nvGrpSpPr>
            <p:cNvPr id="60" name="グループ化 59">
              <a:extLst>
                <a:ext uri="{FF2B5EF4-FFF2-40B4-BE49-F238E27FC236}">
                  <a16:creationId xmlns:a16="http://schemas.microsoft.com/office/drawing/2014/main" id="{DBA30984-DB3C-EC87-6281-FE22E2516141}"/>
                </a:ext>
              </a:extLst>
            </p:cNvPr>
            <p:cNvGrpSpPr/>
            <p:nvPr/>
          </p:nvGrpSpPr>
          <p:grpSpPr>
            <a:xfrm>
              <a:off x="1736416" y="3869771"/>
              <a:ext cx="14298125" cy="1349024"/>
              <a:chOff x="1736416" y="3978487"/>
              <a:chExt cx="14298125" cy="1349024"/>
            </a:xfrm>
          </p:grpSpPr>
          <p:sp>
            <p:nvSpPr>
              <p:cNvPr id="17" name="テキスト ボックス 16">
                <a:extLst>
                  <a:ext uri="{FF2B5EF4-FFF2-40B4-BE49-F238E27FC236}">
                    <a16:creationId xmlns:a16="http://schemas.microsoft.com/office/drawing/2014/main" id="{9C65E3D6-6F78-7DC8-725A-4CCA0FC00ECD}"/>
                  </a:ext>
                </a:extLst>
              </p:cNvPr>
              <p:cNvSpPr txBox="1"/>
              <p:nvPr/>
            </p:nvSpPr>
            <p:spPr>
              <a:xfrm>
                <a:off x="2627979" y="4374910"/>
                <a:ext cx="4655121" cy="55617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3200" spc="100" dirty="0">
                    <a:latin typeface="+mj-ea"/>
                    <a:ea typeface="+mj-ea"/>
                  </a:rPr>
                  <a:t>欲しい回答の例を与える</a:t>
                </a:r>
              </a:p>
            </p:txBody>
          </p:sp>
          <p:sp>
            <p:nvSpPr>
              <p:cNvPr id="18" name="楕円 17">
                <a:extLst>
                  <a:ext uri="{FF2B5EF4-FFF2-40B4-BE49-F238E27FC236}">
                    <a16:creationId xmlns:a16="http://schemas.microsoft.com/office/drawing/2014/main" id="{B1D040A3-8788-E491-5CC2-C13720C145FC}"/>
                  </a:ext>
                </a:extLst>
              </p:cNvPr>
              <p:cNvSpPr>
                <a:spLocks noChangeAspect="1"/>
              </p:cNvSpPr>
              <p:nvPr/>
            </p:nvSpPr>
            <p:spPr>
              <a:xfrm>
                <a:off x="1736416" y="4320756"/>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3200" spc="200" dirty="0">
                    <a:solidFill>
                      <a:schemeClr val="bg1"/>
                    </a:solidFill>
                    <a:latin typeface="+mj-ea"/>
                    <a:ea typeface="+mj-ea"/>
                  </a:rPr>
                  <a:t>2</a:t>
                </a:r>
                <a:endParaRPr kumimoji="1" lang="ja-JP" altLang="en-US" sz="3200" spc="200" dirty="0">
                  <a:solidFill>
                    <a:schemeClr val="bg1"/>
                  </a:solidFill>
                  <a:latin typeface="+mj-ea"/>
                  <a:ea typeface="+mj-ea"/>
                </a:endParaRPr>
              </a:p>
            </p:txBody>
          </p:sp>
          <p:sp>
            <p:nvSpPr>
              <p:cNvPr id="26" name="テキスト ボックス 25">
                <a:extLst>
                  <a:ext uri="{FF2B5EF4-FFF2-40B4-BE49-F238E27FC236}">
                    <a16:creationId xmlns:a16="http://schemas.microsoft.com/office/drawing/2014/main" id="{AEEE563E-26D2-0272-1CB1-2EA8755C7EF6}"/>
                  </a:ext>
                </a:extLst>
              </p:cNvPr>
              <p:cNvSpPr txBox="1"/>
              <p:nvPr/>
            </p:nvSpPr>
            <p:spPr>
              <a:xfrm>
                <a:off x="8654316" y="4206723"/>
                <a:ext cx="7380225" cy="892552"/>
              </a:xfrm>
              <a:prstGeom prst="rect">
                <a:avLst/>
              </a:prstGeom>
              <a:noFill/>
            </p:spPr>
            <p:txBody>
              <a:bodyPr wrap="none" lIns="0" tIns="0" rIns="0" bIns="0" rtlCol="0" anchor="ctr">
                <a:spAutoFit/>
              </a:bodyPr>
              <a:lstStyle/>
              <a:p>
                <a:pPr marL="324000" indent="-324000">
                  <a:spcAft>
                    <a:spcPts val="1200"/>
                  </a:spcAft>
                  <a:buClr>
                    <a:schemeClr val="accent1"/>
                  </a:buClr>
                  <a:buFont typeface="Wingdings" panose="05000000000000000000" pitchFamily="2" charset="2"/>
                  <a:buChar char="l"/>
                </a:pPr>
                <a:r>
                  <a:rPr kumimoji="1" lang="en-US" altLang="ja-JP" sz="2300" spc="100" dirty="0">
                    <a:latin typeface="+mn-ea"/>
                  </a:rPr>
                  <a:t>XXX</a:t>
                </a:r>
                <a:r>
                  <a:rPr kumimoji="1" lang="ja-JP" altLang="en-US" sz="2300" spc="100" dirty="0">
                    <a:latin typeface="+mn-ea"/>
                  </a:rPr>
                  <a:t>のような事例を探しています</a:t>
                </a:r>
              </a:p>
              <a:p>
                <a:pPr marL="324000" indent="-324000">
                  <a:spcAft>
                    <a:spcPts val="1200"/>
                  </a:spcAft>
                  <a:buClr>
                    <a:schemeClr val="accent1"/>
                  </a:buClr>
                  <a:buFont typeface="Wingdings" panose="05000000000000000000" pitchFamily="2" charset="2"/>
                  <a:buChar char="l"/>
                </a:pPr>
                <a:r>
                  <a:rPr kumimoji="1" lang="ja-JP" altLang="en-US" sz="2300" spc="100" dirty="0">
                    <a:latin typeface="+mn-ea"/>
                  </a:rPr>
                  <a:t>以下の例を参考に、類似のものを調べてください</a:t>
                </a:r>
              </a:p>
            </p:txBody>
          </p:sp>
          <p:sp>
            <p:nvSpPr>
              <p:cNvPr id="57" name="グラフィックス 51">
                <a:extLst>
                  <a:ext uri="{FF2B5EF4-FFF2-40B4-BE49-F238E27FC236}">
                    <a16:creationId xmlns:a16="http://schemas.microsoft.com/office/drawing/2014/main" id="{E27B8A30-B04F-0C3A-4B40-5FDE1B3456CC}"/>
                  </a:ext>
                </a:extLst>
              </p:cNvPr>
              <p:cNvSpPr/>
              <p:nvPr/>
            </p:nvSpPr>
            <p:spPr>
              <a:xfrm>
                <a:off x="8180223" y="3978487"/>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a:p>
            </p:txBody>
          </p:sp>
        </p:grpSp>
        <p:grpSp>
          <p:nvGrpSpPr>
            <p:cNvPr id="61" name="グループ化 60">
              <a:extLst>
                <a:ext uri="{FF2B5EF4-FFF2-40B4-BE49-F238E27FC236}">
                  <a16:creationId xmlns:a16="http://schemas.microsoft.com/office/drawing/2014/main" id="{86B5506B-38C3-F973-FDAC-23A5257B086B}"/>
                </a:ext>
              </a:extLst>
            </p:cNvPr>
            <p:cNvGrpSpPr/>
            <p:nvPr/>
          </p:nvGrpSpPr>
          <p:grpSpPr>
            <a:xfrm>
              <a:off x="1736416" y="5590823"/>
              <a:ext cx="13725853" cy="1349024"/>
              <a:chOff x="1736416" y="5557396"/>
              <a:chExt cx="13725853" cy="1349024"/>
            </a:xfrm>
          </p:grpSpPr>
          <p:sp>
            <p:nvSpPr>
              <p:cNvPr id="20" name="テキスト ボックス 19">
                <a:extLst>
                  <a:ext uri="{FF2B5EF4-FFF2-40B4-BE49-F238E27FC236}">
                    <a16:creationId xmlns:a16="http://schemas.microsoft.com/office/drawing/2014/main" id="{FA7E40BE-1F47-D4D7-0B87-E3A669D4CEE0}"/>
                  </a:ext>
                </a:extLst>
              </p:cNvPr>
              <p:cNvSpPr txBox="1"/>
              <p:nvPr/>
            </p:nvSpPr>
            <p:spPr>
              <a:xfrm>
                <a:off x="2627979" y="5953819"/>
                <a:ext cx="4892365" cy="55617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3200" spc="100" dirty="0">
                    <a:latin typeface="+mj-ea"/>
                    <a:ea typeface="+mj-ea"/>
                  </a:rPr>
                  <a:t>書式</a:t>
                </a:r>
                <a:r>
                  <a:rPr kumimoji="1" lang="en-US" altLang="ja-JP" sz="3200" spc="100" dirty="0">
                    <a:latin typeface="+mj-ea"/>
                    <a:ea typeface="+mj-ea"/>
                  </a:rPr>
                  <a:t>/</a:t>
                </a:r>
                <a:r>
                  <a:rPr kumimoji="1" lang="ja-JP" altLang="en-US" sz="3200" spc="100" dirty="0">
                    <a:latin typeface="+mj-ea"/>
                    <a:ea typeface="+mj-ea"/>
                  </a:rPr>
                  <a:t>回答方法を制限する</a:t>
                </a:r>
              </a:p>
            </p:txBody>
          </p:sp>
          <p:sp>
            <p:nvSpPr>
              <p:cNvPr id="21" name="楕円 20">
                <a:extLst>
                  <a:ext uri="{FF2B5EF4-FFF2-40B4-BE49-F238E27FC236}">
                    <a16:creationId xmlns:a16="http://schemas.microsoft.com/office/drawing/2014/main" id="{BA2F0394-C2E2-128C-792B-C85F5EDD6FCF}"/>
                  </a:ext>
                </a:extLst>
              </p:cNvPr>
              <p:cNvSpPr>
                <a:spLocks noChangeAspect="1"/>
              </p:cNvSpPr>
              <p:nvPr/>
            </p:nvSpPr>
            <p:spPr>
              <a:xfrm>
                <a:off x="1736416" y="5899665"/>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3200" spc="200" dirty="0">
                    <a:solidFill>
                      <a:schemeClr val="bg1"/>
                    </a:solidFill>
                    <a:latin typeface="+mj-ea"/>
                    <a:ea typeface="+mj-ea"/>
                  </a:rPr>
                  <a:t>3</a:t>
                </a:r>
                <a:endParaRPr kumimoji="1" lang="ja-JP" altLang="en-US" sz="3200" spc="200" dirty="0">
                  <a:solidFill>
                    <a:schemeClr val="bg1"/>
                  </a:solidFill>
                  <a:latin typeface="+mj-ea"/>
                  <a:ea typeface="+mj-ea"/>
                </a:endParaRPr>
              </a:p>
            </p:txBody>
          </p:sp>
          <p:sp>
            <p:nvSpPr>
              <p:cNvPr id="27" name="テキスト ボックス 26">
                <a:extLst>
                  <a:ext uri="{FF2B5EF4-FFF2-40B4-BE49-F238E27FC236}">
                    <a16:creationId xmlns:a16="http://schemas.microsoft.com/office/drawing/2014/main" id="{30B921C6-8703-4ED5-CDB7-BB74FBC2B0CB}"/>
                  </a:ext>
                </a:extLst>
              </p:cNvPr>
              <p:cNvSpPr txBox="1"/>
              <p:nvPr/>
            </p:nvSpPr>
            <p:spPr>
              <a:xfrm>
                <a:off x="8654315" y="5572753"/>
                <a:ext cx="6807954" cy="1318310"/>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横軸が</a:t>
                </a:r>
                <a:r>
                  <a:rPr kumimoji="1" lang="en-US" altLang="ja-JP" sz="2300" spc="100" dirty="0">
                    <a:latin typeface="+mn-ea"/>
                  </a:rPr>
                  <a:t>A</a:t>
                </a:r>
                <a:r>
                  <a:rPr kumimoji="1" lang="ja-JP" altLang="en-US" sz="2300" spc="100" dirty="0">
                    <a:latin typeface="+mn-ea"/>
                  </a:rPr>
                  <a:t>と</a:t>
                </a:r>
                <a:r>
                  <a:rPr kumimoji="1" lang="en-US" altLang="ja-JP" sz="2300" spc="100" dirty="0">
                    <a:latin typeface="+mn-ea"/>
                  </a:rPr>
                  <a:t>B</a:t>
                </a:r>
                <a:r>
                  <a:rPr kumimoji="1" lang="ja-JP" altLang="en-US" sz="2300" spc="100" dirty="0">
                    <a:latin typeface="+mn-ea"/>
                  </a:rPr>
                  <a:t>と</a:t>
                </a:r>
                <a:r>
                  <a:rPr kumimoji="1" lang="en-US" altLang="ja-JP" sz="2300" spc="100" dirty="0">
                    <a:latin typeface="+mn-ea"/>
                  </a:rPr>
                  <a:t>C</a:t>
                </a:r>
                <a:r>
                  <a:rPr kumimoji="1" lang="ja-JP" altLang="en-US" sz="2300" spc="100" dirty="0">
                    <a:latin typeface="+mn-ea"/>
                  </a:rPr>
                  <a:t>である表形式で答えてください</a:t>
                </a:r>
              </a:p>
              <a:p>
                <a:pPr marL="324000" indent="-324000">
                  <a:spcAft>
                    <a:spcPts val="1000"/>
                  </a:spcAft>
                  <a:buClr>
                    <a:schemeClr val="accent1"/>
                  </a:buClr>
                  <a:buFont typeface="Wingdings" panose="05000000000000000000" pitchFamily="2" charset="2"/>
                  <a:buChar char="l"/>
                </a:pPr>
                <a:r>
                  <a:rPr kumimoji="1" lang="en-US" altLang="ja-JP" sz="2300" spc="100" dirty="0">
                    <a:latin typeface="+mn-ea"/>
                  </a:rPr>
                  <a:t>XXX</a:t>
                </a:r>
                <a:r>
                  <a:rPr kumimoji="1" lang="ja-JP" altLang="en-US" sz="2300" spc="100" dirty="0">
                    <a:latin typeface="+mn-ea"/>
                  </a:rPr>
                  <a:t>文字以内で答えてください</a:t>
                </a:r>
              </a:p>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要点を</a:t>
                </a:r>
                <a:r>
                  <a:rPr kumimoji="1" lang="en-US" altLang="ja-JP" sz="2300" spc="100" dirty="0">
                    <a:latin typeface="+mn-ea"/>
                  </a:rPr>
                  <a:t>XXX</a:t>
                </a:r>
                <a:r>
                  <a:rPr kumimoji="1" lang="ja-JP" altLang="en-US" sz="2300" spc="100" dirty="0">
                    <a:latin typeface="+mn-ea"/>
                  </a:rPr>
                  <a:t>個挙げてください</a:t>
                </a:r>
              </a:p>
            </p:txBody>
          </p:sp>
          <p:sp>
            <p:nvSpPr>
              <p:cNvPr id="55" name="グラフィックス 52">
                <a:extLst>
                  <a:ext uri="{FF2B5EF4-FFF2-40B4-BE49-F238E27FC236}">
                    <a16:creationId xmlns:a16="http://schemas.microsoft.com/office/drawing/2014/main" id="{CF786CA3-9191-A3A6-D46C-C4091BA72CB4}"/>
                  </a:ext>
                </a:extLst>
              </p:cNvPr>
              <p:cNvSpPr/>
              <p:nvPr/>
            </p:nvSpPr>
            <p:spPr>
              <a:xfrm>
                <a:off x="8180223" y="5557396"/>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a:p>
            </p:txBody>
          </p:sp>
        </p:grpSp>
        <p:grpSp>
          <p:nvGrpSpPr>
            <p:cNvPr id="62" name="グループ化 61">
              <a:extLst>
                <a:ext uri="{FF2B5EF4-FFF2-40B4-BE49-F238E27FC236}">
                  <a16:creationId xmlns:a16="http://schemas.microsoft.com/office/drawing/2014/main" id="{CB7DE3B1-A031-769C-0AD2-849A3494FABB}"/>
                </a:ext>
              </a:extLst>
            </p:cNvPr>
            <p:cNvGrpSpPr/>
            <p:nvPr/>
          </p:nvGrpSpPr>
          <p:grpSpPr>
            <a:xfrm>
              <a:off x="1736416" y="7345249"/>
              <a:ext cx="13979127" cy="1349024"/>
              <a:chOff x="1736416" y="7345249"/>
              <a:chExt cx="13979127" cy="1349024"/>
            </a:xfrm>
          </p:grpSpPr>
          <p:sp>
            <p:nvSpPr>
              <p:cNvPr id="23" name="テキスト ボックス 22">
                <a:extLst>
                  <a:ext uri="{FF2B5EF4-FFF2-40B4-BE49-F238E27FC236}">
                    <a16:creationId xmlns:a16="http://schemas.microsoft.com/office/drawing/2014/main" id="{460ADDF8-57C3-AA30-CF9A-B84C6FB729D6}"/>
                  </a:ext>
                </a:extLst>
              </p:cNvPr>
              <p:cNvSpPr txBox="1"/>
              <p:nvPr/>
            </p:nvSpPr>
            <p:spPr>
              <a:xfrm>
                <a:off x="2627979" y="7741672"/>
                <a:ext cx="5078313" cy="556178"/>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3200" spc="100" dirty="0">
                    <a:latin typeface="+mj-ea"/>
                    <a:ea typeface="+mj-ea"/>
                  </a:rPr>
                  <a:t>文章のテイストを指定する</a:t>
                </a:r>
              </a:p>
            </p:txBody>
          </p:sp>
          <p:sp>
            <p:nvSpPr>
              <p:cNvPr id="24" name="楕円 23">
                <a:extLst>
                  <a:ext uri="{FF2B5EF4-FFF2-40B4-BE49-F238E27FC236}">
                    <a16:creationId xmlns:a16="http://schemas.microsoft.com/office/drawing/2014/main" id="{AD9F91BC-982F-2CB8-F561-0439664D2E9F}"/>
                  </a:ext>
                </a:extLst>
              </p:cNvPr>
              <p:cNvSpPr>
                <a:spLocks noChangeAspect="1"/>
              </p:cNvSpPr>
              <p:nvPr/>
            </p:nvSpPr>
            <p:spPr>
              <a:xfrm>
                <a:off x="1736416" y="7687518"/>
                <a:ext cx="663809" cy="664487"/>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noAutofit/>
              </a:bodyPr>
              <a:lstStyle/>
              <a:p>
                <a:pPr algn="ctr"/>
                <a:r>
                  <a:rPr kumimoji="1" lang="en-US" altLang="ja-JP" sz="3200" spc="200" dirty="0">
                    <a:solidFill>
                      <a:schemeClr val="bg1"/>
                    </a:solidFill>
                    <a:latin typeface="+mj-ea"/>
                    <a:ea typeface="+mj-ea"/>
                  </a:rPr>
                  <a:t>4</a:t>
                </a:r>
                <a:endParaRPr kumimoji="1" lang="ja-JP" altLang="en-US" sz="3200" spc="200" dirty="0">
                  <a:solidFill>
                    <a:schemeClr val="bg1"/>
                  </a:solidFill>
                  <a:latin typeface="+mj-ea"/>
                  <a:ea typeface="+mj-ea"/>
                </a:endParaRPr>
              </a:p>
            </p:txBody>
          </p:sp>
          <p:sp>
            <p:nvSpPr>
              <p:cNvPr id="28" name="テキスト ボックス 27">
                <a:extLst>
                  <a:ext uri="{FF2B5EF4-FFF2-40B4-BE49-F238E27FC236}">
                    <a16:creationId xmlns:a16="http://schemas.microsoft.com/office/drawing/2014/main" id="{D3D24103-2361-6ADD-C782-46FFB0FAC5C0}"/>
                  </a:ext>
                </a:extLst>
              </p:cNvPr>
              <p:cNvSpPr txBox="1"/>
              <p:nvPr/>
            </p:nvSpPr>
            <p:spPr>
              <a:xfrm>
                <a:off x="8654315" y="7360606"/>
                <a:ext cx="7061228" cy="1318310"/>
              </a:xfrm>
              <a:prstGeom prst="rect">
                <a:avLst/>
              </a:prstGeom>
              <a:noFill/>
            </p:spPr>
            <p:txBody>
              <a:bodyPr wrap="none" lIns="0" tIns="0" rIns="0" bIns="0" rtlCol="0" anchor="ctr">
                <a:spAutoFit/>
              </a:bodyPr>
              <a:lstStyle/>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私は</a:t>
                </a:r>
                <a:r>
                  <a:rPr kumimoji="1" lang="en-US" altLang="ja-JP" sz="2300" spc="100" dirty="0">
                    <a:latin typeface="+mn-ea"/>
                  </a:rPr>
                  <a:t>10</a:t>
                </a:r>
                <a:r>
                  <a:rPr kumimoji="1" lang="ja-JP" altLang="en-US" sz="2300" spc="100" dirty="0">
                    <a:latin typeface="+mn-ea"/>
                  </a:rPr>
                  <a:t>歳の子供だと思って説明してください</a:t>
                </a:r>
              </a:p>
              <a:p>
                <a:pPr marL="324000" indent="-324000">
                  <a:spcAft>
                    <a:spcPts val="1000"/>
                  </a:spcAft>
                  <a:buClr>
                    <a:schemeClr val="accent1"/>
                  </a:buClr>
                  <a:buFont typeface="Wingdings" panose="05000000000000000000" pitchFamily="2" charset="2"/>
                  <a:buChar char="l"/>
                </a:pPr>
                <a:r>
                  <a:rPr kumimoji="1" lang="en-US" altLang="ja-JP" sz="2300" spc="100" dirty="0">
                    <a:latin typeface="+mn-ea"/>
                  </a:rPr>
                  <a:t>XXX (</a:t>
                </a:r>
                <a:r>
                  <a:rPr kumimoji="1" lang="ja-JP" altLang="en-US" sz="2300" spc="100" dirty="0">
                    <a:latin typeface="+mn-ea"/>
                  </a:rPr>
                  <a:t>有名な作家 等</a:t>
                </a:r>
                <a:r>
                  <a:rPr kumimoji="1" lang="en-US" altLang="ja-JP" sz="2300" spc="100" dirty="0">
                    <a:latin typeface="+mn-ea"/>
                  </a:rPr>
                  <a:t>) </a:t>
                </a:r>
                <a:r>
                  <a:rPr kumimoji="1" lang="ja-JP" altLang="en-US" sz="2300" spc="100" dirty="0">
                    <a:latin typeface="+mn-ea"/>
                  </a:rPr>
                  <a:t>の文体で説明してください</a:t>
                </a:r>
              </a:p>
              <a:p>
                <a:pPr marL="324000" indent="-324000">
                  <a:spcAft>
                    <a:spcPts val="1000"/>
                  </a:spcAft>
                  <a:buClr>
                    <a:schemeClr val="accent1"/>
                  </a:buClr>
                  <a:buFont typeface="Wingdings" panose="05000000000000000000" pitchFamily="2" charset="2"/>
                  <a:buChar char="l"/>
                </a:pPr>
                <a:r>
                  <a:rPr kumimoji="1" lang="ja-JP" altLang="en-US" sz="2300" spc="100" dirty="0">
                    <a:latin typeface="+mn-ea"/>
                  </a:rPr>
                  <a:t>女子高生になりきって説明してください</a:t>
                </a:r>
              </a:p>
            </p:txBody>
          </p:sp>
          <p:sp>
            <p:nvSpPr>
              <p:cNvPr id="56" name="グラフィックス 53">
                <a:extLst>
                  <a:ext uri="{FF2B5EF4-FFF2-40B4-BE49-F238E27FC236}">
                    <a16:creationId xmlns:a16="http://schemas.microsoft.com/office/drawing/2014/main" id="{97CE3147-775C-84C7-522B-CEE8FE75A1B5}"/>
                  </a:ext>
                </a:extLst>
              </p:cNvPr>
              <p:cNvSpPr/>
              <p:nvPr/>
            </p:nvSpPr>
            <p:spPr>
              <a:xfrm>
                <a:off x="8180223" y="7345249"/>
                <a:ext cx="164859" cy="1349024"/>
              </a:xfrm>
              <a:custGeom>
                <a:avLst/>
                <a:gdLst>
                  <a:gd name="connsiteX0" fmla="*/ 0 w 251873"/>
                  <a:gd name="connsiteY0" fmla="*/ 0 h 1231655"/>
                  <a:gd name="connsiteX1" fmla="*/ 0 w 251873"/>
                  <a:gd name="connsiteY1" fmla="*/ 414223 h 1231655"/>
                  <a:gd name="connsiteX2" fmla="*/ 251873 w 251873"/>
                  <a:gd name="connsiteY2" fmla="*/ 615650 h 1231655"/>
                  <a:gd name="connsiteX3" fmla="*/ 0 w 251873"/>
                  <a:gd name="connsiteY3" fmla="*/ 817078 h 1231655"/>
                  <a:gd name="connsiteX4" fmla="*/ 0 w 251873"/>
                  <a:gd name="connsiteY4" fmla="*/ 1231656 h 123165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251873" h="1231655">
                    <a:moveTo>
                      <a:pt x="0" y="0"/>
                    </a:moveTo>
                    <a:lnTo>
                      <a:pt x="0" y="414223"/>
                    </a:lnTo>
                    <a:lnTo>
                      <a:pt x="251873" y="615650"/>
                    </a:lnTo>
                    <a:lnTo>
                      <a:pt x="0" y="817078"/>
                    </a:lnTo>
                    <a:lnTo>
                      <a:pt x="0" y="1231656"/>
                    </a:lnTo>
                  </a:path>
                </a:pathLst>
              </a:custGeom>
              <a:noFill/>
              <a:ln w="38100" cap="rnd">
                <a:solidFill>
                  <a:schemeClr val="tx1"/>
                </a:solidFill>
                <a:prstDash val="solid"/>
                <a:round/>
              </a:ln>
            </p:spPr>
            <p:txBody>
              <a:bodyPr rtlCol="0" anchor="ctr"/>
              <a:lstStyle/>
              <a:p>
                <a:endParaRPr lang="ja-JP" altLang="en-US"/>
              </a:p>
            </p:txBody>
          </p:sp>
        </p:grpSp>
      </p:grpSp>
      <p:sp>
        <p:nvSpPr>
          <p:cNvPr id="3" name="スライド番号プレースホルダー 2">
            <a:extLst>
              <a:ext uri="{FF2B5EF4-FFF2-40B4-BE49-F238E27FC236}">
                <a16:creationId xmlns:a16="http://schemas.microsoft.com/office/drawing/2014/main" id="{1740818F-2968-7FD7-A0CC-12C0BFF9D556}"/>
              </a:ext>
            </a:extLst>
          </p:cNvPr>
          <p:cNvSpPr>
            <a:spLocks noGrp="1"/>
          </p:cNvSpPr>
          <p:nvPr>
            <p:ph type="sldNum" sz="quarter" idx="11"/>
          </p:nvPr>
        </p:nvSpPr>
        <p:spPr>
          <a:xfrm>
            <a:off x="17695001" y="9786651"/>
            <a:ext cx="327013" cy="307777"/>
          </a:xfrm>
        </p:spPr>
        <p:txBody>
          <a:bodyPr/>
          <a:lstStyle/>
          <a:p>
            <a:r>
              <a:rPr lang="en-US" altLang="ja-JP"/>
              <a:t>22</a:t>
            </a:r>
            <a:endParaRPr lang="ja-JP" altLang="en-US" dirty="0"/>
          </a:p>
        </p:txBody>
      </p:sp>
    </p:spTree>
    <p:extLst>
      <p:ext uri="{BB962C8B-B14F-4D97-AF65-F5344CB8AC3E}">
        <p14:creationId xmlns:p14="http://schemas.microsoft.com/office/powerpoint/2010/main" val="5541950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50138C80-3C3D-EFCC-8F98-1DA9D86BC22A}"/>
              </a:ext>
            </a:extLst>
          </p:cNvPr>
          <p:cNvGrpSpPr/>
          <p:nvPr/>
        </p:nvGrpSpPr>
        <p:grpSpPr>
          <a:xfrm>
            <a:off x="4134880" y="817569"/>
            <a:ext cx="10480694" cy="861774"/>
            <a:chOff x="2656955" y="817569"/>
            <a:chExt cx="10480694" cy="861774"/>
          </a:xfrm>
        </p:grpSpPr>
        <p:sp>
          <p:nvSpPr>
            <p:cNvPr id="3" name="テキスト ボックス 2">
              <a:extLst>
                <a:ext uri="{FF2B5EF4-FFF2-40B4-BE49-F238E27FC236}">
                  <a16:creationId xmlns:a16="http://schemas.microsoft.com/office/drawing/2014/main" id="{8BF65190-2038-F70C-C49F-12D648C7F338}"/>
                </a:ext>
              </a:extLst>
            </p:cNvPr>
            <p:cNvSpPr txBox="1"/>
            <p:nvPr/>
          </p:nvSpPr>
          <p:spPr>
            <a:xfrm>
              <a:off x="6071612" y="817569"/>
              <a:ext cx="7066037" cy="861774"/>
            </a:xfrm>
            <a:prstGeom prst="rect">
              <a:avLst/>
            </a:prstGeom>
            <a:noFill/>
          </p:spPr>
          <p:txBody>
            <a:bodyPr wrap="none" lIns="0" tIns="0" rIns="0" bIns="0" rtlCol="0" anchor="ctr">
              <a:spAutoFit/>
            </a:bodyPr>
            <a:lstStyle/>
            <a:p>
              <a:r>
                <a:rPr kumimoji="1" lang="ja-JP" altLang="en-US" sz="2800" spc="100" dirty="0">
                  <a:latin typeface="+mj-ea"/>
                  <a:ea typeface="+mj-ea"/>
                </a:rPr>
                <a:t>指示の目的や詳細な設定を入力しないと、</a:t>
              </a:r>
              <a:br>
                <a:rPr kumimoji="1" lang="en-US" altLang="ja-JP" sz="2800" spc="100" dirty="0">
                  <a:latin typeface="+mj-ea"/>
                  <a:ea typeface="+mj-ea"/>
                </a:rPr>
              </a:br>
              <a:r>
                <a:rPr kumimoji="1" lang="ja-JP" altLang="en-US" sz="2800" spc="100" dirty="0">
                  <a:latin typeface="+mj-ea"/>
                  <a:ea typeface="+mj-ea"/>
                </a:rPr>
                <a:t>意図に沿わない回答になることがある</a:t>
              </a:r>
              <a:endParaRPr kumimoji="1" lang="en-US" altLang="ja-JP" sz="2800" spc="100" dirty="0">
                <a:latin typeface="+mj-ea"/>
                <a:ea typeface="+mj-ea"/>
              </a:endParaRPr>
            </a:p>
          </p:txBody>
        </p:sp>
        <p:sp>
          <p:nvSpPr>
            <p:cNvPr id="8" name="四角形: 角を丸くする 7">
              <a:extLst>
                <a:ext uri="{FF2B5EF4-FFF2-40B4-BE49-F238E27FC236}">
                  <a16:creationId xmlns:a16="http://schemas.microsoft.com/office/drawing/2014/main" id="{88A62660-AA2C-549D-D6F2-6ED20908EE33}"/>
                </a:ext>
              </a:extLst>
            </p:cNvPr>
            <p:cNvSpPr/>
            <p:nvPr/>
          </p:nvSpPr>
          <p:spPr>
            <a:xfrm>
              <a:off x="2656955" y="963221"/>
              <a:ext cx="3059840" cy="570468"/>
            </a:xfrm>
            <a:prstGeom prst="roundRect">
              <a:avLst>
                <a:gd name="adj" fmla="val 50000"/>
              </a:avLst>
            </a:prstGeom>
            <a:solidFill>
              <a:schemeClr val="accent3">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工夫❶❷ 悪い例</a:t>
              </a:r>
              <a:endParaRPr kumimoji="1" lang="ja-JP" altLang="en-US" sz="2400" spc="300" dirty="0">
                <a:solidFill>
                  <a:schemeClr val="tx1"/>
                </a:solidFill>
                <a:latin typeface="+mj-ea"/>
                <a:ea typeface="+mj-ea"/>
              </a:endParaRPr>
            </a:p>
          </p:txBody>
        </p:sp>
      </p:grpSp>
      <p:grpSp>
        <p:nvGrpSpPr>
          <p:cNvPr id="25" name="グループ化 24">
            <a:extLst>
              <a:ext uri="{FF2B5EF4-FFF2-40B4-BE49-F238E27FC236}">
                <a16:creationId xmlns:a16="http://schemas.microsoft.com/office/drawing/2014/main" id="{A44CDEBB-6F5E-01FA-81C5-AE2C17B90FD6}"/>
              </a:ext>
            </a:extLst>
          </p:cNvPr>
          <p:cNvGrpSpPr/>
          <p:nvPr/>
        </p:nvGrpSpPr>
        <p:grpSpPr>
          <a:xfrm>
            <a:off x="2299540" y="2249960"/>
            <a:ext cx="7285546" cy="747023"/>
            <a:chOff x="2299540" y="2249960"/>
            <a:chExt cx="7285546" cy="747023"/>
          </a:xfrm>
        </p:grpSpPr>
        <p:sp>
          <p:nvSpPr>
            <p:cNvPr id="11" name="フリーフォーム: 図形 10">
              <a:extLst>
                <a:ext uri="{FF2B5EF4-FFF2-40B4-BE49-F238E27FC236}">
                  <a16:creationId xmlns:a16="http://schemas.microsoft.com/office/drawing/2014/main" id="{B9A5873B-E637-95CB-2EEA-A65366957264}"/>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12" name="四角形: 角を丸くする 11">
              <a:extLst>
                <a:ext uri="{FF2B5EF4-FFF2-40B4-BE49-F238E27FC236}">
                  <a16:creationId xmlns:a16="http://schemas.microsoft.com/office/drawing/2014/main" id="{A7CED723-92A5-9010-D71B-394132615483}"/>
                </a:ext>
              </a:extLst>
            </p:cNvPr>
            <p:cNvSpPr/>
            <p:nvPr/>
          </p:nvSpPr>
          <p:spPr>
            <a:xfrm>
              <a:off x="2519049" y="2249960"/>
              <a:ext cx="7066037" cy="747023"/>
            </a:xfrm>
            <a:prstGeom prst="roundRect">
              <a:avLst>
                <a:gd name="adj" fmla="val 12751"/>
              </a:avLst>
            </a:prstGeom>
            <a:solidFill>
              <a:schemeClr val="bg1"/>
            </a:solidFill>
            <a:ln w="20168" cap="flat">
              <a:noFill/>
              <a:prstDash val="solid"/>
              <a:miter/>
            </a:ln>
          </p:spPr>
          <p:txBody>
            <a:bodyPr wrap="square" lIns="252000" tIns="180000" rIns="216000" bIns="180000" rtlCol="0" anchor="t">
              <a:spAutoFit/>
            </a:bodyPr>
            <a:lstStyle/>
            <a:p>
              <a:pPr>
                <a:spcAft>
                  <a:spcPts val="1000"/>
                </a:spcAft>
              </a:pPr>
              <a:r>
                <a:rPr lang="ja-JP" altLang="en-US" sz="2400" dirty="0">
                  <a:latin typeface="+mj-ea"/>
                  <a:ea typeface="+mj-ea"/>
                </a:rPr>
                <a:t>誕生日プレゼントをいくつか考えてください。</a:t>
              </a:r>
            </a:p>
          </p:txBody>
        </p:sp>
      </p:grpSp>
      <p:grpSp>
        <p:nvGrpSpPr>
          <p:cNvPr id="26" name="グループ化 25">
            <a:extLst>
              <a:ext uri="{FF2B5EF4-FFF2-40B4-BE49-F238E27FC236}">
                <a16:creationId xmlns:a16="http://schemas.microsoft.com/office/drawing/2014/main" id="{41479D7C-C583-1879-5818-460061A2A01A}"/>
              </a:ext>
            </a:extLst>
          </p:cNvPr>
          <p:cNvGrpSpPr/>
          <p:nvPr/>
        </p:nvGrpSpPr>
        <p:grpSpPr>
          <a:xfrm>
            <a:off x="2299540" y="3218556"/>
            <a:ext cx="10354915" cy="6123747"/>
            <a:chOff x="2299540" y="3218556"/>
            <a:chExt cx="10354915" cy="6123747"/>
          </a:xfrm>
        </p:grpSpPr>
        <p:sp>
          <p:nvSpPr>
            <p:cNvPr id="22" name="フリーフォーム: 図形 21">
              <a:extLst>
                <a:ext uri="{FF2B5EF4-FFF2-40B4-BE49-F238E27FC236}">
                  <a16:creationId xmlns:a16="http://schemas.microsoft.com/office/drawing/2014/main" id="{523E405C-0EEB-6516-3AA0-3DCF89F6BA33}"/>
                </a:ext>
              </a:extLst>
            </p:cNvPr>
            <p:cNvSpPr/>
            <p:nvPr/>
          </p:nvSpPr>
          <p:spPr>
            <a:xfrm rot="18743112" flipV="1">
              <a:off x="2291112" y="396073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3" name="四角形: 角を丸くする 22">
              <a:extLst>
                <a:ext uri="{FF2B5EF4-FFF2-40B4-BE49-F238E27FC236}">
                  <a16:creationId xmlns:a16="http://schemas.microsoft.com/office/drawing/2014/main" id="{ADB27C5F-43F1-FEC8-058E-954FA348E638}"/>
                </a:ext>
              </a:extLst>
            </p:cNvPr>
            <p:cNvSpPr/>
            <p:nvPr/>
          </p:nvSpPr>
          <p:spPr>
            <a:xfrm>
              <a:off x="2516354" y="3218556"/>
              <a:ext cx="10138101" cy="6123747"/>
            </a:xfrm>
            <a:prstGeom prst="roundRect">
              <a:avLst>
                <a:gd name="adj" fmla="val 1499"/>
              </a:avLst>
            </a:prstGeom>
            <a:solidFill>
              <a:schemeClr val="accent5">
                <a:lumMod val="40000"/>
                <a:lumOff val="60000"/>
              </a:schemeClr>
            </a:solidFill>
            <a:ln w="38100" cap="flat">
              <a:noFill/>
              <a:prstDash val="solid"/>
              <a:miter/>
            </a:ln>
          </p:spPr>
          <p:txBody>
            <a:bodyPr wrap="square" lIns="288000" tIns="180000" rIns="216000" bIns="180000" rtlCol="0" anchor="t">
              <a:spAutoFit/>
            </a:bodyPr>
            <a:lstStyle/>
            <a:p>
              <a:pPr>
                <a:lnSpc>
                  <a:spcPct val="110000"/>
                </a:lnSpc>
                <a:spcAft>
                  <a:spcPts val="1000"/>
                </a:spcAft>
                <a:buClr>
                  <a:schemeClr val="accent2"/>
                </a:buClr>
              </a:pPr>
              <a:r>
                <a:rPr lang="ja-JP" altLang="en-US" sz="1800" dirty="0">
                  <a:latin typeface="+mn-ea"/>
                </a:rPr>
                <a:t>プレゼントを選ぶ際には、受け取る方の年齢、性別、趣味、関心事などを考慮すると良いでしょう。以下にいくつかのアイデアを挙げてみます。</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本や電子書籍</a:t>
              </a:r>
              <a:r>
                <a:rPr lang="en-US" altLang="ja-JP" sz="1800" dirty="0">
                  <a:latin typeface="+mn-ea"/>
                </a:rPr>
                <a:t>: </a:t>
              </a:r>
              <a:r>
                <a:rPr lang="ja-JP" altLang="en-US" sz="1800" dirty="0">
                  <a:latin typeface="+mn-ea"/>
                </a:rPr>
                <a:t>読書が好きな方には、お気に入りの作家の新作や興味を引きそうな本をプレゼントすると喜ばれるかもしれません。</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アート用品</a:t>
              </a:r>
              <a:r>
                <a:rPr lang="en-US" altLang="ja-JP" sz="1800" dirty="0">
                  <a:latin typeface="+mn-ea"/>
                </a:rPr>
                <a:t>: </a:t>
              </a:r>
              <a:r>
                <a:rPr lang="ja-JP" altLang="en-US" sz="1800" dirty="0">
                  <a:latin typeface="+mn-ea"/>
                </a:rPr>
                <a:t>絵を描くのが好きな方には、高品質の画材やスケッチブックをプレゼントすると良いでしょう。</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美容・スキンケア製品</a:t>
              </a:r>
              <a:r>
                <a:rPr lang="en-US" altLang="ja-JP" sz="1800" dirty="0">
                  <a:latin typeface="+mn-ea"/>
                </a:rPr>
                <a:t>: </a:t>
              </a:r>
              <a:r>
                <a:rPr lang="ja-JP" altLang="en-US" sz="1800" dirty="0">
                  <a:latin typeface="+mn-ea"/>
                </a:rPr>
                <a:t>スキンケアに興味がある方には、高品質のスキンケア製品やマスクパックをプレゼントすると喜ばれることでしょう。</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ファッションアイテム</a:t>
              </a:r>
              <a:r>
                <a:rPr lang="en-US" altLang="ja-JP" sz="1800" dirty="0">
                  <a:latin typeface="+mn-ea"/>
                </a:rPr>
                <a:t>: </a:t>
              </a:r>
              <a:r>
                <a:rPr lang="ja-JP" altLang="en-US" sz="1800" dirty="0">
                  <a:latin typeface="+mn-ea"/>
                </a:rPr>
                <a:t>服やアクセサリーが好きな方には、おしゃれなバッグやジュエリーを選んでみてはいかがでしょうか。</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体験ギフト</a:t>
              </a:r>
              <a:r>
                <a:rPr lang="en-US" altLang="ja-JP" sz="1800" dirty="0">
                  <a:latin typeface="+mn-ea"/>
                </a:rPr>
                <a:t>: </a:t>
              </a:r>
              <a:r>
                <a:rPr lang="ja-JP" altLang="en-US" sz="1800" dirty="0">
                  <a:latin typeface="+mn-ea"/>
                </a:rPr>
                <a:t>物ではなく、体験をプレゼントするのも一つの方法です。例えば、コンサートのチケットやレストランでのディナー、スパでのトリートメントなどが考えられます。</a:t>
              </a:r>
            </a:p>
            <a:p>
              <a:pPr marL="342900" indent="-342900">
                <a:lnSpc>
                  <a:spcPct val="110000"/>
                </a:lnSpc>
                <a:spcAft>
                  <a:spcPts val="1000"/>
                </a:spcAft>
                <a:buClr>
                  <a:schemeClr val="accent2"/>
                </a:buClr>
                <a:buFont typeface="Wingdings" panose="05000000000000000000" pitchFamily="2" charset="2"/>
                <a:buChar char="l"/>
              </a:pPr>
              <a:r>
                <a:rPr lang="ja-JP" altLang="en-US" sz="1800" dirty="0">
                  <a:latin typeface="+mn-ea"/>
                </a:rPr>
                <a:t>手作りアイテム</a:t>
              </a:r>
              <a:r>
                <a:rPr lang="en-US" altLang="ja-JP" sz="1800" dirty="0">
                  <a:latin typeface="+mn-ea"/>
                </a:rPr>
                <a:t>: </a:t>
              </a:r>
              <a:r>
                <a:rPr lang="ja-JP" altLang="en-US" sz="1800" dirty="0">
                  <a:latin typeface="+mn-ea"/>
                </a:rPr>
                <a:t>自分で何かを作ってプレゼントするのも素敵なアイデアです。例えば、手編みのマフラーや手作りのキャンドルなどが考えられます。</a:t>
              </a:r>
            </a:p>
            <a:p>
              <a:pPr>
                <a:lnSpc>
                  <a:spcPct val="110000"/>
                </a:lnSpc>
                <a:spcAft>
                  <a:spcPts val="1000"/>
                </a:spcAft>
                <a:buClr>
                  <a:schemeClr val="accent2"/>
                </a:buClr>
              </a:pPr>
              <a:r>
                <a:rPr lang="ja-JP" altLang="en-US" sz="1800" dirty="0">
                  <a:latin typeface="+mn-ea"/>
                </a:rPr>
                <a:t>これらのアイデアを参考に、受け取る方の好みや興味に合ったプレゼントを選んでみてください。</a:t>
              </a:r>
            </a:p>
          </p:txBody>
        </p:sp>
      </p:grpSp>
      <p:sp>
        <p:nvSpPr>
          <p:cNvPr id="24" name="テキスト ボックス 23">
            <a:extLst>
              <a:ext uri="{FF2B5EF4-FFF2-40B4-BE49-F238E27FC236}">
                <a16:creationId xmlns:a16="http://schemas.microsoft.com/office/drawing/2014/main" id="{25128940-0DC3-2B45-44B7-46FA6C633E0D}"/>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r>
              <a:rPr lang="ja-JP" altLang="en-US" sz="1400" spc="100" dirty="0">
                <a:solidFill>
                  <a:schemeClr val="tx2"/>
                </a:solidFill>
                <a:latin typeface="+mn-ea"/>
              </a:rPr>
              <a:t>から一部抜粋</a:t>
            </a:r>
            <a:endParaRPr kumimoji="1" lang="en-US" altLang="ja-JP" sz="1400" spc="100" dirty="0">
              <a:solidFill>
                <a:schemeClr val="tx2"/>
              </a:solidFill>
              <a:latin typeface="+mn-ea"/>
            </a:endParaRPr>
          </a:p>
        </p:txBody>
      </p:sp>
      <p:grpSp>
        <p:nvGrpSpPr>
          <p:cNvPr id="51" name="グループ化 50">
            <a:extLst>
              <a:ext uri="{FF2B5EF4-FFF2-40B4-BE49-F238E27FC236}">
                <a16:creationId xmlns:a16="http://schemas.microsoft.com/office/drawing/2014/main" id="{461A2139-D8C3-2275-FA48-851D7C9C6D5A}"/>
              </a:ext>
            </a:extLst>
          </p:cNvPr>
          <p:cNvGrpSpPr/>
          <p:nvPr/>
        </p:nvGrpSpPr>
        <p:grpSpPr>
          <a:xfrm>
            <a:off x="13092123" y="4572796"/>
            <a:ext cx="3976678" cy="2485869"/>
            <a:chOff x="13092123" y="3656599"/>
            <a:chExt cx="3976678" cy="2485869"/>
          </a:xfrm>
        </p:grpSpPr>
        <p:sp>
          <p:nvSpPr>
            <p:cNvPr id="49" name="四角形: 上の 2 つの角を丸める 48">
              <a:extLst>
                <a:ext uri="{FF2B5EF4-FFF2-40B4-BE49-F238E27FC236}">
                  <a16:creationId xmlns:a16="http://schemas.microsoft.com/office/drawing/2014/main" id="{6C799758-EAF1-D04A-10F4-1DB105DEEA71}"/>
                </a:ext>
              </a:extLst>
            </p:cNvPr>
            <p:cNvSpPr/>
            <p:nvPr/>
          </p:nvSpPr>
          <p:spPr>
            <a:xfrm>
              <a:off x="13092123" y="3656599"/>
              <a:ext cx="1433197" cy="45255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Bad</a:t>
              </a:r>
              <a:endParaRPr kumimoji="1" lang="ja-JP" altLang="en-US" sz="2400" spc="300" dirty="0">
                <a:solidFill>
                  <a:schemeClr val="bg1"/>
                </a:solidFill>
                <a:latin typeface="+mj-ea"/>
                <a:ea typeface="+mj-ea"/>
              </a:endParaRPr>
            </a:p>
          </p:txBody>
        </p:sp>
        <p:sp>
          <p:nvSpPr>
            <p:cNvPr id="37" name="四角形: 対角を丸める 36">
              <a:extLst>
                <a:ext uri="{FF2B5EF4-FFF2-40B4-BE49-F238E27FC236}">
                  <a16:creationId xmlns:a16="http://schemas.microsoft.com/office/drawing/2014/main" id="{283270B3-55A5-1DF1-7134-3B9762A6EFC0}"/>
                </a:ext>
              </a:extLst>
            </p:cNvPr>
            <p:cNvSpPr/>
            <p:nvPr/>
          </p:nvSpPr>
          <p:spPr>
            <a:xfrm>
              <a:off x="13092123" y="4117800"/>
              <a:ext cx="3976678" cy="2024668"/>
            </a:xfrm>
            <a:prstGeom prst="round2DiagRect">
              <a:avLst>
                <a:gd name="adj1" fmla="val 0"/>
                <a:gd name="adj2" fmla="val 4296"/>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lIns="216000" tIns="252000" rIns="216000" bIns="252000" rtlCol="0" anchor="t">
              <a:spAutoFit/>
            </a:bodyPr>
            <a:lstStyle/>
            <a:p>
              <a:r>
                <a:rPr kumimoji="1" lang="ja-JP" altLang="en-US" sz="2400" spc="100" dirty="0">
                  <a:solidFill>
                    <a:schemeClr val="tx1"/>
                  </a:solidFill>
                  <a:latin typeface="+mn-ea"/>
                </a:rPr>
                <a:t>相手の年代、好み、</a:t>
              </a:r>
              <a:br>
                <a:rPr kumimoji="1" lang="en-US" altLang="ja-JP" sz="2400" spc="100" dirty="0">
                  <a:solidFill>
                    <a:schemeClr val="tx1"/>
                  </a:solidFill>
                  <a:latin typeface="+mn-ea"/>
                </a:rPr>
              </a:br>
              <a:r>
                <a:rPr kumimoji="1" lang="ja-JP" altLang="en-US" sz="2400" spc="100" dirty="0">
                  <a:solidFill>
                    <a:schemeClr val="tx1"/>
                  </a:solidFill>
                  <a:latin typeface="+mn-ea"/>
                </a:rPr>
                <a:t>プレゼントの予算を</a:t>
              </a:r>
              <a:br>
                <a:rPr kumimoji="1" lang="en-US" altLang="ja-JP" sz="2400" spc="100" dirty="0">
                  <a:solidFill>
                    <a:schemeClr val="tx1"/>
                  </a:solidFill>
                  <a:latin typeface="+mn-ea"/>
                </a:rPr>
              </a:br>
              <a:r>
                <a:rPr kumimoji="1" lang="ja-JP" altLang="en-US" sz="2400" spc="100" dirty="0">
                  <a:solidFill>
                    <a:schemeClr val="tx1"/>
                  </a:solidFill>
                  <a:latin typeface="+mn-ea"/>
                </a:rPr>
                <a:t>考慮していない一般的な回答が出力される</a:t>
              </a:r>
            </a:p>
          </p:txBody>
        </p:sp>
      </p:grpSp>
      <p:sp>
        <p:nvSpPr>
          <p:cNvPr id="4" name="スライド番号プレースホルダー 3">
            <a:extLst>
              <a:ext uri="{FF2B5EF4-FFF2-40B4-BE49-F238E27FC236}">
                <a16:creationId xmlns:a16="http://schemas.microsoft.com/office/drawing/2014/main" id="{BB238211-4918-6BC0-3497-CF9C24D7122E}"/>
              </a:ext>
            </a:extLst>
          </p:cNvPr>
          <p:cNvSpPr>
            <a:spLocks noGrp="1"/>
          </p:cNvSpPr>
          <p:nvPr>
            <p:ph type="sldNum" sz="quarter" idx="11"/>
          </p:nvPr>
        </p:nvSpPr>
        <p:spPr>
          <a:xfrm>
            <a:off x="17695001" y="9786651"/>
            <a:ext cx="327013" cy="307777"/>
          </a:xfrm>
        </p:spPr>
        <p:txBody>
          <a:bodyPr/>
          <a:lstStyle/>
          <a:p>
            <a:r>
              <a:rPr lang="en-US" altLang="ja-JP"/>
              <a:t>23</a:t>
            </a:r>
            <a:endParaRPr lang="ja-JP" altLang="en-US" dirty="0"/>
          </a:p>
        </p:txBody>
      </p:sp>
      <p:pic>
        <p:nvPicPr>
          <p:cNvPr id="5" name="図 4">
            <a:extLst>
              <a:ext uri="{FF2B5EF4-FFF2-40B4-BE49-F238E27FC236}">
                <a16:creationId xmlns:a16="http://schemas.microsoft.com/office/drawing/2014/main" id="{06366DA5-D820-C091-10DE-D760A443D062}"/>
              </a:ext>
            </a:extLst>
          </p:cNvPr>
          <p:cNvPicPr>
            <a:picLocks noChangeAspect="1"/>
          </p:cNvPicPr>
          <p:nvPr/>
        </p:nvPicPr>
        <p:blipFill>
          <a:blip r:embed="rId3"/>
          <a:stretch>
            <a:fillRect/>
          </a:stretch>
        </p:blipFill>
        <p:spPr>
          <a:xfrm>
            <a:off x="891184" y="2407470"/>
            <a:ext cx="1292464" cy="1286367"/>
          </a:xfrm>
          <a:prstGeom prst="rect">
            <a:avLst/>
          </a:prstGeom>
        </p:spPr>
      </p:pic>
      <p:grpSp>
        <p:nvGrpSpPr>
          <p:cNvPr id="13" name="グループ化 12">
            <a:extLst>
              <a:ext uri="{FF2B5EF4-FFF2-40B4-BE49-F238E27FC236}">
                <a16:creationId xmlns:a16="http://schemas.microsoft.com/office/drawing/2014/main" id="{1F5C007A-8992-E3C2-D8CC-64473A6EB338}"/>
              </a:ext>
            </a:extLst>
          </p:cNvPr>
          <p:cNvGrpSpPr/>
          <p:nvPr/>
        </p:nvGrpSpPr>
        <p:grpSpPr>
          <a:xfrm>
            <a:off x="893577" y="3968032"/>
            <a:ext cx="1286367" cy="1738655"/>
            <a:chOff x="893577" y="3968032"/>
            <a:chExt cx="1286367" cy="1738655"/>
          </a:xfrm>
        </p:grpSpPr>
        <p:sp>
          <p:nvSpPr>
            <p:cNvPr id="14" name="テキスト ボックス 13">
              <a:extLst>
                <a:ext uri="{FF2B5EF4-FFF2-40B4-BE49-F238E27FC236}">
                  <a16:creationId xmlns:a16="http://schemas.microsoft.com/office/drawing/2014/main" id="{942E012E-94DB-0084-A544-0D5834B3255C}"/>
                </a:ext>
              </a:extLst>
            </p:cNvPr>
            <p:cNvSpPr txBox="1"/>
            <p:nvPr/>
          </p:nvSpPr>
          <p:spPr>
            <a:xfrm flipH="1">
              <a:off x="1364425" y="5331934"/>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5" name="図 14">
              <a:extLst>
                <a:ext uri="{FF2B5EF4-FFF2-40B4-BE49-F238E27FC236}">
                  <a16:creationId xmlns:a16="http://schemas.microsoft.com/office/drawing/2014/main" id="{467D91F1-E177-ED24-516E-2AB9F90B1E7F}"/>
                </a:ext>
              </a:extLst>
            </p:cNvPr>
            <p:cNvPicPr>
              <a:picLocks noChangeAspect="1"/>
            </p:cNvPicPr>
            <p:nvPr/>
          </p:nvPicPr>
          <p:blipFill>
            <a:blip r:embed="rId4"/>
            <a:stretch>
              <a:fillRect/>
            </a:stretch>
          </p:blipFill>
          <p:spPr>
            <a:xfrm>
              <a:off x="893577" y="3968032"/>
              <a:ext cx="1286367" cy="1286367"/>
            </a:xfrm>
            <a:prstGeom prst="rect">
              <a:avLst/>
            </a:prstGeom>
          </p:spPr>
        </p:pic>
      </p:grpSp>
    </p:spTree>
    <p:extLst>
      <p:ext uri="{BB962C8B-B14F-4D97-AF65-F5344CB8AC3E}">
        <p14:creationId xmlns:p14="http://schemas.microsoft.com/office/powerpoint/2010/main" val="1567655073"/>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17B89773-565D-1BB5-4619-D854EA108647}"/>
              </a:ext>
            </a:extLst>
          </p:cNvPr>
          <p:cNvGrpSpPr/>
          <p:nvPr/>
        </p:nvGrpSpPr>
        <p:grpSpPr>
          <a:xfrm>
            <a:off x="2966178" y="963221"/>
            <a:ext cx="13827763" cy="570468"/>
            <a:chOff x="2656956" y="963221"/>
            <a:chExt cx="13827763" cy="570468"/>
          </a:xfrm>
        </p:grpSpPr>
        <p:sp>
          <p:nvSpPr>
            <p:cNvPr id="4" name="テキスト ボックス 3">
              <a:extLst>
                <a:ext uri="{FF2B5EF4-FFF2-40B4-BE49-F238E27FC236}">
                  <a16:creationId xmlns:a16="http://schemas.microsoft.com/office/drawing/2014/main" id="{6C3EDDF4-13B5-5B78-B3F4-AD6FC888E427}"/>
                </a:ext>
              </a:extLst>
            </p:cNvPr>
            <p:cNvSpPr txBox="1"/>
            <p:nvPr/>
          </p:nvSpPr>
          <p:spPr>
            <a:xfrm>
              <a:off x="6071612" y="1033012"/>
              <a:ext cx="10413107" cy="430887"/>
            </a:xfrm>
            <a:prstGeom prst="rect">
              <a:avLst/>
            </a:prstGeom>
            <a:noFill/>
          </p:spPr>
          <p:txBody>
            <a:bodyPr wrap="none" lIns="0" tIns="0" rIns="0" bIns="0" rtlCol="0" anchor="ctr">
              <a:spAutoFit/>
            </a:bodyPr>
            <a:lstStyle/>
            <a:p>
              <a:r>
                <a:rPr kumimoji="1" lang="ja-JP" altLang="en-US" sz="2800" spc="100" dirty="0">
                  <a:latin typeface="+mj-ea"/>
                  <a:ea typeface="+mj-ea"/>
                </a:rPr>
                <a:t>検討材料や回答例を入力すると、意図に沿った回答を得られる</a:t>
              </a:r>
            </a:p>
          </p:txBody>
        </p:sp>
        <p:sp>
          <p:nvSpPr>
            <p:cNvPr id="5" name="四角形: 角を丸くする 4">
              <a:extLst>
                <a:ext uri="{FF2B5EF4-FFF2-40B4-BE49-F238E27FC236}">
                  <a16:creationId xmlns:a16="http://schemas.microsoft.com/office/drawing/2014/main" id="{AB3E4C88-8C98-8C5D-6A56-1F6DA0FE0400}"/>
                </a:ext>
              </a:extLst>
            </p:cNvPr>
            <p:cNvSpPr/>
            <p:nvPr/>
          </p:nvSpPr>
          <p:spPr>
            <a:xfrm>
              <a:off x="2656956" y="963221"/>
              <a:ext cx="3059839" cy="570468"/>
            </a:xfrm>
            <a:prstGeom prst="roundRect">
              <a:avLst>
                <a:gd name="adj" fmla="val 50000"/>
              </a:avLst>
            </a:prstGeom>
            <a:solidFill>
              <a:schemeClr val="accent2">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工夫❶❷ 良い例</a:t>
              </a:r>
              <a:endParaRPr kumimoji="1" lang="ja-JP" altLang="en-US" sz="2400" spc="300" dirty="0">
                <a:solidFill>
                  <a:schemeClr val="tx1"/>
                </a:solidFill>
                <a:latin typeface="+mj-ea"/>
                <a:ea typeface="+mj-ea"/>
              </a:endParaRPr>
            </a:p>
          </p:txBody>
        </p:sp>
      </p:grpSp>
      <p:grpSp>
        <p:nvGrpSpPr>
          <p:cNvPr id="6" name="グループ化 5">
            <a:extLst>
              <a:ext uri="{FF2B5EF4-FFF2-40B4-BE49-F238E27FC236}">
                <a16:creationId xmlns:a16="http://schemas.microsoft.com/office/drawing/2014/main" id="{CEE09A46-5AAB-2F74-6AB7-B1775181019A}"/>
              </a:ext>
            </a:extLst>
          </p:cNvPr>
          <p:cNvGrpSpPr/>
          <p:nvPr/>
        </p:nvGrpSpPr>
        <p:grpSpPr>
          <a:xfrm>
            <a:off x="2299540" y="2249960"/>
            <a:ext cx="10354915" cy="2811623"/>
            <a:chOff x="2299540" y="2249960"/>
            <a:chExt cx="10354915" cy="2811623"/>
          </a:xfrm>
        </p:grpSpPr>
        <p:sp>
          <p:nvSpPr>
            <p:cNvPr id="7" name="フリーフォーム: 図形 6">
              <a:extLst>
                <a:ext uri="{FF2B5EF4-FFF2-40B4-BE49-F238E27FC236}">
                  <a16:creationId xmlns:a16="http://schemas.microsoft.com/office/drawing/2014/main" id="{E83FFD90-4A80-052C-1F5B-771D6580E595}"/>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8" name="四角形: 角を丸くする 7">
              <a:extLst>
                <a:ext uri="{FF2B5EF4-FFF2-40B4-BE49-F238E27FC236}">
                  <a16:creationId xmlns:a16="http://schemas.microsoft.com/office/drawing/2014/main" id="{95488987-0B17-DE04-E921-861327C01D6F}"/>
                </a:ext>
              </a:extLst>
            </p:cNvPr>
            <p:cNvSpPr/>
            <p:nvPr/>
          </p:nvSpPr>
          <p:spPr>
            <a:xfrm>
              <a:off x="2519049" y="2249960"/>
              <a:ext cx="10135406" cy="2811623"/>
            </a:xfrm>
            <a:prstGeom prst="roundRect">
              <a:avLst>
                <a:gd name="adj" fmla="val 2972"/>
              </a:avLst>
            </a:prstGeom>
            <a:solidFill>
              <a:schemeClr val="bg1"/>
            </a:solidFill>
            <a:ln w="20168" cap="flat">
              <a:noFill/>
              <a:prstDash val="solid"/>
              <a:miter/>
            </a:ln>
          </p:spPr>
          <p:txBody>
            <a:bodyPr wrap="square" lIns="252000" tIns="180000" rIns="216000" bIns="180000" rtlCol="0" anchor="t">
              <a:spAutoFit/>
            </a:bodyPr>
            <a:lstStyle/>
            <a:p>
              <a:pPr>
                <a:spcAft>
                  <a:spcPts val="1000"/>
                </a:spcAft>
              </a:pPr>
              <a:r>
                <a:rPr lang="ja-JP" altLang="en-US" sz="2400" dirty="0">
                  <a:latin typeface="+mj-ea"/>
                  <a:ea typeface="+mj-ea"/>
                </a:rPr>
                <a:t>誕生日プレゼントをいくつか考えてください。</a:t>
              </a:r>
            </a:p>
            <a:p>
              <a:pPr marL="342900" indent="-342900">
                <a:spcAft>
                  <a:spcPts val="1000"/>
                </a:spcAft>
                <a:buFont typeface="Wingdings" panose="05000000000000000000" pitchFamily="2" charset="2"/>
                <a:buChar char="l"/>
              </a:pPr>
              <a:r>
                <a:rPr lang="ja-JP" altLang="en-US" sz="2000" dirty="0">
                  <a:latin typeface="+mn-ea"/>
                </a:rPr>
                <a:t>相手：</a:t>
              </a:r>
              <a:r>
                <a:rPr lang="en-US" altLang="ja-JP" sz="2000" dirty="0">
                  <a:latin typeface="+mn-ea"/>
                </a:rPr>
                <a:t>20</a:t>
              </a:r>
              <a:r>
                <a:rPr lang="ja-JP" altLang="en-US" sz="2000" dirty="0">
                  <a:latin typeface="+mn-ea"/>
                </a:rPr>
                <a:t>代男性</a:t>
              </a:r>
            </a:p>
            <a:p>
              <a:pPr marL="342900" indent="-342900">
                <a:spcAft>
                  <a:spcPts val="1000"/>
                </a:spcAft>
                <a:buFont typeface="Wingdings" panose="05000000000000000000" pitchFamily="2" charset="2"/>
                <a:buChar char="l"/>
              </a:pPr>
              <a:r>
                <a:rPr lang="ja-JP" altLang="en-US" sz="2000" dirty="0">
                  <a:latin typeface="+mn-ea"/>
                </a:rPr>
                <a:t>好み：スポーツやアウトドアが好き</a:t>
              </a:r>
            </a:p>
            <a:p>
              <a:pPr marL="342900" indent="-342900">
                <a:spcAft>
                  <a:spcPts val="1000"/>
                </a:spcAft>
                <a:buFont typeface="Wingdings" panose="05000000000000000000" pitchFamily="2" charset="2"/>
                <a:buChar char="l"/>
              </a:pPr>
              <a:r>
                <a:rPr lang="ja-JP" altLang="en-US" sz="2000" dirty="0">
                  <a:latin typeface="+mn-ea"/>
                </a:rPr>
                <a:t>予算：</a:t>
              </a:r>
              <a:r>
                <a:rPr lang="en-US" altLang="ja-JP" sz="2000" dirty="0">
                  <a:latin typeface="+mn-ea"/>
                </a:rPr>
                <a:t>5,000</a:t>
              </a:r>
              <a:r>
                <a:rPr lang="ja-JP" altLang="en-US" sz="2000" dirty="0">
                  <a:latin typeface="+mn-ea"/>
                </a:rPr>
                <a:t>円～</a:t>
              </a:r>
              <a:r>
                <a:rPr lang="en-US" altLang="ja-JP" sz="2000" dirty="0">
                  <a:latin typeface="+mn-ea"/>
                </a:rPr>
                <a:t>10,000</a:t>
              </a:r>
              <a:r>
                <a:rPr lang="ja-JP" altLang="en-US" sz="2000" dirty="0">
                  <a:latin typeface="+mn-ea"/>
                </a:rPr>
                <a:t>円</a:t>
              </a:r>
            </a:p>
            <a:p>
              <a:pPr>
                <a:spcAft>
                  <a:spcPts val="1000"/>
                </a:spcAft>
              </a:pPr>
              <a:r>
                <a:rPr lang="ja-JP" altLang="en-US" sz="2000" dirty="0">
                  <a:latin typeface="+mn-ea"/>
                </a:rPr>
                <a:t>例えば、ランニングシューズ、キャンプの調理器具などが挙げられますが、</a:t>
              </a:r>
              <a:br>
                <a:rPr lang="en-US" altLang="ja-JP" sz="2000" dirty="0">
                  <a:latin typeface="+mn-ea"/>
                </a:rPr>
              </a:br>
              <a:r>
                <a:rPr lang="ja-JP" altLang="en-US" sz="2000" dirty="0">
                  <a:latin typeface="+mn-ea"/>
                </a:rPr>
                <a:t>それ以外のアイデアを教えてください。</a:t>
              </a:r>
            </a:p>
          </p:txBody>
        </p:sp>
      </p:grpSp>
      <p:grpSp>
        <p:nvGrpSpPr>
          <p:cNvPr id="17" name="グループ化 16">
            <a:extLst>
              <a:ext uri="{FF2B5EF4-FFF2-40B4-BE49-F238E27FC236}">
                <a16:creationId xmlns:a16="http://schemas.microsoft.com/office/drawing/2014/main" id="{D2CC6A4E-80BB-78EC-7ED9-C1BB8507343B}"/>
              </a:ext>
            </a:extLst>
          </p:cNvPr>
          <p:cNvGrpSpPr/>
          <p:nvPr/>
        </p:nvGrpSpPr>
        <p:grpSpPr>
          <a:xfrm>
            <a:off x="2299540" y="5284487"/>
            <a:ext cx="10354915" cy="4167314"/>
            <a:chOff x="2299540" y="3752707"/>
            <a:chExt cx="10354915" cy="4167314"/>
          </a:xfrm>
        </p:grpSpPr>
        <p:sp>
          <p:nvSpPr>
            <p:cNvPr id="18" name="フリーフォーム: 図形 17">
              <a:extLst>
                <a:ext uri="{FF2B5EF4-FFF2-40B4-BE49-F238E27FC236}">
                  <a16:creationId xmlns:a16="http://schemas.microsoft.com/office/drawing/2014/main" id="{EF6178DF-1F15-2600-3222-074DF7471CAE}"/>
                </a:ext>
              </a:extLst>
            </p:cNvPr>
            <p:cNvSpPr/>
            <p:nvPr/>
          </p:nvSpPr>
          <p:spPr>
            <a:xfrm rot="18743112" flipV="1">
              <a:off x="2291112" y="396073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19" name="四角形: 角を丸くする 18">
              <a:extLst>
                <a:ext uri="{FF2B5EF4-FFF2-40B4-BE49-F238E27FC236}">
                  <a16:creationId xmlns:a16="http://schemas.microsoft.com/office/drawing/2014/main" id="{69ACDAA9-7CAB-7066-8999-36473EF468B2}"/>
                </a:ext>
              </a:extLst>
            </p:cNvPr>
            <p:cNvSpPr/>
            <p:nvPr/>
          </p:nvSpPr>
          <p:spPr>
            <a:xfrm>
              <a:off x="2516354" y="3752707"/>
              <a:ext cx="10138101" cy="4167314"/>
            </a:xfrm>
            <a:prstGeom prst="roundRect">
              <a:avLst>
                <a:gd name="adj" fmla="val 2003"/>
              </a:avLst>
            </a:prstGeom>
            <a:solidFill>
              <a:schemeClr val="accent5">
                <a:lumMod val="40000"/>
                <a:lumOff val="60000"/>
              </a:schemeClr>
            </a:solidFill>
            <a:ln w="38100" cap="flat">
              <a:noFill/>
              <a:prstDash val="solid"/>
              <a:miter/>
            </a:ln>
          </p:spPr>
          <p:txBody>
            <a:bodyPr wrap="square" lIns="288000" tIns="180000" rIns="216000" bIns="180000" rtlCol="0" anchor="t">
              <a:spAutoFit/>
            </a:bodyPr>
            <a:lstStyle/>
            <a:p>
              <a:pPr>
                <a:lnSpc>
                  <a:spcPct val="110000"/>
                </a:lnSpc>
                <a:spcAft>
                  <a:spcPts val="1000"/>
                </a:spcAft>
                <a:buClr>
                  <a:schemeClr val="accent2"/>
                </a:buClr>
              </a:pPr>
              <a:r>
                <a:rPr lang="ja-JP" altLang="en-US" sz="1800" dirty="0">
                  <a:latin typeface="+mn-ea"/>
                </a:rPr>
                <a:t>以下のようなアイテムがおすすめです。</a:t>
              </a:r>
            </a:p>
            <a:p>
              <a:pPr marL="285750" indent="-285750">
                <a:lnSpc>
                  <a:spcPct val="110000"/>
                </a:lnSpc>
                <a:spcAft>
                  <a:spcPts val="1000"/>
                </a:spcAft>
                <a:buClr>
                  <a:schemeClr val="accent2"/>
                </a:buClr>
                <a:buFont typeface="Wingdings" panose="05000000000000000000" pitchFamily="2" charset="2"/>
                <a:buChar char="l"/>
              </a:pPr>
              <a:r>
                <a:rPr lang="ja-JP" altLang="en-US" sz="1800" dirty="0">
                  <a:latin typeface="+mn-ea"/>
                </a:rPr>
                <a:t>ポータブルスピーカー：防水機能付きのポータブルスピーカーで、アウトドアやキャンプでも音楽を楽しむことができます。</a:t>
              </a:r>
            </a:p>
            <a:p>
              <a:pPr marL="285750" indent="-285750">
                <a:lnSpc>
                  <a:spcPct val="110000"/>
                </a:lnSpc>
                <a:spcAft>
                  <a:spcPts val="1000"/>
                </a:spcAft>
                <a:buClr>
                  <a:schemeClr val="accent2"/>
                </a:buClr>
                <a:buFont typeface="Wingdings" panose="05000000000000000000" pitchFamily="2" charset="2"/>
                <a:buChar char="l"/>
              </a:pPr>
              <a:r>
                <a:rPr lang="ja-JP" altLang="en-US" sz="1800" dirty="0">
                  <a:latin typeface="+mn-ea"/>
                </a:rPr>
                <a:t>フィットネスバンド</a:t>
              </a:r>
              <a:r>
                <a:rPr lang="en-US" altLang="ja-JP" sz="1800" dirty="0">
                  <a:latin typeface="+mn-ea"/>
                </a:rPr>
                <a:t>/</a:t>
              </a:r>
              <a:r>
                <a:rPr lang="ja-JP" altLang="en-US" sz="1800" dirty="0">
                  <a:latin typeface="+mn-ea"/>
                </a:rPr>
                <a:t>スマートウォッチ：アクティビティのトラッキングや健康管理ができるフィットネスバンドやスマートウォッチ。</a:t>
              </a:r>
            </a:p>
            <a:p>
              <a:pPr marL="285750" indent="-285750">
                <a:lnSpc>
                  <a:spcPct val="110000"/>
                </a:lnSpc>
                <a:spcAft>
                  <a:spcPts val="1000"/>
                </a:spcAft>
                <a:buClr>
                  <a:schemeClr val="accent2"/>
                </a:buClr>
                <a:buFont typeface="Wingdings" panose="05000000000000000000" pitchFamily="2" charset="2"/>
                <a:buChar char="l"/>
              </a:pPr>
              <a:r>
                <a:rPr lang="ja-JP" altLang="en-US" sz="1800" dirty="0">
                  <a:latin typeface="+mn-ea"/>
                </a:rPr>
                <a:t>サングラス：アウトドアアクティビティ中に目を保護するための</a:t>
              </a:r>
              <a:r>
                <a:rPr lang="en-US" altLang="ja-JP" sz="1800" dirty="0">
                  <a:latin typeface="+mn-ea"/>
                </a:rPr>
                <a:t>UV</a:t>
              </a:r>
              <a:r>
                <a:rPr lang="ja-JP" altLang="en-US" sz="1800" dirty="0">
                  <a:latin typeface="+mn-ea"/>
                </a:rPr>
                <a:t>カット機能付きのサングラス。</a:t>
              </a:r>
            </a:p>
            <a:p>
              <a:pPr marL="285750" indent="-285750">
                <a:lnSpc>
                  <a:spcPct val="110000"/>
                </a:lnSpc>
                <a:spcAft>
                  <a:spcPts val="1000"/>
                </a:spcAft>
                <a:buClr>
                  <a:schemeClr val="accent2"/>
                </a:buClr>
                <a:buFont typeface="Wingdings" panose="05000000000000000000" pitchFamily="2" charset="2"/>
                <a:buChar char="l"/>
              </a:pPr>
              <a:r>
                <a:rPr lang="ja-JP" altLang="en-US" sz="1800" dirty="0">
                  <a:latin typeface="+mn-ea"/>
                </a:rPr>
                <a:t>多機能ナイフ</a:t>
              </a:r>
              <a:r>
                <a:rPr lang="en-US" altLang="ja-JP" sz="1800" dirty="0">
                  <a:latin typeface="+mn-ea"/>
                </a:rPr>
                <a:t>/</a:t>
              </a:r>
              <a:r>
                <a:rPr lang="ja-JP" altLang="en-US" sz="1800" dirty="0">
                  <a:latin typeface="+mn-ea"/>
                </a:rPr>
                <a:t>マルチツール：キャンプやアウトドアで役立つ多機能ナイフやマルチツール。</a:t>
              </a:r>
            </a:p>
            <a:p>
              <a:pPr marL="285750" indent="-285750">
                <a:lnSpc>
                  <a:spcPct val="110000"/>
                </a:lnSpc>
                <a:spcAft>
                  <a:spcPts val="1000"/>
                </a:spcAft>
                <a:buClr>
                  <a:schemeClr val="accent2"/>
                </a:buClr>
                <a:buFont typeface="Wingdings" panose="05000000000000000000" pitchFamily="2" charset="2"/>
                <a:buChar char="l"/>
              </a:pPr>
              <a:r>
                <a:rPr lang="ja-JP" altLang="en-US" sz="1800" dirty="0">
                  <a:latin typeface="+mn-ea"/>
                </a:rPr>
                <a:t>トレーニング用具：自宅でのトレーニングに使えるダンベルセットや抵抗バンドセット。</a:t>
              </a:r>
            </a:p>
            <a:p>
              <a:pPr>
                <a:lnSpc>
                  <a:spcPct val="110000"/>
                </a:lnSpc>
                <a:spcAft>
                  <a:spcPts val="1000"/>
                </a:spcAft>
                <a:buClr>
                  <a:schemeClr val="accent2"/>
                </a:buClr>
              </a:pPr>
              <a:r>
                <a:rPr lang="ja-JP" altLang="en-US" sz="1800" dirty="0">
                  <a:latin typeface="+mn-ea"/>
                </a:rPr>
                <a:t>これらのアイデアを参考に、相手の好みや趣味に合わせてプレゼントを選んでみてください。</a:t>
              </a:r>
            </a:p>
          </p:txBody>
        </p:sp>
      </p:grpSp>
      <p:grpSp>
        <p:nvGrpSpPr>
          <p:cNvPr id="20" name="グループ化 19">
            <a:extLst>
              <a:ext uri="{FF2B5EF4-FFF2-40B4-BE49-F238E27FC236}">
                <a16:creationId xmlns:a16="http://schemas.microsoft.com/office/drawing/2014/main" id="{66A95F53-6814-D819-150B-319E79F3CFD8}"/>
              </a:ext>
            </a:extLst>
          </p:cNvPr>
          <p:cNvGrpSpPr/>
          <p:nvPr/>
        </p:nvGrpSpPr>
        <p:grpSpPr>
          <a:xfrm>
            <a:off x="13092123" y="4572796"/>
            <a:ext cx="3976678" cy="2485869"/>
            <a:chOff x="13092123" y="3656599"/>
            <a:chExt cx="3976678" cy="2485869"/>
          </a:xfrm>
        </p:grpSpPr>
        <p:sp>
          <p:nvSpPr>
            <p:cNvPr id="21" name="四角形: 上の 2 つの角を丸める 20">
              <a:extLst>
                <a:ext uri="{FF2B5EF4-FFF2-40B4-BE49-F238E27FC236}">
                  <a16:creationId xmlns:a16="http://schemas.microsoft.com/office/drawing/2014/main" id="{3219EE70-B014-F5D8-F350-6CDFF73C2043}"/>
                </a:ext>
              </a:extLst>
            </p:cNvPr>
            <p:cNvSpPr/>
            <p:nvPr/>
          </p:nvSpPr>
          <p:spPr>
            <a:xfrm>
              <a:off x="13092123" y="3656599"/>
              <a:ext cx="1651318" cy="452554"/>
            </a:xfrm>
            <a:prstGeom prst="round2SameRect">
              <a:avLst>
                <a:gd name="adj1" fmla="val 22191"/>
                <a:gd name="adj2" fmla="val 0"/>
              </a:avLst>
            </a:prstGeom>
            <a:solidFill>
              <a:schemeClr val="accent2"/>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Good</a:t>
              </a:r>
            </a:p>
          </p:txBody>
        </p:sp>
        <p:sp>
          <p:nvSpPr>
            <p:cNvPr id="22" name="四角形: 対角を丸める 21">
              <a:extLst>
                <a:ext uri="{FF2B5EF4-FFF2-40B4-BE49-F238E27FC236}">
                  <a16:creationId xmlns:a16="http://schemas.microsoft.com/office/drawing/2014/main" id="{C594B009-BAB1-AADF-EFB9-CA44A1AA6D32}"/>
                </a:ext>
              </a:extLst>
            </p:cNvPr>
            <p:cNvSpPr/>
            <p:nvPr/>
          </p:nvSpPr>
          <p:spPr>
            <a:xfrm>
              <a:off x="13092123" y="4117800"/>
              <a:ext cx="3976678" cy="2024668"/>
            </a:xfrm>
            <a:prstGeom prst="round2DiagRect">
              <a:avLst>
                <a:gd name="adj1" fmla="val 0"/>
                <a:gd name="adj2" fmla="val 4296"/>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lIns="216000" tIns="252000" rIns="216000" bIns="252000" rtlCol="0" anchor="t">
              <a:spAutoFit/>
            </a:bodyPr>
            <a:lstStyle/>
            <a:p>
              <a:r>
                <a:rPr kumimoji="1" lang="ja-JP" altLang="en-US" sz="2400" spc="100" dirty="0">
                  <a:solidFill>
                    <a:schemeClr val="tx1"/>
                  </a:solidFill>
                  <a:latin typeface="+mn-ea"/>
                </a:rPr>
                <a:t>詳細な設定・検討の材料や欲しい回答の例を与えることで、状況に合わせた回答を得られる</a:t>
              </a:r>
            </a:p>
          </p:txBody>
        </p:sp>
      </p:grpSp>
      <p:sp>
        <p:nvSpPr>
          <p:cNvPr id="9" name="スライド番号プレースホルダー 8">
            <a:extLst>
              <a:ext uri="{FF2B5EF4-FFF2-40B4-BE49-F238E27FC236}">
                <a16:creationId xmlns:a16="http://schemas.microsoft.com/office/drawing/2014/main" id="{31050C76-F753-79B9-3EAE-162F47A1B574}"/>
              </a:ext>
            </a:extLst>
          </p:cNvPr>
          <p:cNvSpPr>
            <a:spLocks noGrp="1"/>
          </p:cNvSpPr>
          <p:nvPr>
            <p:ph type="sldNum" sz="quarter" idx="11"/>
          </p:nvPr>
        </p:nvSpPr>
        <p:spPr>
          <a:xfrm>
            <a:off x="17695001" y="9786651"/>
            <a:ext cx="327013" cy="307777"/>
          </a:xfrm>
        </p:spPr>
        <p:txBody>
          <a:bodyPr/>
          <a:lstStyle/>
          <a:p>
            <a:r>
              <a:rPr lang="en-US" altLang="ja-JP"/>
              <a:t>24</a:t>
            </a:r>
            <a:endParaRPr lang="ja-JP" altLang="en-US" dirty="0"/>
          </a:p>
        </p:txBody>
      </p:sp>
      <p:pic>
        <p:nvPicPr>
          <p:cNvPr id="2" name="図 1">
            <a:extLst>
              <a:ext uri="{FF2B5EF4-FFF2-40B4-BE49-F238E27FC236}">
                <a16:creationId xmlns:a16="http://schemas.microsoft.com/office/drawing/2014/main" id="{3136D1EF-A52E-5E4E-AABB-7D598EEB053D}"/>
              </a:ext>
            </a:extLst>
          </p:cNvPr>
          <p:cNvPicPr>
            <a:picLocks noChangeAspect="1"/>
          </p:cNvPicPr>
          <p:nvPr/>
        </p:nvPicPr>
        <p:blipFill>
          <a:blip r:embed="rId3"/>
          <a:stretch>
            <a:fillRect/>
          </a:stretch>
        </p:blipFill>
        <p:spPr>
          <a:xfrm>
            <a:off x="891184" y="2407470"/>
            <a:ext cx="1292464" cy="1286367"/>
          </a:xfrm>
          <a:prstGeom prst="rect">
            <a:avLst/>
          </a:prstGeom>
        </p:spPr>
      </p:pic>
      <p:grpSp>
        <p:nvGrpSpPr>
          <p:cNvPr id="13" name="グループ化 12">
            <a:extLst>
              <a:ext uri="{FF2B5EF4-FFF2-40B4-BE49-F238E27FC236}">
                <a16:creationId xmlns:a16="http://schemas.microsoft.com/office/drawing/2014/main" id="{889FD14D-A0F4-E643-5166-558D3CA35262}"/>
              </a:ext>
            </a:extLst>
          </p:cNvPr>
          <p:cNvGrpSpPr/>
          <p:nvPr/>
        </p:nvGrpSpPr>
        <p:grpSpPr>
          <a:xfrm>
            <a:off x="893577" y="5496192"/>
            <a:ext cx="1286367" cy="1742275"/>
            <a:chOff x="893577" y="5496192"/>
            <a:chExt cx="1286367" cy="1742275"/>
          </a:xfrm>
        </p:grpSpPr>
        <p:sp>
          <p:nvSpPr>
            <p:cNvPr id="28" name="テキスト ボックス 27">
              <a:extLst>
                <a:ext uri="{FF2B5EF4-FFF2-40B4-BE49-F238E27FC236}">
                  <a16:creationId xmlns:a16="http://schemas.microsoft.com/office/drawing/2014/main" id="{B53C0856-DF83-4688-6AB7-7BD794EF94D2}"/>
                </a:ext>
              </a:extLst>
            </p:cNvPr>
            <p:cNvSpPr txBox="1"/>
            <p:nvPr/>
          </p:nvSpPr>
          <p:spPr>
            <a:xfrm flipH="1">
              <a:off x="1364425" y="6863714"/>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2" name="図 11">
              <a:extLst>
                <a:ext uri="{FF2B5EF4-FFF2-40B4-BE49-F238E27FC236}">
                  <a16:creationId xmlns:a16="http://schemas.microsoft.com/office/drawing/2014/main" id="{7B315032-E1B9-E4C4-8940-3D7BB6B47425}"/>
                </a:ext>
              </a:extLst>
            </p:cNvPr>
            <p:cNvPicPr>
              <a:picLocks noChangeAspect="1"/>
            </p:cNvPicPr>
            <p:nvPr/>
          </p:nvPicPr>
          <p:blipFill>
            <a:blip r:embed="rId4"/>
            <a:stretch>
              <a:fillRect/>
            </a:stretch>
          </p:blipFill>
          <p:spPr>
            <a:xfrm>
              <a:off x="893577" y="5496192"/>
              <a:ext cx="1286367" cy="1292464"/>
            </a:xfrm>
            <a:prstGeom prst="rect">
              <a:avLst/>
            </a:prstGeom>
          </p:spPr>
        </p:pic>
      </p:grpSp>
      <p:sp>
        <p:nvSpPr>
          <p:cNvPr id="10" name="テキスト ボックス 9">
            <a:extLst>
              <a:ext uri="{FF2B5EF4-FFF2-40B4-BE49-F238E27FC236}">
                <a16:creationId xmlns:a16="http://schemas.microsoft.com/office/drawing/2014/main" id="{B4307611-F92C-6B93-A4FD-29D0D2D6B175}"/>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r>
              <a:rPr lang="ja-JP" altLang="en-US" sz="1400" spc="100" dirty="0">
                <a:solidFill>
                  <a:schemeClr val="tx2"/>
                </a:solidFill>
                <a:latin typeface="+mn-ea"/>
              </a:rPr>
              <a:t>から一部抜粋</a:t>
            </a:r>
            <a:endParaRPr kumimoji="1" lang="en-US" altLang="ja-JP" sz="1400" spc="100" dirty="0">
              <a:solidFill>
                <a:schemeClr val="tx2"/>
              </a:solidFill>
              <a:latin typeface="+mn-ea"/>
            </a:endParaRPr>
          </a:p>
        </p:txBody>
      </p:sp>
    </p:spTree>
    <p:extLst>
      <p:ext uri="{BB962C8B-B14F-4D97-AF65-F5344CB8AC3E}">
        <p14:creationId xmlns:p14="http://schemas.microsoft.com/office/powerpoint/2010/main" val="1338602243"/>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33026E6-8DAD-3577-5807-5D59343399EE}"/>
              </a:ext>
            </a:extLst>
          </p:cNvPr>
          <p:cNvGrpSpPr/>
          <p:nvPr/>
        </p:nvGrpSpPr>
        <p:grpSpPr>
          <a:xfrm>
            <a:off x="2966178" y="963221"/>
            <a:ext cx="13489651" cy="570468"/>
            <a:chOff x="2995068" y="963221"/>
            <a:chExt cx="13489651" cy="570468"/>
          </a:xfrm>
        </p:grpSpPr>
        <p:sp>
          <p:nvSpPr>
            <p:cNvPr id="5" name="テキスト ボックス 4">
              <a:extLst>
                <a:ext uri="{FF2B5EF4-FFF2-40B4-BE49-F238E27FC236}">
                  <a16:creationId xmlns:a16="http://schemas.microsoft.com/office/drawing/2014/main" id="{D06D7CE9-B62D-CC2C-F3DA-4C0909F85E5B}"/>
                </a:ext>
              </a:extLst>
            </p:cNvPr>
            <p:cNvSpPr txBox="1"/>
            <p:nvPr/>
          </p:nvSpPr>
          <p:spPr>
            <a:xfrm>
              <a:off x="6071612" y="1033012"/>
              <a:ext cx="10413107" cy="430887"/>
            </a:xfrm>
            <a:prstGeom prst="rect">
              <a:avLst/>
            </a:prstGeom>
            <a:noFill/>
          </p:spPr>
          <p:txBody>
            <a:bodyPr wrap="none" lIns="0" tIns="0" rIns="0" bIns="0" rtlCol="0" anchor="ctr">
              <a:spAutoFit/>
            </a:bodyPr>
            <a:lstStyle/>
            <a:p>
              <a:r>
                <a:rPr kumimoji="1" lang="ja-JP" altLang="en-US" sz="2800" spc="100" dirty="0">
                  <a:latin typeface="+mj-ea"/>
                  <a:ea typeface="+mj-ea"/>
                </a:rPr>
                <a:t>出力形式を指定しないと、分かりにくい回答になることがある</a:t>
              </a:r>
              <a:endParaRPr kumimoji="1" lang="en-US" altLang="ja-JP" sz="2800" spc="100" dirty="0">
                <a:latin typeface="+mj-ea"/>
                <a:ea typeface="+mj-ea"/>
              </a:endParaRPr>
            </a:p>
          </p:txBody>
        </p:sp>
        <p:sp>
          <p:nvSpPr>
            <p:cNvPr id="6" name="四角形: 角を丸くする 5">
              <a:extLst>
                <a:ext uri="{FF2B5EF4-FFF2-40B4-BE49-F238E27FC236}">
                  <a16:creationId xmlns:a16="http://schemas.microsoft.com/office/drawing/2014/main" id="{EAEA99F6-CDFC-6C20-1513-AA0ACB8CF3D7}"/>
                </a:ext>
              </a:extLst>
            </p:cNvPr>
            <p:cNvSpPr/>
            <p:nvPr/>
          </p:nvSpPr>
          <p:spPr>
            <a:xfrm>
              <a:off x="2995068" y="963221"/>
              <a:ext cx="2721727" cy="570468"/>
            </a:xfrm>
            <a:prstGeom prst="roundRect">
              <a:avLst>
                <a:gd name="adj" fmla="val 50000"/>
              </a:avLst>
            </a:prstGeom>
            <a:solidFill>
              <a:schemeClr val="accent3">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工夫❸ 悪い例</a:t>
              </a:r>
              <a:endParaRPr kumimoji="1" lang="ja-JP" altLang="en-US" sz="2400" spc="300" dirty="0">
                <a:solidFill>
                  <a:schemeClr val="tx1"/>
                </a:solidFill>
                <a:latin typeface="+mj-ea"/>
                <a:ea typeface="+mj-ea"/>
              </a:endParaRPr>
            </a:p>
          </p:txBody>
        </p:sp>
      </p:grpSp>
      <p:grpSp>
        <p:nvGrpSpPr>
          <p:cNvPr id="7" name="グループ化 6">
            <a:extLst>
              <a:ext uri="{FF2B5EF4-FFF2-40B4-BE49-F238E27FC236}">
                <a16:creationId xmlns:a16="http://schemas.microsoft.com/office/drawing/2014/main" id="{C5B99FE7-CF53-A671-2FB3-26CF18A125C6}"/>
              </a:ext>
            </a:extLst>
          </p:cNvPr>
          <p:cNvGrpSpPr/>
          <p:nvPr/>
        </p:nvGrpSpPr>
        <p:grpSpPr>
          <a:xfrm>
            <a:off x="2299540" y="2249960"/>
            <a:ext cx="4499094" cy="789548"/>
            <a:chOff x="2299540" y="2249960"/>
            <a:chExt cx="4499094" cy="789548"/>
          </a:xfrm>
        </p:grpSpPr>
        <p:sp>
          <p:nvSpPr>
            <p:cNvPr id="8" name="フリーフォーム: 図形 7">
              <a:extLst>
                <a:ext uri="{FF2B5EF4-FFF2-40B4-BE49-F238E27FC236}">
                  <a16:creationId xmlns:a16="http://schemas.microsoft.com/office/drawing/2014/main" id="{BFFD1A3B-0709-7F89-C94A-9BD3597E8841}"/>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9" name="四角形: 角を丸くする 8">
              <a:extLst>
                <a:ext uri="{FF2B5EF4-FFF2-40B4-BE49-F238E27FC236}">
                  <a16:creationId xmlns:a16="http://schemas.microsoft.com/office/drawing/2014/main" id="{F8AA3B3E-0C4A-A8F1-7ECA-48F5644E468D}"/>
                </a:ext>
              </a:extLst>
            </p:cNvPr>
            <p:cNvSpPr/>
            <p:nvPr/>
          </p:nvSpPr>
          <p:spPr>
            <a:xfrm>
              <a:off x="2519050" y="2249960"/>
              <a:ext cx="4279584" cy="789548"/>
            </a:xfrm>
            <a:prstGeom prst="roundRect">
              <a:avLst>
                <a:gd name="adj" fmla="val 12751"/>
              </a:avLst>
            </a:prstGeom>
            <a:solidFill>
              <a:schemeClr val="bg1"/>
            </a:solidFill>
            <a:ln w="20168" cap="flat">
              <a:noFill/>
              <a:prstDash val="solid"/>
              <a:miter/>
            </a:ln>
          </p:spPr>
          <p:txBody>
            <a:bodyPr wrap="none" lIns="252000" tIns="180000" rIns="288000" bIns="180000" rtlCol="0" anchor="t">
              <a:spAutoFit/>
            </a:bodyPr>
            <a:lstStyle/>
            <a:p>
              <a:pPr>
                <a:spcAft>
                  <a:spcPts val="1000"/>
                </a:spcAft>
              </a:pPr>
              <a:r>
                <a:rPr lang="ja-JP" altLang="en-US" sz="2400" dirty="0">
                  <a:latin typeface="+mj-ea"/>
                  <a:ea typeface="+mj-ea"/>
                </a:rPr>
                <a:t>みかんの栄養成分を教えて</a:t>
              </a:r>
            </a:p>
          </p:txBody>
        </p:sp>
      </p:grpSp>
      <p:grpSp>
        <p:nvGrpSpPr>
          <p:cNvPr id="18" name="グループ化 17">
            <a:extLst>
              <a:ext uri="{FF2B5EF4-FFF2-40B4-BE49-F238E27FC236}">
                <a16:creationId xmlns:a16="http://schemas.microsoft.com/office/drawing/2014/main" id="{7EF8AED9-57C0-8B4D-9D3E-6A9D64E6E9C9}"/>
              </a:ext>
            </a:extLst>
          </p:cNvPr>
          <p:cNvGrpSpPr/>
          <p:nvPr/>
        </p:nvGrpSpPr>
        <p:grpSpPr>
          <a:xfrm>
            <a:off x="2299540" y="3281619"/>
            <a:ext cx="9680810" cy="5326353"/>
            <a:chOff x="2299540" y="3218557"/>
            <a:chExt cx="9680810" cy="5326353"/>
          </a:xfrm>
        </p:grpSpPr>
        <p:sp>
          <p:nvSpPr>
            <p:cNvPr id="19" name="フリーフォーム: 図形 18">
              <a:extLst>
                <a:ext uri="{FF2B5EF4-FFF2-40B4-BE49-F238E27FC236}">
                  <a16:creationId xmlns:a16="http://schemas.microsoft.com/office/drawing/2014/main" id="{B78A3676-AB69-E5E4-827C-9FD4F8DE778E}"/>
                </a:ext>
              </a:extLst>
            </p:cNvPr>
            <p:cNvSpPr/>
            <p:nvPr/>
          </p:nvSpPr>
          <p:spPr>
            <a:xfrm rot="18743112" flipV="1">
              <a:off x="2291112" y="396073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0" name="四角形: 角を丸くする 19">
              <a:extLst>
                <a:ext uri="{FF2B5EF4-FFF2-40B4-BE49-F238E27FC236}">
                  <a16:creationId xmlns:a16="http://schemas.microsoft.com/office/drawing/2014/main" id="{E3FB8051-4FA2-6AF2-07FC-5391C0FC079B}"/>
                </a:ext>
              </a:extLst>
            </p:cNvPr>
            <p:cNvSpPr/>
            <p:nvPr/>
          </p:nvSpPr>
          <p:spPr>
            <a:xfrm>
              <a:off x="2516353" y="3218557"/>
              <a:ext cx="9463997" cy="5326353"/>
            </a:xfrm>
            <a:prstGeom prst="roundRect">
              <a:avLst>
                <a:gd name="adj" fmla="val 1516"/>
              </a:avLst>
            </a:prstGeom>
            <a:solidFill>
              <a:schemeClr val="accent5">
                <a:lumMod val="40000"/>
                <a:lumOff val="60000"/>
              </a:schemeClr>
            </a:solidFill>
            <a:ln w="38100" cap="flat">
              <a:noFill/>
              <a:prstDash val="solid"/>
              <a:miter/>
            </a:ln>
          </p:spPr>
          <p:txBody>
            <a:bodyPr wrap="square" lIns="288000" tIns="180000" rIns="216000" bIns="180000" rtlCol="0" anchor="t">
              <a:noAutofit/>
            </a:bodyPr>
            <a:lstStyle/>
            <a:p>
              <a:pPr>
                <a:lnSpc>
                  <a:spcPct val="110000"/>
                </a:lnSpc>
                <a:spcAft>
                  <a:spcPts val="1000"/>
                </a:spcAft>
                <a:buClr>
                  <a:schemeClr val="accent2"/>
                </a:buClr>
              </a:pPr>
              <a:r>
                <a:rPr lang="ja-JP" altLang="en-US" sz="2400" dirty="0">
                  <a:latin typeface="+mn-ea"/>
                </a:rPr>
                <a:t>みかん </a:t>
              </a:r>
              <a:r>
                <a:rPr lang="en-US" altLang="ja-JP" sz="2400" dirty="0">
                  <a:latin typeface="+mn-ea"/>
                </a:rPr>
                <a:t>(</a:t>
              </a:r>
              <a:r>
                <a:rPr lang="ja-JP" altLang="en-US" sz="2400" dirty="0">
                  <a:latin typeface="+mn-ea"/>
                </a:rPr>
                <a:t>約</a:t>
              </a:r>
              <a:r>
                <a:rPr lang="en-US" altLang="ja-JP" sz="2400" dirty="0">
                  <a:latin typeface="+mn-ea"/>
                </a:rPr>
                <a:t>88</a:t>
              </a:r>
              <a:r>
                <a:rPr lang="ja-JP" altLang="en-US" sz="2400" dirty="0">
                  <a:latin typeface="+mn-ea"/>
                </a:rPr>
                <a:t>グラム、中サイズ</a:t>
              </a:r>
              <a:r>
                <a:rPr lang="en-US" altLang="ja-JP" sz="2400" dirty="0">
                  <a:latin typeface="+mn-ea"/>
                </a:rPr>
                <a:t>1</a:t>
              </a:r>
              <a:r>
                <a:rPr lang="ja-JP" altLang="en-US" sz="2400" dirty="0">
                  <a:latin typeface="+mn-ea"/>
                </a:rPr>
                <a:t>個分</a:t>
              </a:r>
              <a:r>
                <a:rPr lang="en-US" altLang="ja-JP" sz="2400" dirty="0">
                  <a:latin typeface="+mn-ea"/>
                </a:rPr>
                <a:t>) </a:t>
              </a:r>
              <a:r>
                <a:rPr lang="ja-JP" altLang="en-US" sz="2400" dirty="0">
                  <a:latin typeface="+mn-ea"/>
                </a:rPr>
                <a:t>の主な栄養成分は以下の通りです。</a:t>
              </a:r>
            </a:p>
          </p:txBody>
        </p:sp>
      </p:grpSp>
      <p:sp>
        <p:nvSpPr>
          <p:cNvPr id="25" name="テキスト ボックス 24">
            <a:extLst>
              <a:ext uri="{FF2B5EF4-FFF2-40B4-BE49-F238E27FC236}">
                <a16:creationId xmlns:a16="http://schemas.microsoft.com/office/drawing/2014/main" id="{D1B81B1D-DDFD-53D5-B855-FFC4D7030CAF}"/>
              </a:ext>
            </a:extLst>
          </p:cNvPr>
          <p:cNvSpPr txBox="1"/>
          <p:nvPr/>
        </p:nvSpPr>
        <p:spPr>
          <a:xfrm>
            <a:off x="2850243" y="4596843"/>
            <a:ext cx="7985924" cy="3823702"/>
          </a:xfrm>
          <a:prstGeom prst="rect">
            <a:avLst/>
          </a:prstGeom>
          <a:noFill/>
        </p:spPr>
        <p:txBody>
          <a:bodyPr wrap="none" lIns="0" tIns="0" rIns="0" bIns="0" numCol="2" spcCol="900000">
            <a:noAutofit/>
          </a:bodyPr>
          <a:lstStyle/>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エネルギー</a:t>
            </a:r>
            <a:r>
              <a:rPr lang="en-US" altLang="ja-JP" sz="2000" dirty="0">
                <a:latin typeface="+mn-ea"/>
              </a:rPr>
              <a:t>: </a:t>
            </a:r>
            <a:r>
              <a:rPr lang="ja-JP" altLang="en-US" sz="2000" dirty="0">
                <a:latin typeface="+mn-ea"/>
              </a:rPr>
              <a:t>約</a:t>
            </a:r>
            <a:r>
              <a:rPr lang="en-US" altLang="ja-JP" sz="2000" dirty="0">
                <a:latin typeface="+mn-ea"/>
              </a:rPr>
              <a:t>47 kcal</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総脂質</a:t>
            </a:r>
            <a:r>
              <a:rPr lang="en-US" altLang="ja-JP" sz="2000" dirty="0">
                <a:latin typeface="+mn-ea"/>
              </a:rPr>
              <a:t>: </a:t>
            </a:r>
            <a:r>
              <a:rPr lang="ja-JP" altLang="en-US" sz="2000" dirty="0">
                <a:latin typeface="+mn-ea"/>
              </a:rPr>
              <a:t>約</a:t>
            </a:r>
            <a:r>
              <a:rPr lang="en-US" altLang="ja-JP" sz="2000" dirty="0">
                <a:latin typeface="+mn-ea"/>
              </a:rPr>
              <a:t>0.3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飽和脂肪</a:t>
            </a:r>
            <a:r>
              <a:rPr lang="en-US" altLang="ja-JP" sz="2000" dirty="0">
                <a:latin typeface="+mn-ea"/>
              </a:rPr>
              <a:t>: </a:t>
            </a:r>
            <a:r>
              <a:rPr lang="ja-JP" altLang="en-US" sz="2000" dirty="0">
                <a:latin typeface="+mn-ea"/>
              </a:rPr>
              <a:t>約</a:t>
            </a:r>
            <a:r>
              <a:rPr lang="en-US" altLang="ja-JP" sz="2000" dirty="0">
                <a:latin typeface="+mn-ea"/>
              </a:rPr>
              <a:t>0.039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一価不飽和脂肪</a:t>
            </a:r>
            <a:r>
              <a:rPr lang="en-US" altLang="ja-JP" sz="2000" dirty="0">
                <a:latin typeface="+mn-ea"/>
              </a:rPr>
              <a:t>: </a:t>
            </a:r>
            <a:r>
              <a:rPr lang="ja-JP" altLang="en-US" sz="2000" dirty="0">
                <a:latin typeface="+mn-ea"/>
              </a:rPr>
              <a:t>約</a:t>
            </a:r>
            <a:r>
              <a:rPr lang="en-US" altLang="ja-JP" sz="2000" dirty="0">
                <a:latin typeface="+mn-ea"/>
              </a:rPr>
              <a:t>0.060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多価不飽和脂肪</a:t>
            </a:r>
            <a:r>
              <a:rPr lang="en-US" altLang="ja-JP" sz="2000" dirty="0">
                <a:latin typeface="+mn-ea"/>
              </a:rPr>
              <a:t>: </a:t>
            </a:r>
            <a:r>
              <a:rPr lang="ja-JP" altLang="en-US" sz="2000" dirty="0">
                <a:latin typeface="+mn-ea"/>
              </a:rPr>
              <a:t>約</a:t>
            </a:r>
            <a:r>
              <a:rPr lang="en-US" altLang="ja-JP" sz="2000" dirty="0">
                <a:latin typeface="+mn-ea"/>
              </a:rPr>
              <a:t>0.065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コレステロール</a:t>
            </a:r>
            <a:r>
              <a:rPr lang="en-US" altLang="ja-JP" sz="2000" dirty="0">
                <a:latin typeface="+mn-ea"/>
              </a:rPr>
              <a:t>: 0 m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ナトリウム</a:t>
            </a:r>
            <a:r>
              <a:rPr lang="en-US" altLang="ja-JP" sz="2000" dirty="0">
                <a:latin typeface="+mn-ea"/>
              </a:rPr>
              <a:t>: 0 m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総炭水化物</a:t>
            </a:r>
            <a:r>
              <a:rPr lang="en-US" altLang="ja-JP" sz="2000" dirty="0">
                <a:latin typeface="+mn-ea"/>
              </a:rPr>
              <a:t>: </a:t>
            </a:r>
            <a:r>
              <a:rPr lang="ja-JP" altLang="en-US" sz="2000" dirty="0">
                <a:latin typeface="+mn-ea"/>
              </a:rPr>
              <a:t>約</a:t>
            </a:r>
            <a:r>
              <a:rPr lang="en-US" altLang="ja-JP" sz="2000" dirty="0">
                <a:latin typeface="+mn-ea"/>
              </a:rPr>
              <a:t>12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食物繊維</a:t>
            </a:r>
            <a:r>
              <a:rPr lang="en-US" altLang="ja-JP" sz="2000" dirty="0">
                <a:latin typeface="+mn-ea"/>
              </a:rPr>
              <a:t>: </a:t>
            </a:r>
            <a:r>
              <a:rPr lang="ja-JP" altLang="en-US" sz="2000" dirty="0">
                <a:latin typeface="+mn-ea"/>
              </a:rPr>
              <a:t>約</a:t>
            </a:r>
            <a:r>
              <a:rPr lang="en-US" altLang="ja-JP" sz="2000" dirty="0">
                <a:latin typeface="+mn-ea"/>
              </a:rPr>
              <a:t>2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総糖質</a:t>
            </a:r>
            <a:r>
              <a:rPr lang="en-US" altLang="ja-JP" sz="2000" dirty="0">
                <a:latin typeface="+mn-ea"/>
              </a:rPr>
              <a:t>: </a:t>
            </a:r>
            <a:r>
              <a:rPr lang="ja-JP" altLang="en-US" sz="2000" dirty="0">
                <a:latin typeface="+mn-ea"/>
              </a:rPr>
              <a:t>約</a:t>
            </a:r>
            <a:r>
              <a:rPr lang="en-US" altLang="ja-JP" sz="2000" dirty="0">
                <a:latin typeface="+mn-ea"/>
              </a:rPr>
              <a:t>9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プロテイン</a:t>
            </a:r>
            <a:r>
              <a:rPr lang="en-US" altLang="ja-JP" sz="2000" dirty="0">
                <a:latin typeface="+mn-ea"/>
              </a:rPr>
              <a:t>: </a:t>
            </a:r>
            <a:r>
              <a:rPr lang="ja-JP" altLang="en-US" sz="2000" dirty="0">
                <a:latin typeface="+mn-ea"/>
              </a:rPr>
              <a:t>約</a:t>
            </a:r>
            <a:r>
              <a:rPr lang="en-US" altLang="ja-JP" sz="2000" dirty="0">
                <a:latin typeface="+mn-ea"/>
              </a:rPr>
              <a:t>0.7 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ビタミン</a:t>
            </a:r>
            <a:r>
              <a:rPr lang="en-US" altLang="ja-JP" sz="2000" dirty="0">
                <a:latin typeface="+mn-ea"/>
              </a:rPr>
              <a:t>D: 0 IU</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カルシウム</a:t>
            </a:r>
            <a:r>
              <a:rPr lang="en-US" altLang="ja-JP" sz="2000" dirty="0">
                <a:latin typeface="+mn-ea"/>
              </a:rPr>
              <a:t>: </a:t>
            </a:r>
            <a:r>
              <a:rPr lang="ja-JP" altLang="en-US" sz="2000" dirty="0">
                <a:latin typeface="+mn-ea"/>
              </a:rPr>
              <a:t>約</a:t>
            </a:r>
            <a:r>
              <a:rPr lang="en-US" altLang="ja-JP" sz="2000" dirty="0">
                <a:latin typeface="+mn-ea"/>
              </a:rPr>
              <a:t>22 m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鉄</a:t>
            </a:r>
            <a:r>
              <a:rPr lang="en-US" altLang="ja-JP" sz="2000" dirty="0">
                <a:latin typeface="+mn-ea"/>
              </a:rPr>
              <a:t>: </a:t>
            </a:r>
            <a:r>
              <a:rPr lang="ja-JP" altLang="en-US" sz="2000" dirty="0">
                <a:latin typeface="+mn-ea"/>
              </a:rPr>
              <a:t>約</a:t>
            </a:r>
            <a:r>
              <a:rPr lang="en-US" altLang="ja-JP" sz="2000" dirty="0">
                <a:latin typeface="+mn-ea"/>
              </a:rPr>
              <a:t>0.1 m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ポタッシウム</a:t>
            </a:r>
            <a:r>
              <a:rPr lang="en-US" altLang="ja-JP" sz="2000" dirty="0">
                <a:latin typeface="+mn-ea"/>
              </a:rPr>
              <a:t>: </a:t>
            </a:r>
            <a:r>
              <a:rPr lang="ja-JP" altLang="en-US" sz="2000" dirty="0">
                <a:latin typeface="+mn-ea"/>
              </a:rPr>
              <a:t>約</a:t>
            </a:r>
            <a:r>
              <a:rPr lang="en-US" altLang="ja-JP" sz="2000" dirty="0">
                <a:latin typeface="+mn-ea"/>
              </a:rPr>
              <a:t>139 mg</a:t>
            </a:r>
            <a:endParaRPr lang="ja-JP" altLang="en-US" sz="2000" dirty="0">
              <a:latin typeface="+mn-ea"/>
            </a:endParaRP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ビタミン</a:t>
            </a:r>
            <a:r>
              <a:rPr lang="en-US" altLang="ja-JP" sz="2000" dirty="0">
                <a:latin typeface="+mn-ea"/>
              </a:rPr>
              <a:t>C: </a:t>
            </a:r>
            <a:r>
              <a:rPr lang="ja-JP" altLang="en-US" sz="2000" dirty="0">
                <a:latin typeface="+mn-ea"/>
              </a:rPr>
              <a:t>約</a:t>
            </a:r>
            <a:r>
              <a:rPr lang="en-US" altLang="ja-JP" sz="2000" dirty="0">
                <a:latin typeface="+mn-ea"/>
              </a:rPr>
              <a:t>39.1 mg</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ビタミン</a:t>
            </a:r>
            <a:r>
              <a:rPr lang="en-US" altLang="ja-JP" sz="2000" dirty="0">
                <a:latin typeface="+mn-ea"/>
              </a:rPr>
              <a:t>A: </a:t>
            </a:r>
            <a:r>
              <a:rPr lang="ja-JP" altLang="en-US" sz="2000" dirty="0">
                <a:latin typeface="+mn-ea"/>
              </a:rPr>
              <a:t>約</a:t>
            </a:r>
            <a:r>
              <a:rPr lang="en-US" altLang="ja-JP" sz="2000" dirty="0">
                <a:latin typeface="+mn-ea"/>
              </a:rPr>
              <a:t>681 IU</a:t>
            </a:r>
          </a:p>
          <a:p>
            <a:pPr marL="285750" indent="-285750">
              <a:lnSpc>
                <a:spcPct val="110000"/>
              </a:lnSpc>
              <a:spcAft>
                <a:spcPts val="600"/>
              </a:spcAft>
              <a:buClr>
                <a:schemeClr val="accent2"/>
              </a:buClr>
              <a:buFont typeface="Wingdings" panose="05000000000000000000" pitchFamily="2" charset="2"/>
              <a:buChar char="l"/>
            </a:pPr>
            <a:r>
              <a:rPr lang="ja-JP" altLang="en-US" sz="2000" dirty="0">
                <a:latin typeface="+mn-ea"/>
              </a:rPr>
              <a:t>ビタミン</a:t>
            </a:r>
            <a:r>
              <a:rPr lang="en-US" altLang="ja-JP" sz="2000" dirty="0">
                <a:latin typeface="+mn-ea"/>
              </a:rPr>
              <a:t>E: </a:t>
            </a:r>
            <a:r>
              <a:rPr lang="ja-JP" altLang="en-US" sz="2000" dirty="0">
                <a:latin typeface="+mn-ea"/>
              </a:rPr>
              <a:t>約</a:t>
            </a:r>
            <a:r>
              <a:rPr lang="en-US" altLang="ja-JP" sz="2000" dirty="0">
                <a:latin typeface="+mn-ea"/>
              </a:rPr>
              <a:t>0.20 mg</a:t>
            </a:r>
          </a:p>
        </p:txBody>
      </p:sp>
      <p:grpSp>
        <p:nvGrpSpPr>
          <p:cNvPr id="52" name="グループ化 51">
            <a:extLst>
              <a:ext uri="{FF2B5EF4-FFF2-40B4-BE49-F238E27FC236}">
                <a16:creationId xmlns:a16="http://schemas.microsoft.com/office/drawing/2014/main" id="{E795DF38-4879-D0D0-C355-E10B2A295BE3}"/>
              </a:ext>
            </a:extLst>
          </p:cNvPr>
          <p:cNvGrpSpPr/>
          <p:nvPr/>
        </p:nvGrpSpPr>
        <p:grpSpPr>
          <a:xfrm>
            <a:off x="12451191" y="4486139"/>
            <a:ext cx="4627922" cy="2917313"/>
            <a:chOff x="13092123" y="3656599"/>
            <a:chExt cx="4627922" cy="2917313"/>
          </a:xfrm>
        </p:grpSpPr>
        <p:sp>
          <p:nvSpPr>
            <p:cNvPr id="53" name="四角形: 上の 2 つの角を丸める 52">
              <a:extLst>
                <a:ext uri="{FF2B5EF4-FFF2-40B4-BE49-F238E27FC236}">
                  <a16:creationId xmlns:a16="http://schemas.microsoft.com/office/drawing/2014/main" id="{50E35B54-6BE4-6754-A323-DC333A642A66}"/>
                </a:ext>
              </a:extLst>
            </p:cNvPr>
            <p:cNvSpPr/>
            <p:nvPr/>
          </p:nvSpPr>
          <p:spPr>
            <a:xfrm>
              <a:off x="13092123" y="3656599"/>
              <a:ext cx="1433197" cy="452554"/>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Bad</a:t>
              </a:r>
              <a:endParaRPr kumimoji="1" lang="ja-JP" altLang="en-US" sz="2400" spc="300" dirty="0">
                <a:solidFill>
                  <a:schemeClr val="bg1"/>
                </a:solidFill>
                <a:latin typeface="+mj-ea"/>
                <a:ea typeface="+mj-ea"/>
              </a:endParaRPr>
            </a:p>
          </p:txBody>
        </p:sp>
        <p:sp>
          <p:nvSpPr>
            <p:cNvPr id="54" name="四角形: 対角を丸める 53">
              <a:extLst>
                <a:ext uri="{FF2B5EF4-FFF2-40B4-BE49-F238E27FC236}">
                  <a16:creationId xmlns:a16="http://schemas.microsoft.com/office/drawing/2014/main" id="{06E657A2-7A00-B5E3-C1A9-8B31DF037A36}"/>
                </a:ext>
              </a:extLst>
            </p:cNvPr>
            <p:cNvSpPr/>
            <p:nvPr/>
          </p:nvSpPr>
          <p:spPr>
            <a:xfrm>
              <a:off x="13092123" y="4117800"/>
              <a:ext cx="4627922" cy="2456112"/>
            </a:xfrm>
            <a:prstGeom prst="round2DiagRect">
              <a:avLst>
                <a:gd name="adj1" fmla="val 0"/>
                <a:gd name="adj2" fmla="val 4296"/>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52000" rIns="216000" bIns="252000" rtlCol="0" anchor="t">
              <a:spAutoFit/>
            </a:bodyPr>
            <a:lstStyle/>
            <a:p>
              <a:pPr marL="288000" indent="-288000">
                <a:lnSpc>
                  <a:spcPct val="120000"/>
                </a:lnSpc>
                <a:spcAft>
                  <a:spcPts val="1200"/>
                </a:spcAft>
                <a:buClr>
                  <a:schemeClr val="accent3"/>
                </a:buClr>
                <a:buFont typeface="Arial" panose="020B0604020202020204" pitchFamily="34" charset="0"/>
                <a:buChar char="•"/>
              </a:pPr>
              <a:r>
                <a:rPr kumimoji="1" lang="ja-JP" altLang="en-US" sz="2400" spc="100" dirty="0">
                  <a:solidFill>
                    <a:schemeClr val="tx1"/>
                  </a:solidFill>
                  <a:latin typeface="+mn-ea"/>
                </a:rPr>
                <a:t>箇条書きの羅列で</a:t>
              </a:r>
              <a:br>
                <a:rPr kumimoji="1" lang="ja-JP" altLang="en-US" sz="2400" spc="100" dirty="0">
                  <a:solidFill>
                    <a:schemeClr val="tx1"/>
                  </a:solidFill>
                  <a:latin typeface="+mn-ea"/>
                </a:rPr>
              </a:br>
              <a:r>
                <a:rPr kumimoji="1" lang="ja-JP" altLang="en-US" sz="2400" spc="100" dirty="0">
                  <a:solidFill>
                    <a:schemeClr val="tx1"/>
                  </a:solidFill>
                  <a:latin typeface="+mn-ea"/>
                </a:rPr>
                <a:t>パッと見て分かりにくい</a:t>
              </a:r>
            </a:p>
            <a:p>
              <a:pPr marL="288000" indent="-288000">
                <a:lnSpc>
                  <a:spcPct val="120000"/>
                </a:lnSpc>
                <a:spcAft>
                  <a:spcPts val="1200"/>
                </a:spcAft>
                <a:buClr>
                  <a:schemeClr val="accent3"/>
                </a:buClr>
                <a:buFont typeface="Arial" panose="020B0604020202020204" pitchFamily="34" charset="0"/>
                <a:buChar char="•"/>
              </a:pPr>
              <a:r>
                <a:rPr kumimoji="1" lang="ja-JP" altLang="en-US" sz="2400" spc="100" dirty="0">
                  <a:solidFill>
                    <a:schemeClr val="tx1"/>
                  </a:solidFill>
                  <a:latin typeface="+mn-ea"/>
                </a:rPr>
                <a:t>栄養成分が</a:t>
              </a:r>
              <a:r>
                <a:rPr kumimoji="1" lang="en-US" altLang="ja-JP" sz="2400" spc="100" dirty="0">
                  <a:solidFill>
                    <a:schemeClr val="tx1"/>
                  </a:solidFill>
                  <a:latin typeface="+mn-ea"/>
                </a:rPr>
                <a:t>0mg</a:t>
              </a:r>
              <a:r>
                <a:rPr kumimoji="1" lang="ja-JP" altLang="en-US" sz="2400" spc="100" dirty="0">
                  <a:solidFill>
                    <a:schemeClr val="tx1"/>
                  </a:solidFill>
                  <a:latin typeface="+mn-ea"/>
                </a:rPr>
                <a:t>のものまで表示されている</a:t>
              </a:r>
            </a:p>
          </p:txBody>
        </p:sp>
      </p:grpSp>
      <p:sp>
        <p:nvSpPr>
          <p:cNvPr id="10" name="スライド番号プレースホルダー 9">
            <a:extLst>
              <a:ext uri="{FF2B5EF4-FFF2-40B4-BE49-F238E27FC236}">
                <a16:creationId xmlns:a16="http://schemas.microsoft.com/office/drawing/2014/main" id="{71D7B9E0-C1C1-ACE5-A378-E88E13B4C98F}"/>
              </a:ext>
            </a:extLst>
          </p:cNvPr>
          <p:cNvSpPr>
            <a:spLocks noGrp="1"/>
          </p:cNvSpPr>
          <p:nvPr>
            <p:ph type="sldNum" sz="quarter" idx="11"/>
          </p:nvPr>
        </p:nvSpPr>
        <p:spPr>
          <a:xfrm>
            <a:off x="17695001" y="9786651"/>
            <a:ext cx="327013" cy="307777"/>
          </a:xfrm>
        </p:spPr>
        <p:txBody>
          <a:bodyPr/>
          <a:lstStyle/>
          <a:p>
            <a:r>
              <a:rPr lang="en-US" altLang="ja-JP"/>
              <a:t>25</a:t>
            </a:r>
            <a:endParaRPr lang="ja-JP" altLang="en-US" dirty="0"/>
          </a:p>
        </p:txBody>
      </p:sp>
      <p:grpSp>
        <p:nvGrpSpPr>
          <p:cNvPr id="13" name="グループ化 12">
            <a:extLst>
              <a:ext uri="{FF2B5EF4-FFF2-40B4-BE49-F238E27FC236}">
                <a16:creationId xmlns:a16="http://schemas.microsoft.com/office/drawing/2014/main" id="{0E472FC9-87FD-E67F-3CA1-11163E2740A2}"/>
              </a:ext>
            </a:extLst>
          </p:cNvPr>
          <p:cNvGrpSpPr/>
          <p:nvPr/>
        </p:nvGrpSpPr>
        <p:grpSpPr>
          <a:xfrm flipH="1">
            <a:off x="891184" y="2407470"/>
            <a:ext cx="1288844" cy="1288844"/>
            <a:chOff x="15914915" y="2407469"/>
            <a:chExt cx="1481901" cy="1481901"/>
          </a:xfrm>
        </p:grpSpPr>
        <p:sp>
          <p:nvSpPr>
            <p:cNvPr id="14" name="楕円 13">
              <a:extLst>
                <a:ext uri="{FF2B5EF4-FFF2-40B4-BE49-F238E27FC236}">
                  <a16:creationId xmlns:a16="http://schemas.microsoft.com/office/drawing/2014/main" id="{BA602124-AB3B-2B34-37C9-69111CFCB007}"/>
                </a:ext>
              </a:extLst>
            </p:cNvPr>
            <p:cNvSpPr/>
            <p:nvPr/>
          </p:nvSpPr>
          <p:spPr>
            <a:xfrm>
              <a:off x="15914915" y="2407469"/>
              <a:ext cx="1481901" cy="1481901"/>
            </a:xfrm>
            <a:prstGeom prst="ellipse">
              <a:avLst/>
            </a:prstGeom>
            <a:solidFill>
              <a:schemeClr val="bg1"/>
            </a:solid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楕円 14">
              <a:extLst>
                <a:ext uri="{FF2B5EF4-FFF2-40B4-BE49-F238E27FC236}">
                  <a16:creationId xmlns:a16="http://schemas.microsoft.com/office/drawing/2014/main" id="{90AF2353-D4AF-B919-9E2F-49130CE8CBA8}"/>
                </a:ext>
              </a:extLst>
            </p:cNvPr>
            <p:cNvSpPr/>
            <p:nvPr/>
          </p:nvSpPr>
          <p:spPr>
            <a:xfrm flipH="1">
              <a:off x="15914915" y="2407469"/>
              <a:ext cx="1481901" cy="1481901"/>
            </a:xfrm>
            <a:prstGeom prst="ellipse">
              <a:avLst/>
            </a:prstGeom>
            <a:blipFill>
              <a:blip r:embed="rId3">
                <a:extLst>
                  <a:ext uri="{96DAC541-7B7A-43D3-8B79-37D633B846F1}">
                    <asvg:svgBlip xmlns:asvg="http://schemas.microsoft.com/office/drawing/2016/SVG/main" r:embed="rId4"/>
                  </a:ext>
                </a:extLst>
              </a:blip>
              <a:srcRect/>
              <a:stretch>
                <a:fillRect l="6654" t="11270" r="6654" b="-2595"/>
              </a:stretch>
            </a:blip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2" name="グループ化 21">
            <a:extLst>
              <a:ext uri="{FF2B5EF4-FFF2-40B4-BE49-F238E27FC236}">
                <a16:creationId xmlns:a16="http://schemas.microsoft.com/office/drawing/2014/main" id="{CC9ADA99-B807-CB36-B44A-E0BC0A8D5C5B}"/>
              </a:ext>
            </a:extLst>
          </p:cNvPr>
          <p:cNvGrpSpPr/>
          <p:nvPr/>
        </p:nvGrpSpPr>
        <p:grpSpPr>
          <a:xfrm>
            <a:off x="893577" y="3968032"/>
            <a:ext cx="1286367" cy="1738655"/>
            <a:chOff x="893577" y="3968032"/>
            <a:chExt cx="1286367" cy="1738655"/>
          </a:xfrm>
        </p:grpSpPr>
        <p:sp>
          <p:nvSpPr>
            <p:cNvPr id="37" name="テキスト ボックス 36">
              <a:extLst>
                <a:ext uri="{FF2B5EF4-FFF2-40B4-BE49-F238E27FC236}">
                  <a16:creationId xmlns:a16="http://schemas.microsoft.com/office/drawing/2014/main" id="{B765B67A-4783-4A76-D98C-3EF4663B15E0}"/>
                </a:ext>
              </a:extLst>
            </p:cNvPr>
            <p:cNvSpPr txBox="1"/>
            <p:nvPr/>
          </p:nvSpPr>
          <p:spPr>
            <a:xfrm flipH="1">
              <a:off x="1364425" y="5331934"/>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21" name="図 20">
              <a:extLst>
                <a:ext uri="{FF2B5EF4-FFF2-40B4-BE49-F238E27FC236}">
                  <a16:creationId xmlns:a16="http://schemas.microsoft.com/office/drawing/2014/main" id="{82A12E1F-9DB6-1A4A-6548-968A0EF60E54}"/>
                </a:ext>
              </a:extLst>
            </p:cNvPr>
            <p:cNvPicPr>
              <a:picLocks noChangeAspect="1"/>
            </p:cNvPicPr>
            <p:nvPr/>
          </p:nvPicPr>
          <p:blipFill>
            <a:blip r:embed="rId5"/>
            <a:stretch>
              <a:fillRect/>
            </a:stretch>
          </p:blipFill>
          <p:spPr>
            <a:xfrm>
              <a:off x="893577" y="3968032"/>
              <a:ext cx="1286367" cy="1286367"/>
            </a:xfrm>
            <a:prstGeom prst="rect">
              <a:avLst/>
            </a:prstGeom>
          </p:spPr>
        </p:pic>
      </p:grpSp>
      <p:sp>
        <p:nvSpPr>
          <p:cNvPr id="2" name="テキスト ボックス 1">
            <a:extLst>
              <a:ext uri="{FF2B5EF4-FFF2-40B4-BE49-F238E27FC236}">
                <a16:creationId xmlns:a16="http://schemas.microsoft.com/office/drawing/2014/main" id="{33A51C13-ABF2-EFB8-0229-E5F057A97EE8}"/>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r>
              <a:rPr lang="ja-JP" altLang="en-US" sz="1400" spc="100" dirty="0">
                <a:solidFill>
                  <a:schemeClr val="tx2"/>
                </a:solidFill>
                <a:latin typeface="+mn-ea"/>
              </a:rPr>
              <a:t>から一部抜粋</a:t>
            </a:r>
            <a:endParaRPr kumimoji="1" lang="en-US" altLang="ja-JP" sz="1400" spc="100" dirty="0">
              <a:solidFill>
                <a:schemeClr val="tx2"/>
              </a:solidFill>
              <a:latin typeface="+mn-ea"/>
            </a:endParaRPr>
          </a:p>
        </p:txBody>
      </p:sp>
    </p:spTree>
    <p:extLst>
      <p:ext uri="{BB962C8B-B14F-4D97-AF65-F5344CB8AC3E}">
        <p14:creationId xmlns:p14="http://schemas.microsoft.com/office/powerpoint/2010/main" val="2532195927"/>
      </p:ext>
    </p:extLst>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033026E6-8DAD-3577-5807-5D59343399EE}"/>
              </a:ext>
            </a:extLst>
          </p:cNvPr>
          <p:cNvGrpSpPr/>
          <p:nvPr/>
        </p:nvGrpSpPr>
        <p:grpSpPr>
          <a:xfrm>
            <a:off x="3607309" y="963221"/>
            <a:ext cx="12002064" cy="570468"/>
            <a:chOff x="2995068" y="963221"/>
            <a:chExt cx="12002064" cy="570468"/>
          </a:xfrm>
        </p:grpSpPr>
        <p:sp>
          <p:nvSpPr>
            <p:cNvPr id="5" name="テキスト ボックス 4">
              <a:extLst>
                <a:ext uri="{FF2B5EF4-FFF2-40B4-BE49-F238E27FC236}">
                  <a16:creationId xmlns:a16="http://schemas.microsoft.com/office/drawing/2014/main" id="{D06D7CE9-B62D-CC2C-F3DA-4C0909F85E5B}"/>
                </a:ext>
              </a:extLst>
            </p:cNvPr>
            <p:cNvSpPr txBox="1"/>
            <p:nvPr/>
          </p:nvSpPr>
          <p:spPr>
            <a:xfrm>
              <a:off x="6071612" y="1033012"/>
              <a:ext cx="8925520" cy="430887"/>
            </a:xfrm>
            <a:prstGeom prst="rect">
              <a:avLst/>
            </a:prstGeom>
            <a:noFill/>
          </p:spPr>
          <p:txBody>
            <a:bodyPr wrap="none" lIns="0" tIns="0" rIns="0" bIns="0" rtlCol="0" anchor="ctr">
              <a:spAutoFit/>
            </a:bodyPr>
            <a:lstStyle/>
            <a:p>
              <a:r>
                <a:rPr kumimoji="1" lang="ja-JP" altLang="en-US" sz="2800" spc="100" dirty="0">
                  <a:latin typeface="+mj-ea"/>
                  <a:ea typeface="+mj-ea"/>
                </a:rPr>
                <a:t>出力形式を指定すると、分かりやすい回答を得られる</a:t>
              </a:r>
              <a:endParaRPr kumimoji="1" lang="en-US" altLang="ja-JP" sz="2800" spc="100" dirty="0">
                <a:latin typeface="+mj-ea"/>
                <a:ea typeface="+mj-ea"/>
              </a:endParaRPr>
            </a:p>
          </p:txBody>
        </p:sp>
        <p:sp>
          <p:nvSpPr>
            <p:cNvPr id="6" name="四角形: 角を丸くする 5">
              <a:extLst>
                <a:ext uri="{FF2B5EF4-FFF2-40B4-BE49-F238E27FC236}">
                  <a16:creationId xmlns:a16="http://schemas.microsoft.com/office/drawing/2014/main" id="{EAEA99F6-CDFC-6C20-1513-AA0ACB8CF3D7}"/>
                </a:ext>
              </a:extLst>
            </p:cNvPr>
            <p:cNvSpPr/>
            <p:nvPr/>
          </p:nvSpPr>
          <p:spPr>
            <a:xfrm>
              <a:off x="2995068" y="963221"/>
              <a:ext cx="2721727" cy="570468"/>
            </a:xfrm>
            <a:prstGeom prst="roundRect">
              <a:avLst>
                <a:gd name="adj" fmla="val 50000"/>
              </a:avLst>
            </a:prstGeom>
            <a:solidFill>
              <a:schemeClr val="accent2">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工夫❸ 良い例</a:t>
              </a:r>
              <a:endParaRPr kumimoji="1" lang="ja-JP" altLang="en-US" sz="2400" spc="300" dirty="0">
                <a:solidFill>
                  <a:schemeClr val="tx1"/>
                </a:solidFill>
                <a:latin typeface="+mj-ea"/>
                <a:ea typeface="+mj-ea"/>
              </a:endParaRPr>
            </a:p>
          </p:txBody>
        </p:sp>
      </p:grpSp>
      <p:grpSp>
        <p:nvGrpSpPr>
          <p:cNvPr id="7" name="グループ化 6">
            <a:extLst>
              <a:ext uri="{FF2B5EF4-FFF2-40B4-BE49-F238E27FC236}">
                <a16:creationId xmlns:a16="http://schemas.microsoft.com/office/drawing/2014/main" id="{C5B99FE7-CF53-A671-2FB3-26CF18A125C6}"/>
              </a:ext>
            </a:extLst>
          </p:cNvPr>
          <p:cNvGrpSpPr/>
          <p:nvPr/>
        </p:nvGrpSpPr>
        <p:grpSpPr>
          <a:xfrm>
            <a:off x="2299540" y="2249960"/>
            <a:ext cx="11229187" cy="789548"/>
            <a:chOff x="2299540" y="2249960"/>
            <a:chExt cx="11229187" cy="789548"/>
          </a:xfrm>
        </p:grpSpPr>
        <p:sp>
          <p:nvSpPr>
            <p:cNvPr id="8" name="フリーフォーム: 図形 7">
              <a:extLst>
                <a:ext uri="{FF2B5EF4-FFF2-40B4-BE49-F238E27FC236}">
                  <a16:creationId xmlns:a16="http://schemas.microsoft.com/office/drawing/2014/main" id="{BFFD1A3B-0709-7F89-C94A-9BD3597E8841}"/>
                </a:ext>
              </a:extLst>
            </p:cNvPr>
            <p:cNvSpPr/>
            <p:nvPr/>
          </p:nvSpPr>
          <p:spPr>
            <a:xfrm rot="18743112" flipV="1">
              <a:off x="2291112" y="236925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9" name="四角形: 角を丸くする 8">
              <a:extLst>
                <a:ext uri="{FF2B5EF4-FFF2-40B4-BE49-F238E27FC236}">
                  <a16:creationId xmlns:a16="http://schemas.microsoft.com/office/drawing/2014/main" id="{F8AA3B3E-0C4A-A8F1-7ECA-48F5644E468D}"/>
                </a:ext>
              </a:extLst>
            </p:cNvPr>
            <p:cNvSpPr/>
            <p:nvPr/>
          </p:nvSpPr>
          <p:spPr>
            <a:xfrm>
              <a:off x="2519050" y="2249960"/>
              <a:ext cx="11009677" cy="789548"/>
            </a:xfrm>
            <a:prstGeom prst="roundRect">
              <a:avLst>
                <a:gd name="adj" fmla="val 12751"/>
              </a:avLst>
            </a:prstGeom>
            <a:solidFill>
              <a:schemeClr val="bg1"/>
            </a:solidFill>
            <a:ln w="20168" cap="flat">
              <a:noFill/>
              <a:prstDash val="solid"/>
              <a:miter/>
            </a:ln>
          </p:spPr>
          <p:txBody>
            <a:bodyPr wrap="none" lIns="252000" tIns="180000" rIns="288000" bIns="180000" rtlCol="0" anchor="t">
              <a:spAutoFit/>
            </a:bodyPr>
            <a:lstStyle/>
            <a:p>
              <a:pPr>
                <a:spcAft>
                  <a:spcPts val="1000"/>
                </a:spcAft>
              </a:pPr>
              <a:r>
                <a:rPr lang="ja-JP" altLang="en-US" sz="2400" dirty="0">
                  <a:latin typeface="+mj-ea"/>
                  <a:ea typeface="+mj-ea"/>
                </a:rPr>
                <a:t>みかんの栄養成分を表形式で教えて。含まれていない栄養素は表示しないで</a:t>
              </a:r>
            </a:p>
          </p:txBody>
        </p:sp>
      </p:grpSp>
      <p:grpSp>
        <p:nvGrpSpPr>
          <p:cNvPr id="18" name="グループ化 17">
            <a:extLst>
              <a:ext uri="{FF2B5EF4-FFF2-40B4-BE49-F238E27FC236}">
                <a16:creationId xmlns:a16="http://schemas.microsoft.com/office/drawing/2014/main" id="{7EF8AED9-57C0-8B4D-9D3E-6A9D64E6E9C9}"/>
              </a:ext>
            </a:extLst>
          </p:cNvPr>
          <p:cNvGrpSpPr/>
          <p:nvPr/>
        </p:nvGrpSpPr>
        <p:grpSpPr>
          <a:xfrm>
            <a:off x="2299540" y="3281619"/>
            <a:ext cx="9680810" cy="6167181"/>
            <a:chOff x="2299540" y="3218557"/>
            <a:chExt cx="9680810" cy="6167181"/>
          </a:xfrm>
        </p:grpSpPr>
        <p:sp>
          <p:nvSpPr>
            <p:cNvPr id="19" name="フリーフォーム: 図形 18">
              <a:extLst>
                <a:ext uri="{FF2B5EF4-FFF2-40B4-BE49-F238E27FC236}">
                  <a16:creationId xmlns:a16="http://schemas.microsoft.com/office/drawing/2014/main" id="{B78A3676-AB69-E5E4-827C-9FD4F8DE778E}"/>
                </a:ext>
              </a:extLst>
            </p:cNvPr>
            <p:cNvSpPr/>
            <p:nvPr/>
          </p:nvSpPr>
          <p:spPr>
            <a:xfrm rot="18743112" flipV="1">
              <a:off x="2291112" y="396073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38100" cap="flat">
              <a:noFill/>
              <a:prstDash val="solid"/>
              <a:miter/>
            </a:ln>
          </p:spPr>
          <p:txBody>
            <a:bodyPr wrap="square" lIns="0" tIns="0" rIns="0" bIns="72000" rtlCol="0" anchor="t">
              <a:noAutofit/>
            </a:bodyPr>
            <a:lstStyle/>
            <a:p>
              <a:pPr algn="ctr"/>
              <a:endParaRPr lang="ja-JP" altLang="en-US" sz="2400" dirty="0">
                <a:latin typeface="+mn-ea"/>
              </a:endParaRPr>
            </a:p>
          </p:txBody>
        </p:sp>
        <p:sp>
          <p:nvSpPr>
            <p:cNvPr id="20" name="四角形: 角を丸くする 19">
              <a:extLst>
                <a:ext uri="{FF2B5EF4-FFF2-40B4-BE49-F238E27FC236}">
                  <a16:creationId xmlns:a16="http://schemas.microsoft.com/office/drawing/2014/main" id="{E3FB8051-4FA2-6AF2-07FC-5391C0FC079B}"/>
                </a:ext>
              </a:extLst>
            </p:cNvPr>
            <p:cNvSpPr/>
            <p:nvPr/>
          </p:nvSpPr>
          <p:spPr>
            <a:xfrm>
              <a:off x="2516353" y="3218557"/>
              <a:ext cx="9463997" cy="6167181"/>
            </a:xfrm>
            <a:prstGeom prst="roundRect">
              <a:avLst>
                <a:gd name="adj" fmla="val 1516"/>
              </a:avLst>
            </a:prstGeom>
            <a:solidFill>
              <a:schemeClr val="accent5">
                <a:lumMod val="40000"/>
                <a:lumOff val="60000"/>
              </a:schemeClr>
            </a:solidFill>
            <a:ln w="38100" cap="flat">
              <a:noFill/>
              <a:prstDash val="solid"/>
              <a:miter/>
            </a:ln>
          </p:spPr>
          <p:txBody>
            <a:bodyPr wrap="square" lIns="288000" tIns="180000" rIns="216000" bIns="180000" rtlCol="0" anchor="t">
              <a:noAutofit/>
            </a:bodyPr>
            <a:lstStyle/>
            <a:p>
              <a:pPr>
                <a:lnSpc>
                  <a:spcPct val="110000"/>
                </a:lnSpc>
                <a:spcAft>
                  <a:spcPts val="1000"/>
                </a:spcAft>
                <a:buClr>
                  <a:schemeClr val="accent2"/>
                </a:buClr>
              </a:pPr>
              <a:r>
                <a:rPr lang="ja-JP" altLang="en-US" sz="2400" dirty="0">
                  <a:latin typeface="+mn-ea"/>
                </a:rPr>
                <a:t>以下に、みかん </a:t>
              </a:r>
              <a:r>
                <a:rPr lang="en-US" altLang="ja-JP" sz="2400" dirty="0">
                  <a:latin typeface="+mn-ea"/>
                </a:rPr>
                <a:t>(</a:t>
              </a:r>
              <a:r>
                <a:rPr lang="ja-JP" altLang="en-US" sz="2400" dirty="0">
                  <a:latin typeface="+mn-ea"/>
                </a:rPr>
                <a:t>約</a:t>
              </a:r>
              <a:r>
                <a:rPr lang="en-US" altLang="ja-JP" sz="2400" dirty="0">
                  <a:latin typeface="+mn-ea"/>
                </a:rPr>
                <a:t>88</a:t>
              </a:r>
              <a:r>
                <a:rPr lang="ja-JP" altLang="en-US" sz="2400" dirty="0">
                  <a:latin typeface="+mn-ea"/>
                </a:rPr>
                <a:t>グラム、中サイズ</a:t>
              </a:r>
              <a:r>
                <a:rPr lang="en-US" altLang="ja-JP" sz="2400" dirty="0">
                  <a:latin typeface="+mn-ea"/>
                </a:rPr>
                <a:t>1</a:t>
              </a:r>
              <a:r>
                <a:rPr lang="ja-JP" altLang="en-US" sz="2400" dirty="0">
                  <a:latin typeface="+mn-ea"/>
                </a:rPr>
                <a:t>個分</a:t>
              </a:r>
              <a:r>
                <a:rPr lang="en-US" altLang="ja-JP" sz="2400" dirty="0">
                  <a:latin typeface="+mn-ea"/>
                </a:rPr>
                <a:t>) </a:t>
              </a:r>
              <a:r>
                <a:rPr lang="ja-JP" altLang="en-US" sz="2400" dirty="0">
                  <a:latin typeface="+mn-ea"/>
                </a:rPr>
                <a:t>の主な栄養成分を表形式で表示します。</a:t>
              </a:r>
            </a:p>
          </p:txBody>
        </p:sp>
      </p:grpSp>
      <p:grpSp>
        <p:nvGrpSpPr>
          <p:cNvPr id="52" name="グループ化 51">
            <a:extLst>
              <a:ext uri="{FF2B5EF4-FFF2-40B4-BE49-F238E27FC236}">
                <a16:creationId xmlns:a16="http://schemas.microsoft.com/office/drawing/2014/main" id="{E795DF38-4879-D0D0-C355-E10B2A295BE3}"/>
              </a:ext>
            </a:extLst>
          </p:cNvPr>
          <p:cNvGrpSpPr/>
          <p:nvPr/>
        </p:nvGrpSpPr>
        <p:grpSpPr>
          <a:xfrm>
            <a:off x="12451191" y="4486139"/>
            <a:ext cx="4627922" cy="2917313"/>
            <a:chOff x="13092123" y="3656599"/>
            <a:chExt cx="4627922" cy="2917313"/>
          </a:xfrm>
        </p:grpSpPr>
        <p:sp>
          <p:nvSpPr>
            <p:cNvPr id="53" name="四角形: 上の 2 つの角を丸める 52">
              <a:extLst>
                <a:ext uri="{FF2B5EF4-FFF2-40B4-BE49-F238E27FC236}">
                  <a16:creationId xmlns:a16="http://schemas.microsoft.com/office/drawing/2014/main" id="{50E35B54-6BE4-6754-A323-DC333A642A66}"/>
                </a:ext>
              </a:extLst>
            </p:cNvPr>
            <p:cNvSpPr/>
            <p:nvPr/>
          </p:nvSpPr>
          <p:spPr>
            <a:xfrm>
              <a:off x="13092123" y="3656599"/>
              <a:ext cx="1651318" cy="452554"/>
            </a:xfrm>
            <a:prstGeom prst="round2SameRect">
              <a:avLst>
                <a:gd name="adj1" fmla="val 22191"/>
                <a:gd name="adj2" fmla="val 0"/>
              </a:avLst>
            </a:prstGeom>
            <a:solidFill>
              <a:schemeClr val="accent2"/>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Good</a:t>
              </a:r>
            </a:p>
          </p:txBody>
        </p:sp>
        <p:sp>
          <p:nvSpPr>
            <p:cNvPr id="54" name="四角形: 対角を丸める 53">
              <a:extLst>
                <a:ext uri="{FF2B5EF4-FFF2-40B4-BE49-F238E27FC236}">
                  <a16:creationId xmlns:a16="http://schemas.microsoft.com/office/drawing/2014/main" id="{06E657A2-7A00-B5E3-C1A9-8B31DF037A36}"/>
                </a:ext>
              </a:extLst>
            </p:cNvPr>
            <p:cNvSpPr/>
            <p:nvPr/>
          </p:nvSpPr>
          <p:spPr>
            <a:xfrm>
              <a:off x="13092123" y="4117800"/>
              <a:ext cx="4627922" cy="2456112"/>
            </a:xfrm>
            <a:prstGeom prst="round2DiagRect">
              <a:avLst>
                <a:gd name="adj1" fmla="val 0"/>
                <a:gd name="adj2" fmla="val 4296"/>
              </a:avLst>
            </a:prstGeom>
            <a:solidFill>
              <a:schemeClr val="bg1"/>
            </a:solidFill>
            <a:ln w="38100">
              <a:solidFill>
                <a:schemeClr val="accent2"/>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52000" rIns="216000" bIns="252000" rtlCol="0" anchor="t">
              <a:spAutoFit/>
            </a:bodyPr>
            <a:lstStyle/>
            <a:p>
              <a:pPr marL="288000" indent="-288000">
                <a:lnSpc>
                  <a:spcPct val="120000"/>
                </a:lnSpc>
                <a:spcAft>
                  <a:spcPts val="1200"/>
                </a:spcAft>
                <a:buClr>
                  <a:schemeClr val="accent2"/>
                </a:buClr>
                <a:buFont typeface="Arial" panose="020B0604020202020204" pitchFamily="34" charset="0"/>
                <a:buChar char="•"/>
              </a:pPr>
              <a:r>
                <a:rPr kumimoji="1" lang="ja-JP" altLang="en-US" sz="2400" spc="100" dirty="0">
                  <a:solidFill>
                    <a:schemeClr val="tx1"/>
                  </a:solidFill>
                  <a:latin typeface="+mn-ea"/>
                </a:rPr>
                <a:t>表形式で見やすい</a:t>
              </a:r>
            </a:p>
            <a:p>
              <a:pPr marL="288000" indent="-288000">
                <a:lnSpc>
                  <a:spcPct val="120000"/>
                </a:lnSpc>
                <a:spcAft>
                  <a:spcPts val="1200"/>
                </a:spcAft>
                <a:buClr>
                  <a:schemeClr val="accent2"/>
                </a:buClr>
                <a:buFont typeface="Arial" panose="020B0604020202020204" pitchFamily="34" charset="0"/>
                <a:buChar char="•"/>
              </a:pPr>
              <a:r>
                <a:rPr kumimoji="1" lang="ja-JP" altLang="en-US" sz="2400" spc="100" dirty="0">
                  <a:solidFill>
                    <a:schemeClr val="tx1"/>
                  </a:solidFill>
                  <a:latin typeface="+mn-ea"/>
                </a:rPr>
                <a:t>不要なものが非表示に</a:t>
              </a:r>
              <a:br>
                <a:rPr kumimoji="1" lang="ja-JP" altLang="en-US" sz="2400" spc="100" dirty="0">
                  <a:solidFill>
                    <a:schemeClr val="tx1"/>
                  </a:solidFill>
                  <a:latin typeface="+mn-ea"/>
                </a:rPr>
              </a:br>
              <a:r>
                <a:rPr kumimoji="1" lang="ja-JP" altLang="en-US" sz="2400" spc="100" dirty="0">
                  <a:solidFill>
                    <a:schemeClr val="tx1"/>
                  </a:solidFill>
                  <a:latin typeface="+mn-ea"/>
                </a:rPr>
                <a:t>なったおかげで、一度に</a:t>
              </a:r>
              <a:br>
                <a:rPr kumimoji="1" lang="en-US" altLang="ja-JP" sz="2400" spc="100" dirty="0">
                  <a:solidFill>
                    <a:schemeClr val="tx1"/>
                  </a:solidFill>
                  <a:latin typeface="+mn-ea"/>
                </a:rPr>
              </a:br>
              <a:r>
                <a:rPr kumimoji="1" lang="ja-JP" altLang="en-US" sz="2400" spc="100" dirty="0">
                  <a:solidFill>
                    <a:schemeClr val="tx1"/>
                  </a:solidFill>
                  <a:latin typeface="+mn-ea"/>
                </a:rPr>
                <a:t>表示される情報量が減った</a:t>
              </a:r>
            </a:p>
          </p:txBody>
        </p:sp>
      </p:grpSp>
      <p:graphicFrame>
        <p:nvGraphicFramePr>
          <p:cNvPr id="21" name="表 17">
            <a:extLst>
              <a:ext uri="{FF2B5EF4-FFF2-40B4-BE49-F238E27FC236}">
                <a16:creationId xmlns:a16="http://schemas.microsoft.com/office/drawing/2014/main" id="{CD6C9D50-14FE-DFF7-869A-C4DAD40F80C5}"/>
              </a:ext>
            </a:extLst>
          </p:cNvPr>
          <p:cNvGraphicFramePr>
            <a:graphicFrameLocks noGrp="1"/>
          </p:cNvGraphicFramePr>
          <p:nvPr>
            <p:extLst>
              <p:ext uri="{D42A27DB-BD31-4B8C-83A1-F6EECF244321}">
                <p14:modId xmlns:p14="http://schemas.microsoft.com/office/powerpoint/2010/main" val="2137282142"/>
              </p:ext>
            </p:extLst>
          </p:nvPr>
        </p:nvGraphicFramePr>
        <p:xfrm>
          <a:off x="4517721" y="4535055"/>
          <a:ext cx="5244448" cy="4701424"/>
        </p:xfrm>
        <a:graphic>
          <a:graphicData uri="http://schemas.openxmlformats.org/drawingml/2006/table">
            <a:tbl>
              <a:tblPr firstRow="1" bandRow="1">
                <a:tableStyleId>{5C22544A-7EE6-4342-B048-85BDC9FD1C3A}</a:tableStyleId>
              </a:tblPr>
              <a:tblGrid>
                <a:gridCol w="2622224">
                  <a:extLst>
                    <a:ext uri="{9D8B030D-6E8A-4147-A177-3AD203B41FA5}">
                      <a16:colId xmlns:a16="http://schemas.microsoft.com/office/drawing/2014/main" val="3536723155"/>
                    </a:ext>
                  </a:extLst>
                </a:gridCol>
                <a:gridCol w="2622224">
                  <a:extLst>
                    <a:ext uri="{9D8B030D-6E8A-4147-A177-3AD203B41FA5}">
                      <a16:colId xmlns:a16="http://schemas.microsoft.com/office/drawing/2014/main" val="3076275245"/>
                    </a:ext>
                  </a:extLst>
                </a:gridCol>
              </a:tblGrid>
              <a:tr h="361648">
                <a:tc>
                  <a:txBody>
                    <a:bodyPr/>
                    <a:lstStyle/>
                    <a:p>
                      <a:r>
                        <a:rPr lang="ja-JP" altLang="en-US" sz="2000" b="0" dirty="0">
                          <a:solidFill>
                            <a:schemeClr val="tx1"/>
                          </a:solidFill>
                          <a:latin typeface="+mn-ea"/>
                          <a:ea typeface="+mn-ea"/>
                          <a:sym typeface="Trebuchet MS" panose="020B0603020202020204" pitchFamily="34" charset="0"/>
                        </a:rPr>
                        <a:t>栄養素</a:t>
                      </a:r>
                      <a:endParaRPr lang="en-US" sz="2000" b="0" dirty="0">
                        <a:solidFill>
                          <a:schemeClr val="tx1"/>
                        </a:solidFill>
                        <a:latin typeface="+mn-ea"/>
                        <a:ea typeface="+mn-ea"/>
                        <a:sym typeface="Trebuchet MS" panose="020B0603020202020204" pitchFamily="34" charset="0"/>
                      </a:endParaRPr>
                    </a:p>
                  </a:txBody>
                  <a:tcPr marL="144000" marR="0" marT="0" marB="0" anchor="ctr">
                    <a:lnL w="6350" cap="flat" cmpd="sng" algn="ctr">
                      <a:noFill/>
                      <a:prstDash val="solid"/>
                      <a:round/>
                      <a:headEnd type="none" w="med" len="med"/>
                      <a:tailEnd type="none" w="med" len="med"/>
                    </a:lnL>
                    <a:lnR w="190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tc>
                  <a:txBody>
                    <a:bodyPr/>
                    <a:lstStyle/>
                    <a:p>
                      <a:r>
                        <a:rPr lang="ja-JP" altLang="en-US" sz="2000" b="0" dirty="0">
                          <a:solidFill>
                            <a:schemeClr val="tx1"/>
                          </a:solidFill>
                          <a:latin typeface="+mn-ea"/>
                          <a:ea typeface="+mn-ea"/>
                          <a:sym typeface="Trebuchet MS" panose="020B0603020202020204" pitchFamily="34" charset="0"/>
                        </a:rPr>
                        <a:t>量</a:t>
                      </a:r>
                      <a:endParaRPr lang="en-US" sz="2000" b="0" dirty="0">
                        <a:solidFill>
                          <a:schemeClr val="tx1"/>
                        </a:solidFill>
                        <a:latin typeface="+mn-ea"/>
                        <a:ea typeface="+mn-ea"/>
                        <a:sym typeface="Trebuchet MS" panose="020B0603020202020204" pitchFamily="34" charset="0"/>
                      </a:endParaRPr>
                    </a:p>
                  </a:txBody>
                  <a:tcPr marL="144000" marR="0" marT="0" marB="0" anchor="ctr">
                    <a:lnL w="19050" cap="flat" cmpd="sng" algn="ctr">
                      <a:no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lnB w="1905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207747348"/>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エネルギー</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47 kcal</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9050" cap="flat" cmpd="sng" algn="ctr">
                      <a:solidFill>
                        <a:schemeClr val="tx1"/>
                      </a:solidFill>
                      <a:prstDash val="solid"/>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427446619"/>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総脂質</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0.3 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4574097"/>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総炭水化物</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12 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53691626"/>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食物繊維</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2 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5872809"/>
                  </a:ext>
                </a:extLst>
              </a:tr>
              <a:tr h="361648">
                <a:tc>
                  <a:txBody>
                    <a:bodyPr/>
                    <a:lstStyle/>
                    <a:p>
                      <a:pPr fontAlgn="base"/>
                      <a:r>
                        <a:rPr lang="ja-JP" altLang="en-US" sz="1800">
                          <a:solidFill>
                            <a:schemeClr val="tx1"/>
                          </a:solidFill>
                          <a:effectLst/>
                          <a:latin typeface="+mn-ea"/>
                          <a:ea typeface="+mn-ea"/>
                          <a:sym typeface="Trebuchet MS" panose="020B0603020202020204" pitchFamily="34" charset="0"/>
                        </a:rPr>
                        <a:t>総糖質</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9 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5391160"/>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プロテイン</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0.7 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739867496"/>
                  </a:ext>
                </a:extLst>
              </a:tr>
              <a:tr h="361648">
                <a:tc>
                  <a:txBody>
                    <a:bodyPr/>
                    <a:lstStyle/>
                    <a:p>
                      <a:pPr fontAlgn="base"/>
                      <a:r>
                        <a:rPr lang="ja-JP" altLang="en-US" sz="1800">
                          <a:solidFill>
                            <a:schemeClr val="tx1"/>
                          </a:solidFill>
                          <a:effectLst/>
                          <a:latin typeface="+mn-ea"/>
                          <a:ea typeface="+mn-ea"/>
                          <a:sym typeface="Trebuchet MS" panose="020B0603020202020204" pitchFamily="34" charset="0"/>
                        </a:rPr>
                        <a:t>カルシウム</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22 m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227015812"/>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鉄</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0.1 m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802050147"/>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ポタッシウム</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139 m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452701109"/>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ビタミン</a:t>
                      </a:r>
                      <a:r>
                        <a:rPr lang="en-US" sz="1800" dirty="0">
                          <a:solidFill>
                            <a:schemeClr val="tx1"/>
                          </a:solidFill>
                          <a:effectLst/>
                          <a:latin typeface="+mn-ea"/>
                          <a:ea typeface="+mn-ea"/>
                          <a:sym typeface="Trebuchet MS" panose="020B0603020202020204" pitchFamily="34" charset="0"/>
                        </a:rPr>
                        <a:t>C</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39.1 m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01130872"/>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ビタミン</a:t>
                      </a:r>
                      <a:r>
                        <a:rPr lang="en-US" sz="1800" dirty="0">
                          <a:solidFill>
                            <a:schemeClr val="tx1"/>
                          </a:solidFill>
                          <a:effectLst/>
                          <a:latin typeface="+mn-ea"/>
                          <a:ea typeface="+mn-ea"/>
                          <a:sym typeface="Trebuchet MS" panose="020B0603020202020204" pitchFamily="34" charset="0"/>
                        </a:rPr>
                        <a:t>A</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681 IU</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12700" cap="flat" cmpd="sng" algn="ctr">
                      <a:solidFill>
                        <a:schemeClr val="tx1"/>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275258000"/>
                  </a:ext>
                </a:extLst>
              </a:tr>
              <a:tr h="361648">
                <a:tc>
                  <a:txBody>
                    <a:bodyPr/>
                    <a:lstStyle/>
                    <a:p>
                      <a:pPr fontAlgn="base"/>
                      <a:r>
                        <a:rPr lang="ja-JP" altLang="en-US" sz="1800" dirty="0">
                          <a:solidFill>
                            <a:schemeClr val="tx1"/>
                          </a:solidFill>
                          <a:effectLst/>
                          <a:latin typeface="+mn-ea"/>
                          <a:ea typeface="+mn-ea"/>
                          <a:sym typeface="Trebuchet MS" panose="020B0603020202020204" pitchFamily="34" charset="0"/>
                        </a:rPr>
                        <a:t>ビタミン</a:t>
                      </a:r>
                      <a:r>
                        <a:rPr lang="en-US" sz="1800" dirty="0">
                          <a:solidFill>
                            <a:schemeClr val="tx1"/>
                          </a:solidFill>
                          <a:effectLst/>
                          <a:latin typeface="+mn-ea"/>
                          <a:ea typeface="+mn-ea"/>
                          <a:sym typeface="Trebuchet MS" panose="020B0603020202020204" pitchFamily="34" charset="0"/>
                        </a:rPr>
                        <a:t>E</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tc>
                  <a:txBody>
                    <a:bodyPr/>
                    <a:lstStyle/>
                    <a:p>
                      <a:pPr fontAlgn="base"/>
                      <a:r>
                        <a:rPr lang="en-US" sz="1800" dirty="0">
                          <a:solidFill>
                            <a:schemeClr val="tx1"/>
                          </a:solidFill>
                          <a:effectLst/>
                          <a:latin typeface="+mn-ea"/>
                          <a:ea typeface="+mn-ea"/>
                          <a:sym typeface="Trebuchet MS" panose="020B0603020202020204" pitchFamily="34" charset="0"/>
                        </a:rPr>
                        <a:t>0.20 mg</a:t>
                      </a:r>
                    </a:p>
                  </a:txBody>
                  <a:tcPr marL="144000" marR="0" marT="0" marB="0" anchor="ctr">
                    <a:lnL w="635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ysDot"/>
                      <a:round/>
                      <a:headEnd type="none" w="med" len="med"/>
                      <a:tailEnd type="none" w="med" len="med"/>
                    </a:lnT>
                    <a:lnB w="6350" cap="flat" cmpd="sng" algn="ctr">
                      <a:no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72911848"/>
                  </a:ext>
                </a:extLst>
              </a:tr>
            </a:tbl>
          </a:graphicData>
        </a:graphic>
      </p:graphicFrame>
      <p:sp>
        <p:nvSpPr>
          <p:cNvPr id="10" name="スライド番号プレースホルダー 9">
            <a:extLst>
              <a:ext uri="{FF2B5EF4-FFF2-40B4-BE49-F238E27FC236}">
                <a16:creationId xmlns:a16="http://schemas.microsoft.com/office/drawing/2014/main" id="{6D2CEFBB-A84F-9F8A-206D-1D03E775421C}"/>
              </a:ext>
            </a:extLst>
          </p:cNvPr>
          <p:cNvSpPr>
            <a:spLocks noGrp="1"/>
          </p:cNvSpPr>
          <p:nvPr>
            <p:ph type="sldNum" sz="quarter" idx="11"/>
          </p:nvPr>
        </p:nvSpPr>
        <p:spPr>
          <a:xfrm>
            <a:off x="17695001" y="9786651"/>
            <a:ext cx="327013" cy="307777"/>
          </a:xfrm>
        </p:spPr>
        <p:txBody>
          <a:bodyPr/>
          <a:lstStyle/>
          <a:p>
            <a:r>
              <a:rPr lang="en-US" altLang="ja-JP"/>
              <a:t>26</a:t>
            </a:r>
            <a:endParaRPr lang="ja-JP" altLang="en-US" dirty="0"/>
          </a:p>
        </p:txBody>
      </p:sp>
      <p:grpSp>
        <p:nvGrpSpPr>
          <p:cNvPr id="2" name="グループ化 1">
            <a:extLst>
              <a:ext uri="{FF2B5EF4-FFF2-40B4-BE49-F238E27FC236}">
                <a16:creationId xmlns:a16="http://schemas.microsoft.com/office/drawing/2014/main" id="{B39AD20F-2808-F867-27D9-F6BB2BC77922}"/>
              </a:ext>
            </a:extLst>
          </p:cNvPr>
          <p:cNvGrpSpPr/>
          <p:nvPr/>
        </p:nvGrpSpPr>
        <p:grpSpPr>
          <a:xfrm flipH="1">
            <a:off x="891184" y="2407470"/>
            <a:ext cx="1288844" cy="1288844"/>
            <a:chOff x="15914915" y="2407469"/>
            <a:chExt cx="1481901" cy="1481901"/>
          </a:xfrm>
        </p:grpSpPr>
        <p:sp>
          <p:nvSpPr>
            <p:cNvPr id="11" name="楕円 10">
              <a:extLst>
                <a:ext uri="{FF2B5EF4-FFF2-40B4-BE49-F238E27FC236}">
                  <a16:creationId xmlns:a16="http://schemas.microsoft.com/office/drawing/2014/main" id="{33DDC124-BE6A-FAEC-67A3-71EB8B290C05}"/>
                </a:ext>
              </a:extLst>
            </p:cNvPr>
            <p:cNvSpPr/>
            <p:nvPr/>
          </p:nvSpPr>
          <p:spPr>
            <a:xfrm>
              <a:off x="15914915" y="2407469"/>
              <a:ext cx="1481901" cy="1481901"/>
            </a:xfrm>
            <a:prstGeom prst="ellipse">
              <a:avLst/>
            </a:prstGeom>
            <a:solidFill>
              <a:schemeClr val="bg1"/>
            </a:solid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楕円 11">
              <a:extLst>
                <a:ext uri="{FF2B5EF4-FFF2-40B4-BE49-F238E27FC236}">
                  <a16:creationId xmlns:a16="http://schemas.microsoft.com/office/drawing/2014/main" id="{BDC0721B-C3AA-AB27-0099-A9E73B08DEC2}"/>
                </a:ext>
              </a:extLst>
            </p:cNvPr>
            <p:cNvSpPr/>
            <p:nvPr/>
          </p:nvSpPr>
          <p:spPr>
            <a:xfrm flipH="1">
              <a:off x="15914915" y="2407469"/>
              <a:ext cx="1481901" cy="1481901"/>
            </a:xfrm>
            <a:prstGeom prst="ellipse">
              <a:avLst/>
            </a:prstGeom>
            <a:blipFill>
              <a:blip r:embed="rId3">
                <a:extLst>
                  <a:ext uri="{96DAC541-7B7A-43D3-8B79-37D633B846F1}">
                    <asvg:svgBlip xmlns:asvg="http://schemas.microsoft.com/office/drawing/2016/SVG/main" r:embed="rId4"/>
                  </a:ext>
                </a:extLst>
              </a:blip>
              <a:srcRect/>
              <a:stretch>
                <a:fillRect l="6654" t="11270" r="6654" b="-2595"/>
              </a:stretch>
            </a:blipFill>
            <a:ln w="31750">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16" name="グループ化 15">
            <a:extLst>
              <a:ext uri="{FF2B5EF4-FFF2-40B4-BE49-F238E27FC236}">
                <a16:creationId xmlns:a16="http://schemas.microsoft.com/office/drawing/2014/main" id="{EB033CCC-88DC-7AD0-26E2-1BCD2659261F}"/>
              </a:ext>
            </a:extLst>
          </p:cNvPr>
          <p:cNvGrpSpPr/>
          <p:nvPr/>
        </p:nvGrpSpPr>
        <p:grpSpPr>
          <a:xfrm>
            <a:off x="893577" y="3968032"/>
            <a:ext cx="1286367" cy="1742275"/>
            <a:chOff x="893577" y="5496192"/>
            <a:chExt cx="1286367" cy="1742275"/>
          </a:xfrm>
        </p:grpSpPr>
        <p:sp>
          <p:nvSpPr>
            <p:cNvPr id="17" name="テキスト ボックス 16">
              <a:extLst>
                <a:ext uri="{FF2B5EF4-FFF2-40B4-BE49-F238E27FC236}">
                  <a16:creationId xmlns:a16="http://schemas.microsoft.com/office/drawing/2014/main" id="{AF5E001A-B880-40C0-9E7E-3DC550FB2C2B}"/>
                </a:ext>
              </a:extLst>
            </p:cNvPr>
            <p:cNvSpPr txBox="1"/>
            <p:nvPr/>
          </p:nvSpPr>
          <p:spPr>
            <a:xfrm flipH="1">
              <a:off x="1364425" y="6863714"/>
              <a:ext cx="347148" cy="374753"/>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22" name="図 21">
              <a:extLst>
                <a:ext uri="{FF2B5EF4-FFF2-40B4-BE49-F238E27FC236}">
                  <a16:creationId xmlns:a16="http://schemas.microsoft.com/office/drawing/2014/main" id="{C50237A9-A321-9AD5-DC3E-65302F2AC98E}"/>
                </a:ext>
              </a:extLst>
            </p:cNvPr>
            <p:cNvPicPr>
              <a:picLocks noChangeAspect="1"/>
            </p:cNvPicPr>
            <p:nvPr/>
          </p:nvPicPr>
          <p:blipFill>
            <a:blip r:embed="rId5"/>
            <a:stretch>
              <a:fillRect/>
            </a:stretch>
          </p:blipFill>
          <p:spPr>
            <a:xfrm>
              <a:off x="893577" y="5496192"/>
              <a:ext cx="1286367" cy="1292464"/>
            </a:xfrm>
            <a:prstGeom prst="rect">
              <a:avLst/>
            </a:prstGeom>
          </p:spPr>
        </p:pic>
      </p:grpSp>
      <p:sp>
        <p:nvSpPr>
          <p:cNvPr id="13" name="テキスト ボックス 12">
            <a:extLst>
              <a:ext uri="{FF2B5EF4-FFF2-40B4-BE49-F238E27FC236}">
                <a16:creationId xmlns:a16="http://schemas.microsoft.com/office/drawing/2014/main" id="{97127A22-974D-E8F6-DFD5-2032A7DEB9B8}"/>
              </a:ext>
            </a:extLst>
          </p:cNvPr>
          <p:cNvSpPr txBox="1"/>
          <p:nvPr/>
        </p:nvSpPr>
        <p:spPr>
          <a:xfrm>
            <a:off x="372103" y="9832817"/>
            <a:ext cx="4799391"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r>
              <a:rPr lang="ja-JP" altLang="en-US" sz="1400" spc="100" dirty="0">
                <a:solidFill>
                  <a:schemeClr val="tx2"/>
                </a:solidFill>
                <a:latin typeface="+mn-ea"/>
              </a:rPr>
              <a:t>から一部抜粋</a:t>
            </a:r>
            <a:endParaRPr kumimoji="1" lang="en-US" altLang="ja-JP" sz="1400" spc="100" dirty="0">
              <a:solidFill>
                <a:schemeClr val="tx2"/>
              </a:solidFill>
              <a:latin typeface="+mn-ea"/>
            </a:endParaRPr>
          </a:p>
        </p:txBody>
      </p:sp>
    </p:spTree>
    <p:extLst>
      <p:ext uri="{BB962C8B-B14F-4D97-AF65-F5344CB8AC3E}">
        <p14:creationId xmlns:p14="http://schemas.microsoft.com/office/powerpoint/2010/main" val="2619926236"/>
      </p:ext>
    </p:extLst>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1075423"/>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3000" spc="50" dirty="0">
                <a:latin typeface="+mn-ea"/>
              </a:rPr>
              <a:t>生成</a:t>
            </a:r>
            <a:r>
              <a:rPr kumimoji="1" lang="en-US" altLang="ja-JP" sz="3000" spc="50" dirty="0">
                <a:latin typeface="+mn-ea"/>
              </a:rPr>
              <a:t>AI</a:t>
            </a:r>
            <a:r>
              <a:rPr kumimoji="1" lang="ja-JP" altLang="en-US" sz="3000" spc="50" dirty="0">
                <a:latin typeface="+mn-ea"/>
              </a:rPr>
              <a:t>の説明として、適切なものはどれか。</a:t>
            </a:r>
            <a:r>
              <a:rPr kumimoji="1" lang="ja-JP" altLang="en-US" sz="3000" spc="50" dirty="0">
                <a:solidFill>
                  <a:schemeClr val="accent3"/>
                </a:solidFill>
                <a:latin typeface="+mn-ea"/>
              </a:rPr>
              <a:t>全て</a:t>
            </a:r>
            <a:r>
              <a:rPr kumimoji="1" lang="ja-JP" altLang="en-US" sz="3000" spc="50" dirty="0">
                <a:latin typeface="+mn-ea"/>
              </a:rPr>
              <a:t>選んでください。</a:t>
            </a:r>
          </a:p>
        </p:txBody>
      </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7" y="724103"/>
            <a:ext cx="9153064" cy="8837206"/>
            <a:chOff x="7945117" y="728997"/>
            <a:chExt cx="9153064"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7" y="728997"/>
              <a:ext cx="8409271" cy="1800000"/>
              <a:chOff x="7945117" y="1234999"/>
              <a:chExt cx="8409271"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670834"/>
                <a:ext cx="7437934"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インターネット上の文章を</a:t>
                </a:r>
                <a:br>
                  <a:rPr kumimoji="1" lang="en-US" altLang="ja-JP" sz="2800" spc="50" dirty="0">
                    <a:latin typeface="+mn-ea"/>
                    <a:ea typeface="+mn-ea"/>
                  </a:rPr>
                </a:br>
                <a:r>
                  <a:rPr kumimoji="1" lang="ja-JP" altLang="en-US" sz="2800" spc="50" dirty="0">
                    <a:latin typeface="+mn-ea"/>
                    <a:ea typeface="+mn-ea"/>
                  </a:rPr>
                  <a:t>大量に学習し、指示に沿った回答を出力する</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7" y="3074733"/>
              <a:ext cx="7325641" cy="1800000"/>
              <a:chOff x="7945117" y="3367623"/>
              <a:chExt cx="7325641"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3803458"/>
                <a:ext cx="6354304"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文章だけでなく、</a:t>
                </a:r>
                <a:br>
                  <a:rPr kumimoji="1" lang="en-US" altLang="ja-JP" sz="2800" spc="50" dirty="0">
                    <a:latin typeface="+mn-ea"/>
                    <a:ea typeface="+mn-ea"/>
                  </a:rPr>
                </a:br>
                <a:r>
                  <a:rPr kumimoji="1" lang="ja-JP" altLang="en-US" sz="2800" spc="50" dirty="0">
                    <a:latin typeface="+mn-ea"/>
                    <a:ea typeface="+mn-ea"/>
                  </a:rPr>
                  <a:t>画像</a:t>
                </a:r>
                <a:r>
                  <a:rPr kumimoji="1" lang="en-US" altLang="ja-JP" sz="2800" spc="50" dirty="0">
                    <a:latin typeface="+mn-ea"/>
                    <a:ea typeface="+mn-ea"/>
                  </a:rPr>
                  <a:t>/</a:t>
                </a:r>
                <a:r>
                  <a:rPr kumimoji="1" lang="ja-JP" altLang="en-US" sz="2800" spc="50" dirty="0">
                    <a:latin typeface="+mn-ea"/>
                    <a:ea typeface="+mn-ea"/>
                  </a:rPr>
                  <a:t>動画</a:t>
                </a:r>
                <a:r>
                  <a:rPr kumimoji="1" lang="en-US" altLang="ja-JP" sz="2800" spc="50" dirty="0">
                    <a:latin typeface="+mn-ea"/>
                    <a:ea typeface="+mn-ea"/>
                  </a:rPr>
                  <a:t>/</a:t>
                </a:r>
                <a:r>
                  <a:rPr kumimoji="1" lang="ja-JP" altLang="en-US" sz="2800" spc="50" dirty="0">
                    <a:latin typeface="+mn-ea"/>
                    <a:ea typeface="+mn-ea"/>
                  </a:rPr>
                  <a:t>コード等も生成可能である</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7" y="5420469"/>
              <a:ext cx="7293581" cy="1800000"/>
              <a:chOff x="7945117" y="5500579"/>
              <a:chExt cx="7293581"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5936414"/>
                <a:ext cx="6322244"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高度な技術をもった</a:t>
                </a:r>
                <a:br>
                  <a:rPr kumimoji="1" lang="en-US" altLang="ja-JP" sz="2800" spc="50" dirty="0">
                    <a:latin typeface="+mn-ea"/>
                    <a:ea typeface="+mn-ea"/>
                  </a:rPr>
                </a:br>
                <a:r>
                  <a:rPr kumimoji="1" lang="ja-JP" altLang="en-US" sz="2800" spc="50" dirty="0">
                    <a:latin typeface="+mn-ea"/>
                    <a:ea typeface="+mn-ea"/>
                  </a:rPr>
                  <a:t>エンジニアでないと使うことが難しい</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7" y="7766203"/>
              <a:ext cx="9153064" cy="1800000"/>
              <a:chOff x="7945117" y="7633369"/>
              <a:chExt cx="9153064"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8069204"/>
                <a:ext cx="8181727"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指示入力を工夫しなくても、</a:t>
                </a:r>
                <a:br>
                  <a:rPr kumimoji="1" lang="en-US" altLang="ja-JP" sz="2800" spc="50" dirty="0">
                    <a:latin typeface="+mn-ea"/>
                    <a:ea typeface="+mn-ea"/>
                  </a:rPr>
                </a:br>
                <a:r>
                  <a:rPr kumimoji="1" lang="ja-JP" altLang="en-US" sz="2800" spc="50" dirty="0">
                    <a:latin typeface="+mn-ea"/>
                    <a:ea typeface="+mn-ea"/>
                  </a:rPr>
                  <a:t>利用者の意図をくみ取って回答を生成してくれる</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5" name="スライド番号プレースホルダー 4">
            <a:extLst>
              <a:ext uri="{FF2B5EF4-FFF2-40B4-BE49-F238E27FC236}">
                <a16:creationId xmlns:a16="http://schemas.microsoft.com/office/drawing/2014/main" id="{A1B18396-C976-DDCC-F948-4AE49DE87588}"/>
              </a:ext>
            </a:extLst>
          </p:cNvPr>
          <p:cNvSpPr>
            <a:spLocks noGrp="1"/>
          </p:cNvSpPr>
          <p:nvPr>
            <p:ph type="sldNum" sz="quarter" idx="11"/>
          </p:nvPr>
        </p:nvSpPr>
        <p:spPr>
          <a:xfrm>
            <a:off x="17695001" y="9786651"/>
            <a:ext cx="327013" cy="307777"/>
          </a:xfrm>
        </p:spPr>
        <p:txBody>
          <a:bodyPr/>
          <a:lstStyle/>
          <a:p>
            <a:r>
              <a:rPr lang="en-US" altLang="ja-JP"/>
              <a:t>27</a:t>
            </a:r>
            <a:endParaRPr lang="ja-JP" altLang="en-US" dirty="0"/>
          </a:p>
        </p:txBody>
      </p:sp>
    </p:spTree>
    <p:extLst>
      <p:ext uri="{BB962C8B-B14F-4D97-AF65-F5344CB8AC3E}">
        <p14:creationId xmlns:p14="http://schemas.microsoft.com/office/powerpoint/2010/main" val="3634107296"/>
      </p:ext>
    </p:extLst>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4" name="グループ化 3">
            <a:extLst>
              <a:ext uri="{FF2B5EF4-FFF2-40B4-BE49-F238E27FC236}">
                <a16:creationId xmlns:a16="http://schemas.microsoft.com/office/drawing/2014/main" id="{4A16C6F5-BCC2-DCF7-76F3-45978CF80164}"/>
              </a:ext>
            </a:extLst>
          </p:cNvPr>
          <p:cNvGrpSpPr/>
          <p:nvPr/>
        </p:nvGrpSpPr>
        <p:grpSpPr>
          <a:xfrm>
            <a:off x="2073291" y="2604635"/>
            <a:ext cx="3206716" cy="1170649"/>
            <a:chOff x="1991495" y="2670256"/>
            <a:chExt cx="2862607" cy="1045028"/>
          </a:xfrm>
        </p:grpSpPr>
        <p:sp>
          <p:nvSpPr>
            <p:cNvPr id="5" name="四角形: 角を丸くする 4">
              <a:extLst>
                <a:ext uri="{FF2B5EF4-FFF2-40B4-BE49-F238E27FC236}">
                  <a16:creationId xmlns:a16="http://schemas.microsoft.com/office/drawing/2014/main" id="{B9FAAC77-1A1F-0FC5-C108-FAB953121169}"/>
                </a:ext>
              </a:extLst>
            </p:cNvPr>
            <p:cNvSpPr/>
            <p:nvPr/>
          </p:nvSpPr>
          <p:spPr>
            <a:xfrm>
              <a:off x="1991495" y="2670256"/>
              <a:ext cx="1045028" cy="1045028"/>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6" name="テキスト ボックス 5">
              <a:extLst>
                <a:ext uri="{FF2B5EF4-FFF2-40B4-BE49-F238E27FC236}">
                  <a16:creationId xmlns:a16="http://schemas.microsoft.com/office/drawing/2014/main" id="{6BE44A32-D73C-6BBE-0025-D42D97E40112}"/>
                </a:ext>
              </a:extLst>
            </p:cNvPr>
            <p:cNvSpPr txBox="1">
              <a:spLocks/>
            </p:cNvSpPr>
            <p:nvPr/>
          </p:nvSpPr>
          <p:spPr>
            <a:xfrm>
              <a:off x="3360686"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7" name="テキスト ボックス 6">
              <a:extLst>
                <a:ext uri="{FF2B5EF4-FFF2-40B4-BE49-F238E27FC236}">
                  <a16:creationId xmlns:a16="http://schemas.microsoft.com/office/drawing/2014/main" id="{3BDE6445-97AC-ADAB-4958-42B5B92F2F6C}"/>
                </a:ext>
              </a:extLst>
            </p:cNvPr>
            <p:cNvSpPr txBox="1">
              <a:spLocks/>
            </p:cNvSpPr>
            <p:nvPr/>
          </p:nvSpPr>
          <p:spPr>
            <a:xfrm>
              <a:off x="4206102"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8" name="グループ化 7">
            <a:extLst>
              <a:ext uri="{FF2B5EF4-FFF2-40B4-BE49-F238E27FC236}">
                <a16:creationId xmlns:a16="http://schemas.microsoft.com/office/drawing/2014/main" id="{1696E691-DD23-68BC-8C3D-275E89D3C441}"/>
              </a:ext>
            </a:extLst>
          </p:cNvPr>
          <p:cNvGrpSpPr/>
          <p:nvPr/>
        </p:nvGrpSpPr>
        <p:grpSpPr>
          <a:xfrm>
            <a:off x="7945117" y="724103"/>
            <a:ext cx="9666025" cy="8837206"/>
            <a:chOff x="7945117" y="728997"/>
            <a:chExt cx="9666025" cy="8837206"/>
          </a:xfrm>
        </p:grpSpPr>
        <p:grpSp>
          <p:nvGrpSpPr>
            <p:cNvPr id="9" name="グループ化 8">
              <a:extLst>
                <a:ext uri="{FF2B5EF4-FFF2-40B4-BE49-F238E27FC236}">
                  <a16:creationId xmlns:a16="http://schemas.microsoft.com/office/drawing/2014/main" id="{28D006DE-4E36-8ADF-4EED-D054D051006F}"/>
                </a:ext>
              </a:extLst>
            </p:cNvPr>
            <p:cNvGrpSpPr/>
            <p:nvPr/>
          </p:nvGrpSpPr>
          <p:grpSpPr>
            <a:xfrm>
              <a:off x="7945117" y="728997"/>
              <a:ext cx="8409271" cy="1800000"/>
              <a:chOff x="7945117" y="1234999"/>
              <a:chExt cx="8409271" cy="1800000"/>
            </a:xfrm>
          </p:grpSpPr>
          <p:sp>
            <p:nvSpPr>
              <p:cNvPr id="19" name="テキスト ボックス 18">
                <a:extLst>
                  <a:ext uri="{FF2B5EF4-FFF2-40B4-BE49-F238E27FC236}">
                    <a16:creationId xmlns:a16="http://schemas.microsoft.com/office/drawing/2014/main" id="{C86EB9F9-FCB7-9CBE-6459-B86662B84C28}"/>
                  </a:ext>
                </a:extLst>
              </p:cNvPr>
              <p:cNvSpPr txBox="1"/>
              <p:nvPr userDrawn="1"/>
            </p:nvSpPr>
            <p:spPr>
              <a:xfrm>
                <a:off x="8916454" y="1670834"/>
                <a:ext cx="7437934"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インターネット上の文章を</a:t>
                </a:r>
                <a:br>
                  <a:rPr kumimoji="1" lang="en-US" altLang="ja-JP" sz="2800" spc="50" dirty="0">
                    <a:latin typeface="+mn-ea"/>
                    <a:ea typeface="+mn-ea"/>
                  </a:rPr>
                </a:br>
                <a:r>
                  <a:rPr kumimoji="1" lang="ja-JP" altLang="en-US" sz="2800" spc="50" dirty="0">
                    <a:latin typeface="+mn-ea"/>
                    <a:ea typeface="+mn-ea"/>
                  </a:rPr>
                  <a:t>大量に学習し、指示に沿った回答を出力する</a:t>
                </a:r>
              </a:p>
            </p:txBody>
          </p:sp>
          <p:sp>
            <p:nvSpPr>
              <p:cNvPr id="20" name="テキスト ボックス 19">
                <a:extLst>
                  <a:ext uri="{FF2B5EF4-FFF2-40B4-BE49-F238E27FC236}">
                    <a16:creationId xmlns:a16="http://schemas.microsoft.com/office/drawing/2014/main" id="{6E22F80C-0525-3D12-BBBA-C90A6BBAE3F3}"/>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10" name="グループ化 9">
              <a:extLst>
                <a:ext uri="{FF2B5EF4-FFF2-40B4-BE49-F238E27FC236}">
                  <a16:creationId xmlns:a16="http://schemas.microsoft.com/office/drawing/2014/main" id="{EAF96D9B-9EF9-E566-E921-EC0A6B303066}"/>
                </a:ext>
              </a:extLst>
            </p:cNvPr>
            <p:cNvGrpSpPr/>
            <p:nvPr/>
          </p:nvGrpSpPr>
          <p:grpSpPr>
            <a:xfrm>
              <a:off x="7945117" y="3074733"/>
              <a:ext cx="7325641" cy="1800000"/>
              <a:chOff x="7945117" y="3367623"/>
              <a:chExt cx="7325641" cy="1800000"/>
            </a:xfrm>
          </p:grpSpPr>
          <p:sp>
            <p:nvSpPr>
              <p:cNvPr id="17" name="テキスト ボックス 16">
                <a:extLst>
                  <a:ext uri="{FF2B5EF4-FFF2-40B4-BE49-F238E27FC236}">
                    <a16:creationId xmlns:a16="http://schemas.microsoft.com/office/drawing/2014/main" id="{F4B467BF-2EA3-CE98-7364-D61ACBF0403F}"/>
                  </a:ext>
                </a:extLst>
              </p:cNvPr>
              <p:cNvSpPr txBox="1"/>
              <p:nvPr/>
            </p:nvSpPr>
            <p:spPr>
              <a:xfrm>
                <a:off x="8916454" y="3803458"/>
                <a:ext cx="6354304"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は、文章だけでなく、</a:t>
                </a:r>
                <a:br>
                  <a:rPr kumimoji="1" lang="en-US" altLang="ja-JP" sz="2800" spc="50" dirty="0">
                    <a:latin typeface="+mn-ea"/>
                    <a:ea typeface="+mn-ea"/>
                  </a:rPr>
                </a:br>
                <a:r>
                  <a:rPr kumimoji="1" lang="ja-JP" altLang="en-US" sz="2800" spc="50" dirty="0">
                    <a:latin typeface="+mn-ea"/>
                    <a:ea typeface="+mn-ea"/>
                  </a:rPr>
                  <a:t>画像</a:t>
                </a:r>
                <a:r>
                  <a:rPr kumimoji="1" lang="en-US" altLang="ja-JP" sz="2800" spc="50" dirty="0">
                    <a:latin typeface="+mn-ea"/>
                    <a:ea typeface="+mn-ea"/>
                  </a:rPr>
                  <a:t>/</a:t>
                </a:r>
                <a:r>
                  <a:rPr kumimoji="1" lang="ja-JP" altLang="en-US" sz="2800" spc="50" dirty="0">
                    <a:latin typeface="+mn-ea"/>
                    <a:ea typeface="+mn-ea"/>
                  </a:rPr>
                  <a:t>動画</a:t>
                </a:r>
                <a:r>
                  <a:rPr kumimoji="1" lang="en-US" altLang="ja-JP" sz="2800" spc="50" dirty="0">
                    <a:latin typeface="+mn-ea"/>
                    <a:ea typeface="+mn-ea"/>
                  </a:rPr>
                  <a:t>/</a:t>
                </a:r>
                <a:r>
                  <a:rPr kumimoji="1" lang="ja-JP" altLang="en-US" sz="2800" spc="50" dirty="0">
                    <a:latin typeface="+mn-ea"/>
                    <a:ea typeface="+mn-ea"/>
                  </a:rPr>
                  <a:t>コード等も生成可能である</a:t>
                </a:r>
              </a:p>
            </p:txBody>
          </p:sp>
          <p:sp>
            <p:nvSpPr>
              <p:cNvPr id="18" name="テキスト ボックス 17">
                <a:extLst>
                  <a:ext uri="{FF2B5EF4-FFF2-40B4-BE49-F238E27FC236}">
                    <a16:creationId xmlns:a16="http://schemas.microsoft.com/office/drawing/2014/main" id="{FE10DB5E-5290-65CD-FC25-22ADD46D9576}"/>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11" name="グループ化 10">
              <a:extLst>
                <a:ext uri="{FF2B5EF4-FFF2-40B4-BE49-F238E27FC236}">
                  <a16:creationId xmlns:a16="http://schemas.microsoft.com/office/drawing/2014/main" id="{0AA99B10-6C2A-1BC1-3C3C-3866E113E50A}"/>
                </a:ext>
              </a:extLst>
            </p:cNvPr>
            <p:cNvGrpSpPr/>
            <p:nvPr/>
          </p:nvGrpSpPr>
          <p:grpSpPr>
            <a:xfrm>
              <a:off x="7945117" y="5420469"/>
              <a:ext cx="9640377" cy="1800000"/>
              <a:chOff x="7945117" y="5500579"/>
              <a:chExt cx="9640377" cy="1800000"/>
            </a:xfrm>
          </p:grpSpPr>
          <p:sp>
            <p:nvSpPr>
              <p:cNvPr id="15" name="テキスト ボックス 14">
                <a:extLst>
                  <a:ext uri="{FF2B5EF4-FFF2-40B4-BE49-F238E27FC236}">
                    <a16:creationId xmlns:a16="http://schemas.microsoft.com/office/drawing/2014/main" id="{07B60FB3-22B9-A0D3-6134-B532D7021CF6}"/>
                  </a:ext>
                </a:extLst>
              </p:cNvPr>
              <p:cNvSpPr txBox="1"/>
              <p:nvPr/>
            </p:nvSpPr>
            <p:spPr>
              <a:xfrm>
                <a:off x="8916454" y="5562979"/>
                <a:ext cx="8669040" cy="1675202"/>
              </a:xfrm>
              <a:prstGeom prst="rect">
                <a:avLst/>
              </a:prstGeom>
              <a:noFill/>
            </p:spPr>
            <p:txBody>
              <a:bodyPr wrap="none" lIns="0" tIns="0" rIns="0" bIns="0" rtlCol="0" anchor="ctr">
                <a:spAutoFit/>
              </a:bodyPr>
              <a:lstStyle/>
              <a:p>
                <a:pPr algn="l">
                  <a:lnSpc>
                    <a:spcPct val="110000"/>
                  </a:lnSpc>
                </a:pPr>
                <a:r>
                  <a:rPr kumimoji="1" lang="en-US" altLang="ja-JP" sz="2500" spc="50" dirty="0">
                    <a:solidFill>
                      <a:schemeClr val="accent3"/>
                    </a:solidFill>
                    <a:latin typeface="+mn-ea"/>
                    <a:ea typeface="+mn-ea"/>
                  </a:rPr>
                  <a:t>【</a:t>
                </a:r>
                <a:r>
                  <a:rPr kumimoji="1" lang="ja-JP" altLang="en-US" sz="2500" spc="50" dirty="0">
                    <a:solidFill>
                      <a:schemeClr val="accent3"/>
                    </a:solidFill>
                    <a:latin typeface="+mn-ea"/>
                    <a:ea typeface="+mn-ea"/>
                  </a:rPr>
                  <a:t>解説</a:t>
                </a:r>
                <a:r>
                  <a:rPr kumimoji="1" lang="en-US" altLang="ja-JP" sz="2500" spc="50" dirty="0">
                    <a:solidFill>
                      <a:schemeClr val="accent3"/>
                    </a:solidFill>
                    <a:latin typeface="+mn-ea"/>
                    <a:ea typeface="+mn-ea"/>
                  </a:rPr>
                  <a:t>】</a:t>
                </a:r>
                <a:br>
                  <a:rPr kumimoji="1" lang="en-US" altLang="ja-JP" sz="2500" spc="50" dirty="0">
                    <a:solidFill>
                      <a:schemeClr val="accent3"/>
                    </a:solidFill>
                    <a:latin typeface="+mn-ea"/>
                    <a:ea typeface="+mn-ea"/>
                  </a:rPr>
                </a:br>
                <a:r>
                  <a:rPr kumimoji="1" lang="ja-JP" altLang="en-US" sz="2500" spc="50" dirty="0">
                    <a:solidFill>
                      <a:schemeClr val="accent3"/>
                    </a:solidFill>
                    <a:latin typeface="+mn-ea"/>
                    <a:ea typeface="+mn-ea"/>
                  </a:rPr>
                  <a:t>生成</a:t>
                </a:r>
                <a:r>
                  <a:rPr kumimoji="1" lang="en-US" altLang="ja-JP" sz="2500" spc="50" dirty="0">
                    <a:solidFill>
                      <a:schemeClr val="accent3"/>
                    </a:solidFill>
                    <a:latin typeface="+mn-ea"/>
                    <a:ea typeface="+mn-ea"/>
                  </a:rPr>
                  <a:t>AI</a:t>
                </a:r>
                <a:r>
                  <a:rPr kumimoji="1" lang="ja-JP" altLang="en-US" sz="2500" spc="50" dirty="0">
                    <a:solidFill>
                      <a:schemeClr val="accent3"/>
                    </a:solidFill>
                    <a:latin typeface="+mn-ea"/>
                    <a:ea typeface="+mn-ea"/>
                  </a:rPr>
                  <a:t>は、高度な技術は必要なく、簡単に使うことが</a:t>
                </a:r>
                <a:br>
                  <a:rPr kumimoji="1" lang="en-US" altLang="ja-JP" sz="2500" spc="50" dirty="0">
                    <a:solidFill>
                      <a:schemeClr val="accent3"/>
                    </a:solidFill>
                    <a:latin typeface="+mn-ea"/>
                    <a:ea typeface="+mn-ea"/>
                  </a:rPr>
                </a:br>
                <a:r>
                  <a:rPr kumimoji="1" lang="ja-JP" altLang="en-US" sz="2500" spc="50" dirty="0">
                    <a:solidFill>
                      <a:schemeClr val="accent3"/>
                    </a:solidFill>
                    <a:latin typeface="+mn-ea"/>
                    <a:ea typeface="+mn-ea"/>
                  </a:rPr>
                  <a:t>できるため、日常生活・学習・仕事に大きな影響を与える</a:t>
                </a:r>
                <a:br>
                  <a:rPr kumimoji="1" lang="en-US" altLang="ja-JP" sz="2500" spc="50" dirty="0">
                    <a:solidFill>
                      <a:schemeClr val="accent3"/>
                    </a:solidFill>
                    <a:latin typeface="+mn-ea"/>
                    <a:ea typeface="+mn-ea"/>
                  </a:rPr>
                </a:br>
                <a:r>
                  <a:rPr kumimoji="1" lang="ja-JP" altLang="en-US" sz="2500" spc="50" dirty="0">
                    <a:solidFill>
                      <a:schemeClr val="accent3"/>
                    </a:solidFill>
                    <a:latin typeface="+mn-ea"/>
                    <a:ea typeface="+mn-ea"/>
                  </a:rPr>
                  <a:t>と見込まれる</a:t>
                </a:r>
              </a:p>
            </p:txBody>
          </p:sp>
          <p:sp>
            <p:nvSpPr>
              <p:cNvPr id="16" name="テキスト ボックス 15">
                <a:extLst>
                  <a:ext uri="{FF2B5EF4-FFF2-40B4-BE49-F238E27FC236}">
                    <a16:creationId xmlns:a16="http://schemas.microsoft.com/office/drawing/2014/main" id="{55F8F492-3457-1A5A-DE1C-28FFCBC902E6}"/>
                  </a:ext>
                </a:extLst>
              </p:cNvPr>
              <p:cNvSpPr txBox="1">
                <a:spLocks/>
              </p:cNvSpPr>
              <p:nvPr/>
            </p:nvSpPr>
            <p:spPr>
              <a:xfrm>
                <a:off x="7945117" y="550057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12" name="グループ化 11">
              <a:extLst>
                <a:ext uri="{FF2B5EF4-FFF2-40B4-BE49-F238E27FC236}">
                  <a16:creationId xmlns:a16="http://schemas.microsoft.com/office/drawing/2014/main" id="{B4884511-B474-AFCD-2EDF-673836B10565}"/>
                </a:ext>
              </a:extLst>
            </p:cNvPr>
            <p:cNvGrpSpPr/>
            <p:nvPr/>
          </p:nvGrpSpPr>
          <p:grpSpPr>
            <a:xfrm>
              <a:off x="7945117" y="7766203"/>
              <a:ext cx="9666025" cy="1800000"/>
              <a:chOff x="7945117" y="7633369"/>
              <a:chExt cx="9666025" cy="1800000"/>
            </a:xfrm>
          </p:grpSpPr>
          <p:sp>
            <p:nvSpPr>
              <p:cNvPr id="13" name="テキスト ボックス 12">
                <a:extLst>
                  <a:ext uri="{FF2B5EF4-FFF2-40B4-BE49-F238E27FC236}">
                    <a16:creationId xmlns:a16="http://schemas.microsoft.com/office/drawing/2014/main" id="{30313886-6682-6768-1011-DAF38294C0EB}"/>
                  </a:ext>
                </a:extLst>
              </p:cNvPr>
              <p:cNvSpPr txBox="1"/>
              <p:nvPr/>
            </p:nvSpPr>
            <p:spPr>
              <a:xfrm>
                <a:off x="8916454" y="7907366"/>
                <a:ext cx="8694688" cy="1252009"/>
              </a:xfrm>
              <a:prstGeom prst="rect">
                <a:avLst/>
              </a:prstGeom>
              <a:noFill/>
            </p:spPr>
            <p:txBody>
              <a:bodyPr wrap="none" lIns="0" tIns="0" rIns="0" bIns="0" rtlCol="0" anchor="ctr">
                <a:spAutoFit/>
              </a:bodyPr>
              <a:lstStyle/>
              <a:p>
                <a:pPr algn="l">
                  <a:lnSpc>
                    <a:spcPct val="110000"/>
                  </a:lnSpc>
                </a:pPr>
                <a:r>
                  <a:rPr kumimoji="1" lang="en-US" altLang="ja-JP" sz="2500" spc="50" dirty="0">
                    <a:solidFill>
                      <a:schemeClr val="accent3"/>
                    </a:solidFill>
                    <a:latin typeface="+mn-ea"/>
                    <a:ea typeface="+mn-ea"/>
                  </a:rPr>
                  <a:t>【</a:t>
                </a:r>
                <a:r>
                  <a:rPr kumimoji="1" lang="ja-JP" altLang="en-US" sz="2500" spc="50" dirty="0">
                    <a:solidFill>
                      <a:schemeClr val="accent3"/>
                    </a:solidFill>
                    <a:latin typeface="+mn-ea"/>
                    <a:ea typeface="+mn-ea"/>
                  </a:rPr>
                  <a:t>解説</a:t>
                </a:r>
                <a:r>
                  <a:rPr kumimoji="1" lang="en-US" altLang="ja-JP" sz="2500" spc="50" dirty="0">
                    <a:solidFill>
                      <a:schemeClr val="accent3"/>
                    </a:solidFill>
                    <a:latin typeface="+mn-ea"/>
                    <a:ea typeface="+mn-ea"/>
                  </a:rPr>
                  <a:t>】</a:t>
                </a:r>
                <a:br>
                  <a:rPr kumimoji="1" lang="en-US" altLang="ja-JP" sz="2500" spc="50" dirty="0">
                    <a:solidFill>
                      <a:schemeClr val="accent3"/>
                    </a:solidFill>
                    <a:latin typeface="+mn-ea"/>
                    <a:ea typeface="+mn-ea"/>
                  </a:rPr>
                </a:br>
                <a:r>
                  <a:rPr kumimoji="1" lang="ja-JP" altLang="en-US" sz="2500" spc="50" dirty="0">
                    <a:solidFill>
                      <a:schemeClr val="accent3"/>
                    </a:solidFill>
                    <a:latin typeface="+mn-ea"/>
                    <a:ea typeface="+mn-ea"/>
                  </a:rPr>
                  <a:t>生成</a:t>
                </a:r>
                <a:r>
                  <a:rPr kumimoji="1" lang="en-US" altLang="ja-JP" sz="2500" spc="50" dirty="0">
                    <a:solidFill>
                      <a:schemeClr val="accent3"/>
                    </a:solidFill>
                    <a:latin typeface="+mn-ea"/>
                    <a:ea typeface="+mn-ea"/>
                  </a:rPr>
                  <a:t>AI</a:t>
                </a:r>
                <a:r>
                  <a:rPr kumimoji="1" lang="ja-JP" altLang="en-US" sz="2500" spc="50" dirty="0">
                    <a:solidFill>
                      <a:schemeClr val="accent3"/>
                    </a:solidFill>
                    <a:latin typeface="+mn-ea"/>
                    <a:ea typeface="+mn-ea"/>
                  </a:rPr>
                  <a:t>は、利用者の意図を自動的にくみ取るわけではない</a:t>
                </a:r>
                <a:br>
                  <a:rPr kumimoji="1" lang="en-US" altLang="ja-JP" sz="2500" spc="50" dirty="0">
                    <a:solidFill>
                      <a:schemeClr val="accent3"/>
                    </a:solidFill>
                    <a:latin typeface="+mn-ea"/>
                    <a:ea typeface="+mn-ea"/>
                  </a:rPr>
                </a:br>
                <a:r>
                  <a:rPr kumimoji="1" lang="ja-JP" altLang="en-US" sz="2500" spc="50" dirty="0">
                    <a:solidFill>
                      <a:schemeClr val="accent3"/>
                    </a:solidFill>
                    <a:latin typeface="+mn-ea"/>
                    <a:ea typeface="+mn-ea"/>
                  </a:rPr>
                  <a:t>ため、指示の工夫が必要である</a:t>
                </a:r>
              </a:p>
            </p:txBody>
          </p:sp>
          <p:sp>
            <p:nvSpPr>
              <p:cNvPr id="14" name="テキスト ボックス 13">
                <a:extLst>
                  <a:ext uri="{FF2B5EF4-FFF2-40B4-BE49-F238E27FC236}">
                    <a16:creationId xmlns:a16="http://schemas.microsoft.com/office/drawing/2014/main" id="{282D80A7-F5A9-3CA3-CD17-1C8EB064EBC4}"/>
                  </a:ext>
                </a:extLst>
              </p:cNvPr>
              <p:cNvSpPr txBox="1">
                <a:spLocks/>
              </p:cNvSpPr>
              <p:nvPr/>
            </p:nvSpPr>
            <p:spPr>
              <a:xfrm>
                <a:off x="7945117" y="763336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1" name="楕円 20">
            <a:extLst>
              <a:ext uri="{FF2B5EF4-FFF2-40B4-BE49-F238E27FC236}">
                <a16:creationId xmlns:a16="http://schemas.microsoft.com/office/drawing/2014/main" id="{33DE8664-313D-F44B-AC04-B63906D96F37}"/>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楕円 21">
            <a:extLst>
              <a:ext uri="{FF2B5EF4-FFF2-40B4-BE49-F238E27FC236}">
                <a16:creationId xmlns:a16="http://schemas.microsoft.com/office/drawing/2014/main" id="{D4A05538-06E8-1C22-E2D6-3113F85F5B83}"/>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正方形/長方形 22">
            <a:extLst>
              <a:ext uri="{FF2B5EF4-FFF2-40B4-BE49-F238E27FC236}">
                <a16:creationId xmlns:a16="http://schemas.microsoft.com/office/drawing/2014/main" id="{7F2E2467-B0B4-0745-697D-289ACAE791B8}"/>
              </a:ext>
            </a:extLst>
          </p:cNvPr>
          <p:cNvSpPr/>
          <p:nvPr/>
        </p:nvSpPr>
        <p:spPr>
          <a:xfrm>
            <a:off x="499243" y="4052243"/>
            <a:ext cx="6342992" cy="34108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2C5140F5-C8BE-B960-15DD-708A15E2E726}"/>
              </a:ext>
            </a:extLst>
          </p:cNvPr>
          <p:cNvSpPr>
            <a:spLocks noGrp="1"/>
          </p:cNvSpPr>
          <p:nvPr>
            <p:ph type="sldNum" sz="quarter" idx="11"/>
          </p:nvPr>
        </p:nvSpPr>
        <p:spPr>
          <a:xfrm>
            <a:off x="17695001" y="9786651"/>
            <a:ext cx="327013" cy="307777"/>
          </a:xfrm>
        </p:spPr>
        <p:txBody>
          <a:bodyPr/>
          <a:lstStyle/>
          <a:p>
            <a:r>
              <a:rPr lang="en-US" altLang="ja-JP"/>
              <a:t>28</a:t>
            </a:r>
            <a:endParaRPr lang="ja-JP" altLang="en-US" dirty="0"/>
          </a:p>
        </p:txBody>
      </p:sp>
    </p:spTree>
    <p:extLst>
      <p:ext uri="{BB962C8B-B14F-4D97-AF65-F5344CB8AC3E}">
        <p14:creationId xmlns:p14="http://schemas.microsoft.com/office/powerpoint/2010/main" val="3440223168"/>
      </p:ext>
    </p:extLst>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3711850"/>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400" spc="50" dirty="0">
                <a:latin typeface="+mn-ea"/>
              </a:rPr>
              <a:t>社会課題に対応したボランティアのアイデア出しのために、生成</a:t>
            </a:r>
            <a:r>
              <a:rPr kumimoji="1" lang="en-US" altLang="ja-JP" sz="2400" spc="50" dirty="0">
                <a:latin typeface="+mn-ea"/>
              </a:rPr>
              <a:t>AI</a:t>
            </a:r>
            <a:r>
              <a:rPr kumimoji="1" lang="ja-JP" altLang="en-US" sz="2400" spc="50" dirty="0">
                <a:latin typeface="+mn-ea"/>
              </a:rPr>
              <a:t>に「日本社会の課題について教えてください」と指示したところ、下記</a:t>
            </a:r>
            <a:r>
              <a:rPr lang="ja-JP" altLang="en-US" sz="2400" spc="50" dirty="0">
                <a:latin typeface="+mn-ea"/>
              </a:rPr>
              <a:t>５</a:t>
            </a:r>
            <a:r>
              <a:rPr kumimoji="1" lang="ja-JP" altLang="en-US" sz="2400" spc="50" dirty="0">
                <a:latin typeface="+mn-ea"/>
              </a:rPr>
              <a:t>個の課題が約</a:t>
            </a:r>
            <a:r>
              <a:rPr kumimoji="1" lang="en-US" altLang="ja-JP" sz="2400" spc="50" dirty="0">
                <a:latin typeface="+mn-ea"/>
              </a:rPr>
              <a:t>400</a:t>
            </a:r>
            <a:r>
              <a:rPr kumimoji="1" lang="ja-JP" altLang="en-US" sz="2400" spc="50" dirty="0">
                <a:latin typeface="+mn-ea"/>
              </a:rPr>
              <a:t>字の長文で出力され、ボランティアに生かせるアイデアになっていなかった。</a:t>
            </a:r>
            <a:endParaRPr lang="en-US" altLang="ja-JP" sz="2400" spc="50" dirty="0">
              <a:latin typeface="+mn-ea"/>
            </a:endParaRPr>
          </a:p>
          <a:p>
            <a:pPr algn="just">
              <a:lnSpc>
                <a:spcPct val="120000"/>
              </a:lnSpc>
              <a:spcAft>
                <a:spcPts val="1500"/>
              </a:spcAft>
            </a:pPr>
            <a:r>
              <a:rPr kumimoji="1" lang="ja-JP" altLang="en-US" sz="2400" spc="50" dirty="0">
                <a:latin typeface="+mn-ea"/>
              </a:rPr>
              <a:t>次に入力する指示として、適切なものはどれか。</a:t>
            </a:r>
            <a:r>
              <a:rPr kumimoji="1" lang="ja-JP" altLang="en-US" sz="2400" spc="50" dirty="0">
                <a:solidFill>
                  <a:schemeClr val="accent3"/>
                </a:solidFill>
                <a:latin typeface="+mn-ea"/>
              </a:rPr>
              <a:t>全て</a:t>
            </a:r>
            <a:r>
              <a:rPr kumimoji="1" lang="ja-JP" altLang="en-US" sz="2400" spc="50" dirty="0">
                <a:latin typeface="+mn-ea"/>
              </a:rPr>
              <a:t>選んでください。</a:t>
            </a:r>
          </a:p>
        </p:txBody>
      </p:sp>
      <p:grpSp>
        <p:nvGrpSpPr>
          <p:cNvPr id="34" name="グループ化 33">
            <a:extLst>
              <a:ext uri="{FF2B5EF4-FFF2-40B4-BE49-F238E27FC236}">
                <a16:creationId xmlns:a16="http://schemas.microsoft.com/office/drawing/2014/main" id="{C892403E-09AA-E839-3A50-ADDA3F3F874A}"/>
              </a:ext>
            </a:extLst>
          </p:cNvPr>
          <p:cNvGrpSpPr/>
          <p:nvPr/>
        </p:nvGrpSpPr>
        <p:grpSpPr>
          <a:xfrm>
            <a:off x="640786" y="6702835"/>
            <a:ext cx="6071728" cy="2939812"/>
            <a:chOff x="671912" y="6625683"/>
            <a:chExt cx="6071728" cy="2939812"/>
          </a:xfrm>
        </p:grpSpPr>
        <p:sp>
          <p:nvSpPr>
            <p:cNvPr id="32" name="テキスト ボックス 31">
              <a:extLst>
                <a:ext uri="{FF2B5EF4-FFF2-40B4-BE49-F238E27FC236}">
                  <a16:creationId xmlns:a16="http://schemas.microsoft.com/office/drawing/2014/main" id="{3B398752-2DC2-7C94-CC0E-864ECA5E8068}"/>
                </a:ext>
              </a:extLst>
            </p:cNvPr>
            <p:cNvSpPr txBox="1"/>
            <p:nvPr/>
          </p:nvSpPr>
          <p:spPr>
            <a:xfrm>
              <a:off x="898508" y="7411059"/>
              <a:ext cx="3731791" cy="2154436"/>
            </a:xfrm>
            <a:prstGeom prst="rect">
              <a:avLst/>
            </a:prstGeom>
            <a:noFill/>
          </p:spPr>
          <p:txBody>
            <a:bodyPr wrap="none" lIns="0" tIns="0" rIns="0" bIns="0">
              <a:spAutoFit/>
            </a:bodyPr>
            <a:lstStyle/>
            <a:p>
              <a:pPr marL="342900" indent="-342900">
                <a:spcAft>
                  <a:spcPts val="600"/>
                </a:spcAft>
                <a:buClr>
                  <a:schemeClr val="accent1"/>
                </a:buClr>
                <a:buFont typeface="Wingdings" panose="05000000000000000000" pitchFamily="2" charset="2"/>
                <a:buChar char="l"/>
              </a:pPr>
              <a:r>
                <a:rPr lang="ja-JP" altLang="en-US" sz="2400" dirty="0">
                  <a:latin typeface="+mn-ea"/>
                </a:rPr>
                <a:t>高齢化社会と少子化問題</a:t>
              </a:r>
            </a:p>
            <a:p>
              <a:pPr marL="342900" indent="-342900">
                <a:spcAft>
                  <a:spcPts val="600"/>
                </a:spcAft>
                <a:buClr>
                  <a:schemeClr val="accent1"/>
                </a:buClr>
                <a:buFont typeface="Wingdings" panose="05000000000000000000" pitchFamily="2" charset="2"/>
                <a:buChar char="l"/>
              </a:pPr>
              <a:r>
                <a:rPr lang="ja-JP" altLang="en-US" sz="2400" dirty="0">
                  <a:latin typeface="+mn-ea"/>
                </a:rPr>
                <a:t>労働環境の問題</a:t>
              </a:r>
            </a:p>
            <a:p>
              <a:pPr marL="342900" indent="-342900">
                <a:spcAft>
                  <a:spcPts val="600"/>
                </a:spcAft>
                <a:buClr>
                  <a:schemeClr val="accent1"/>
                </a:buClr>
                <a:buFont typeface="Wingdings" panose="05000000000000000000" pitchFamily="2" charset="2"/>
                <a:buChar char="l"/>
              </a:pPr>
              <a:r>
                <a:rPr lang="ja-JP" altLang="en-US" sz="2400" dirty="0">
                  <a:latin typeface="+mn-ea"/>
                </a:rPr>
                <a:t>経済の停滞</a:t>
              </a:r>
            </a:p>
            <a:p>
              <a:pPr marL="342900" indent="-342900">
                <a:spcAft>
                  <a:spcPts val="600"/>
                </a:spcAft>
                <a:buClr>
                  <a:schemeClr val="accent1"/>
                </a:buClr>
                <a:buFont typeface="Wingdings" panose="05000000000000000000" pitchFamily="2" charset="2"/>
                <a:buChar char="l"/>
              </a:pPr>
              <a:r>
                <a:rPr lang="ja-JP" altLang="en-US" sz="2400" dirty="0">
                  <a:latin typeface="+mn-ea"/>
                </a:rPr>
                <a:t>地方の過疎化</a:t>
              </a:r>
            </a:p>
            <a:p>
              <a:pPr marL="342900" indent="-342900">
                <a:spcAft>
                  <a:spcPts val="600"/>
                </a:spcAft>
                <a:buClr>
                  <a:schemeClr val="accent1"/>
                </a:buClr>
                <a:buFont typeface="Wingdings" panose="05000000000000000000" pitchFamily="2" charset="2"/>
                <a:buChar char="l"/>
              </a:pPr>
              <a:r>
                <a:rPr lang="ja-JP" altLang="en-US" sz="2400" dirty="0">
                  <a:latin typeface="+mn-ea"/>
                </a:rPr>
                <a:t>環境問題</a:t>
              </a:r>
            </a:p>
          </p:txBody>
        </p:sp>
        <p:sp>
          <p:nvSpPr>
            <p:cNvPr id="33" name="四角形: 角を丸くする 32">
              <a:extLst>
                <a:ext uri="{FF2B5EF4-FFF2-40B4-BE49-F238E27FC236}">
                  <a16:creationId xmlns:a16="http://schemas.microsoft.com/office/drawing/2014/main" id="{BE4E739F-8137-22DC-E10F-0E269C0350F5}"/>
                </a:ext>
              </a:extLst>
            </p:cNvPr>
            <p:cNvSpPr/>
            <p:nvPr/>
          </p:nvSpPr>
          <p:spPr>
            <a:xfrm>
              <a:off x="671912" y="6625683"/>
              <a:ext cx="6071728" cy="570468"/>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18000" rIns="216000" bIns="18000" rtlCol="0" anchor="ctr">
              <a:spAutoFit/>
            </a:bodyPr>
            <a:lstStyle/>
            <a:p>
              <a:pPr algn="ctr"/>
              <a:r>
                <a:rPr kumimoji="1" lang="ja-JP" altLang="en-US" sz="2400" spc="300" dirty="0">
                  <a:solidFill>
                    <a:schemeClr val="bg1"/>
                  </a:solidFill>
                  <a:latin typeface="+mj-ea"/>
                  <a:ea typeface="+mj-ea"/>
                </a:rPr>
                <a:t>生成</a:t>
              </a:r>
              <a:r>
                <a:rPr kumimoji="1" lang="en-US" altLang="ja-JP" sz="2400" spc="300" dirty="0">
                  <a:solidFill>
                    <a:schemeClr val="bg1"/>
                  </a:solidFill>
                  <a:latin typeface="+mj-ea"/>
                  <a:ea typeface="+mj-ea"/>
                </a:rPr>
                <a:t>AI</a:t>
              </a:r>
              <a:r>
                <a:rPr kumimoji="1" lang="ja-JP" altLang="en-US" sz="2400" spc="300" dirty="0">
                  <a:solidFill>
                    <a:schemeClr val="bg1"/>
                  </a:solidFill>
                  <a:latin typeface="+mj-ea"/>
                  <a:ea typeface="+mj-ea"/>
                </a:rPr>
                <a:t>が回答した課題</a:t>
              </a:r>
            </a:p>
          </p:txBody>
        </p:sp>
      </p:gr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7" y="724103"/>
            <a:ext cx="9281304" cy="8837206"/>
            <a:chOff x="7945117" y="728997"/>
            <a:chExt cx="9281304"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7" y="728997"/>
              <a:ext cx="9281304" cy="1800000"/>
              <a:chOff x="7945117" y="1234999"/>
              <a:chExt cx="9281304"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263896"/>
                <a:ext cx="8309967" cy="1742208"/>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生成</a:t>
                </a:r>
                <a:r>
                  <a:rPr kumimoji="1" lang="en-US" altLang="ja-JP" sz="2600" spc="50" dirty="0">
                    <a:latin typeface="+mn-ea"/>
                    <a:ea typeface="+mn-ea"/>
                  </a:rPr>
                  <a:t>AI</a:t>
                </a:r>
                <a:r>
                  <a:rPr kumimoji="1" lang="ja-JP" altLang="en-US" sz="2600" spc="50" dirty="0">
                    <a:latin typeface="+mn-ea"/>
                    <a:ea typeface="+mn-ea"/>
                  </a:rPr>
                  <a:t>に役割を与えたうえで、再度同じ情報を聞く</a:t>
                </a:r>
                <a:br>
                  <a:rPr kumimoji="1" lang="ja-JP" altLang="en-US" sz="2600" spc="50" dirty="0">
                    <a:latin typeface="+mn-ea"/>
                    <a:ea typeface="+mn-ea"/>
                  </a:rPr>
                </a:br>
                <a:r>
                  <a:rPr kumimoji="1" lang="ja-JP" altLang="en-US" sz="2600" spc="50" dirty="0">
                    <a:latin typeface="+mn-ea"/>
                    <a:ea typeface="+mn-ea"/>
                  </a:rPr>
                  <a:t>「日本社会の課題について教えてください。</a:t>
                </a:r>
                <a:br>
                  <a:rPr kumimoji="1" lang="en-US" altLang="ja-JP" sz="2600" spc="50" dirty="0">
                    <a:latin typeface="+mn-ea"/>
                    <a:ea typeface="+mn-ea"/>
                  </a:rPr>
                </a:br>
                <a:r>
                  <a:rPr kumimoji="1" lang="ja-JP" altLang="en-US" sz="2600" spc="50" dirty="0">
                    <a:latin typeface="+mn-ea"/>
                    <a:ea typeface="+mn-ea"/>
                  </a:rPr>
                  <a:t>　あなたは授業で実施するボランティア活動について</a:t>
                </a:r>
                <a:br>
                  <a:rPr kumimoji="1" lang="en-US" altLang="ja-JP" sz="2600" spc="50" dirty="0">
                    <a:latin typeface="+mn-ea"/>
                    <a:ea typeface="+mn-ea"/>
                  </a:rPr>
                </a:br>
                <a:r>
                  <a:rPr kumimoji="1" lang="ja-JP" altLang="en-US" sz="2600" spc="50" dirty="0">
                    <a:latin typeface="+mn-ea"/>
                    <a:ea typeface="+mn-ea"/>
                  </a:rPr>
                  <a:t>　考えている高校生です」</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7" y="3074733"/>
              <a:ext cx="8935056" cy="1800000"/>
              <a:chOff x="7945117" y="3367623"/>
              <a:chExt cx="8935056"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3396520"/>
                <a:ext cx="7963719" cy="1742208"/>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質問の背景を入力したうえで、再度同じ情報を聞く</a:t>
                </a:r>
                <a:br>
                  <a:rPr kumimoji="1" lang="ja-JP" altLang="en-US" sz="2600" spc="50" dirty="0">
                    <a:latin typeface="+mn-ea"/>
                    <a:ea typeface="+mn-ea"/>
                  </a:rPr>
                </a:br>
                <a:r>
                  <a:rPr kumimoji="1" lang="ja-JP" altLang="en-US" sz="2600" spc="50" dirty="0">
                    <a:latin typeface="+mn-ea"/>
                    <a:ea typeface="+mn-ea"/>
                  </a:rPr>
                  <a:t>「日本社会の課題について教えてください。</a:t>
                </a:r>
                <a:br>
                  <a:rPr kumimoji="1" lang="en-US" altLang="ja-JP" sz="2600" spc="50" dirty="0">
                    <a:latin typeface="+mn-ea"/>
                    <a:ea typeface="+mn-ea"/>
                  </a:rPr>
                </a:br>
                <a:r>
                  <a:rPr kumimoji="1" lang="ja-JP" altLang="en-US" sz="2600" spc="50" dirty="0">
                    <a:latin typeface="+mn-ea"/>
                    <a:ea typeface="+mn-ea"/>
                  </a:rPr>
                  <a:t>　地域でのどのようなボランティア活動ができるか</a:t>
                </a:r>
                <a:br>
                  <a:rPr kumimoji="1" lang="en-US" altLang="ja-JP" sz="2600" spc="50" dirty="0">
                    <a:latin typeface="+mn-ea"/>
                    <a:ea typeface="+mn-ea"/>
                  </a:rPr>
                </a:br>
                <a:r>
                  <a:rPr kumimoji="1" lang="ja-JP" altLang="en-US" sz="2600" spc="50" dirty="0">
                    <a:latin typeface="+mn-ea"/>
                    <a:ea typeface="+mn-ea"/>
                  </a:rPr>
                  <a:t>　考えています。」</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7" y="5420469"/>
              <a:ext cx="6511315" cy="1800000"/>
              <a:chOff x="7945117" y="5500579"/>
              <a:chExt cx="6511315"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5749536"/>
                <a:ext cx="5539978" cy="1302088"/>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生成</a:t>
                </a:r>
                <a:r>
                  <a:rPr kumimoji="1" lang="en-US" altLang="ja-JP" sz="2600" spc="50" dirty="0">
                    <a:latin typeface="+mn-ea"/>
                    <a:ea typeface="+mn-ea"/>
                  </a:rPr>
                  <a:t>AI</a:t>
                </a:r>
                <a:r>
                  <a:rPr kumimoji="1" lang="ja-JP" altLang="en-US" sz="2600" spc="50" dirty="0">
                    <a:latin typeface="+mn-ea"/>
                    <a:ea typeface="+mn-ea"/>
                  </a:rPr>
                  <a:t>自身の考えを問う</a:t>
                </a:r>
                <a:br>
                  <a:rPr kumimoji="1" lang="ja-JP" altLang="en-US" sz="2600" spc="50" dirty="0">
                    <a:latin typeface="+mn-ea"/>
                    <a:ea typeface="+mn-ea"/>
                  </a:rPr>
                </a:br>
                <a:r>
                  <a:rPr kumimoji="1" lang="ja-JP" altLang="en-US" sz="2600" spc="50" dirty="0">
                    <a:latin typeface="+mn-ea"/>
                    <a:ea typeface="+mn-ea"/>
                  </a:rPr>
                  <a:t>「日本の社会課題について、</a:t>
                </a:r>
                <a:br>
                  <a:rPr kumimoji="1" lang="en-US" altLang="ja-JP" sz="2600" spc="50" dirty="0">
                    <a:latin typeface="+mn-ea"/>
                    <a:ea typeface="+mn-ea"/>
                  </a:rPr>
                </a:br>
                <a:r>
                  <a:rPr kumimoji="1" lang="ja-JP" altLang="en-US" sz="2600" spc="50" dirty="0">
                    <a:latin typeface="+mn-ea"/>
                    <a:ea typeface="+mn-ea"/>
                  </a:rPr>
                  <a:t>　あなたの意見を教えてください」</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7" y="7766203"/>
              <a:ext cx="7896310" cy="1800000"/>
              <a:chOff x="7945117" y="7633369"/>
              <a:chExt cx="7896310"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8102386"/>
                <a:ext cx="6924973" cy="861967"/>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再度同じ文言を指示する</a:t>
                </a:r>
                <a:br>
                  <a:rPr kumimoji="1" lang="ja-JP" altLang="en-US" sz="2600" spc="50" dirty="0">
                    <a:latin typeface="+mn-ea"/>
                    <a:ea typeface="+mn-ea"/>
                  </a:rPr>
                </a:br>
                <a:r>
                  <a:rPr kumimoji="1" lang="ja-JP" altLang="en-US" sz="2600" spc="50" dirty="0">
                    <a:latin typeface="+mn-ea"/>
                    <a:ea typeface="+mn-ea"/>
                  </a:rPr>
                  <a:t>「日本社会の課題について教えてください」</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F6050533-3BA7-0D9A-1FB4-C796115C0F03}"/>
              </a:ext>
            </a:extLst>
          </p:cNvPr>
          <p:cNvSpPr>
            <a:spLocks noGrp="1"/>
          </p:cNvSpPr>
          <p:nvPr>
            <p:ph type="sldNum" sz="quarter" idx="11"/>
          </p:nvPr>
        </p:nvSpPr>
        <p:spPr>
          <a:xfrm>
            <a:off x="17695001" y="9786651"/>
            <a:ext cx="327013" cy="307777"/>
          </a:xfrm>
        </p:spPr>
        <p:txBody>
          <a:bodyPr/>
          <a:lstStyle/>
          <a:p>
            <a:r>
              <a:rPr lang="en-US" altLang="ja-JP"/>
              <a:t>29</a:t>
            </a:r>
            <a:endParaRPr lang="ja-JP" altLang="en-US" dirty="0"/>
          </a:p>
        </p:txBody>
      </p:sp>
    </p:spTree>
    <p:extLst>
      <p:ext uri="{BB962C8B-B14F-4D97-AF65-F5344CB8AC3E}">
        <p14:creationId xmlns:p14="http://schemas.microsoft.com/office/powerpoint/2010/main" val="2810440381"/>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742F43B4-772D-666B-1C70-5D5A3FD1F218}"/>
              </a:ext>
            </a:extLst>
          </p:cNvPr>
          <p:cNvSpPr>
            <a:spLocks noGrp="1"/>
          </p:cNvSpPr>
          <p:nvPr>
            <p:ph type="title"/>
          </p:nvPr>
        </p:nvSpPr>
        <p:spPr>
          <a:xfrm>
            <a:off x="891741" y="506301"/>
            <a:ext cx="3385542" cy="492443"/>
          </a:xfrm>
        </p:spPr>
        <p:txBody>
          <a:bodyPr/>
          <a:lstStyle/>
          <a:p>
            <a:r>
              <a:rPr lang="ja-JP" altLang="en-US" dirty="0"/>
              <a:t>学習の流れ</a:t>
            </a:r>
          </a:p>
        </p:txBody>
      </p:sp>
      <p:pic>
        <p:nvPicPr>
          <p:cNvPr id="11" name="グラフィックス 10">
            <a:extLst>
              <a:ext uri="{FF2B5EF4-FFF2-40B4-BE49-F238E27FC236}">
                <a16:creationId xmlns:a16="http://schemas.microsoft.com/office/drawing/2014/main" id="{B13238E2-F0DB-E000-F7EA-93EF02E5E22F}"/>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994488" y="1650821"/>
            <a:ext cx="836338" cy="1201498"/>
          </a:xfrm>
          <a:prstGeom prst="rect">
            <a:avLst/>
          </a:prstGeom>
        </p:spPr>
      </p:pic>
      <p:grpSp>
        <p:nvGrpSpPr>
          <p:cNvPr id="130" name="グループ化 129">
            <a:extLst>
              <a:ext uri="{FF2B5EF4-FFF2-40B4-BE49-F238E27FC236}">
                <a16:creationId xmlns:a16="http://schemas.microsoft.com/office/drawing/2014/main" id="{EBFAACCB-43C4-5C33-229E-3FBBEC92BDCF}"/>
              </a:ext>
            </a:extLst>
          </p:cNvPr>
          <p:cNvGrpSpPr/>
          <p:nvPr/>
        </p:nvGrpSpPr>
        <p:grpSpPr>
          <a:xfrm>
            <a:off x="2127513" y="1970009"/>
            <a:ext cx="14032979" cy="1673019"/>
            <a:chOff x="2127513" y="1970009"/>
            <a:chExt cx="14032979" cy="1673019"/>
          </a:xfrm>
        </p:grpSpPr>
        <p:sp>
          <p:nvSpPr>
            <p:cNvPr id="118" name="正方形/長方形 1">
              <a:extLst>
                <a:ext uri="{FF2B5EF4-FFF2-40B4-BE49-F238E27FC236}">
                  <a16:creationId xmlns:a16="http://schemas.microsoft.com/office/drawing/2014/main" id="{BE72DD87-B988-4F3C-FA0D-D213DCDF85A5}"/>
                </a:ext>
              </a:extLst>
            </p:cNvPr>
            <p:cNvSpPr/>
            <p:nvPr/>
          </p:nvSpPr>
          <p:spPr>
            <a:xfrm>
              <a:off x="2127513" y="1970009"/>
              <a:ext cx="6949976" cy="1673019"/>
            </a:xfrm>
            <a:prstGeom prst="roundRect">
              <a:avLst>
                <a:gd name="adj" fmla="val 854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21" name="正方形/長方形 1">
              <a:extLst>
                <a:ext uri="{FF2B5EF4-FFF2-40B4-BE49-F238E27FC236}">
                  <a16:creationId xmlns:a16="http://schemas.microsoft.com/office/drawing/2014/main" id="{224BC1E7-7D2E-B4A9-CD43-C61CDF1C20A9}"/>
                </a:ext>
              </a:extLst>
            </p:cNvPr>
            <p:cNvSpPr/>
            <p:nvPr/>
          </p:nvSpPr>
          <p:spPr>
            <a:xfrm>
              <a:off x="8678433" y="1970009"/>
              <a:ext cx="399055" cy="16730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2" name="正方形/長方形 10">
              <a:extLst>
                <a:ext uri="{FF2B5EF4-FFF2-40B4-BE49-F238E27FC236}">
                  <a16:creationId xmlns:a16="http://schemas.microsoft.com/office/drawing/2014/main" id="{CBE8CD1C-0C03-D368-7D2B-9A444DC6E0A7}"/>
                </a:ext>
              </a:extLst>
            </p:cNvPr>
            <p:cNvSpPr/>
            <p:nvPr/>
          </p:nvSpPr>
          <p:spPr>
            <a:xfrm>
              <a:off x="9210514" y="1970011"/>
              <a:ext cx="285775" cy="16730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25" name="正方形/長方形 10">
              <a:extLst>
                <a:ext uri="{FF2B5EF4-FFF2-40B4-BE49-F238E27FC236}">
                  <a16:creationId xmlns:a16="http://schemas.microsoft.com/office/drawing/2014/main" id="{A732089A-07BE-C15E-C2FB-2D56018FFFA0}"/>
                </a:ext>
              </a:extLst>
            </p:cNvPr>
            <p:cNvSpPr/>
            <p:nvPr/>
          </p:nvSpPr>
          <p:spPr>
            <a:xfrm>
              <a:off x="9210514" y="1970011"/>
              <a:ext cx="6949978" cy="1673017"/>
            </a:xfrm>
            <a:prstGeom prst="roundRect">
              <a:avLst>
                <a:gd name="adj" fmla="val 854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の基礎知識を学習</a:t>
              </a:r>
            </a:p>
          </p:txBody>
        </p:sp>
        <p:sp>
          <p:nvSpPr>
            <p:cNvPr id="126" name="テキスト ボックス 125">
              <a:extLst>
                <a:ext uri="{FF2B5EF4-FFF2-40B4-BE49-F238E27FC236}">
                  <a16:creationId xmlns:a16="http://schemas.microsoft.com/office/drawing/2014/main" id="{9F7E1E32-D325-7128-E599-A0E9D9529DA6}"/>
                </a:ext>
              </a:extLst>
            </p:cNvPr>
            <p:cNvSpPr txBox="1"/>
            <p:nvPr/>
          </p:nvSpPr>
          <p:spPr>
            <a:xfrm>
              <a:off x="2519244" y="2541739"/>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grpSp>
      <p:grpSp>
        <p:nvGrpSpPr>
          <p:cNvPr id="131" name="グループ化 130">
            <a:extLst>
              <a:ext uri="{FF2B5EF4-FFF2-40B4-BE49-F238E27FC236}">
                <a16:creationId xmlns:a16="http://schemas.microsoft.com/office/drawing/2014/main" id="{DBD539E9-935B-7C2A-DB16-32A420EC6F29}"/>
              </a:ext>
            </a:extLst>
          </p:cNvPr>
          <p:cNvGrpSpPr/>
          <p:nvPr/>
        </p:nvGrpSpPr>
        <p:grpSpPr>
          <a:xfrm>
            <a:off x="2127513" y="3736404"/>
            <a:ext cx="14032977" cy="1673019"/>
            <a:chOff x="2127513" y="3736404"/>
            <a:chExt cx="14032977" cy="1673019"/>
          </a:xfrm>
        </p:grpSpPr>
        <p:sp>
          <p:nvSpPr>
            <p:cNvPr id="112" name="正方形/長方形 2">
              <a:extLst>
                <a:ext uri="{FF2B5EF4-FFF2-40B4-BE49-F238E27FC236}">
                  <a16:creationId xmlns:a16="http://schemas.microsoft.com/office/drawing/2014/main" id="{B436673D-2F82-92DF-04BA-B863D2F52214}"/>
                </a:ext>
              </a:extLst>
            </p:cNvPr>
            <p:cNvSpPr/>
            <p:nvPr/>
          </p:nvSpPr>
          <p:spPr>
            <a:xfrm>
              <a:off x="2127513" y="3736404"/>
              <a:ext cx="6949976" cy="1673019"/>
            </a:xfrm>
            <a:prstGeom prst="roundRect">
              <a:avLst>
                <a:gd name="adj" fmla="val 854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spcAft>
                  <a:spcPts val="600"/>
                </a:spcAft>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3" name="正方形/長方形 21">
              <a:extLst>
                <a:ext uri="{FF2B5EF4-FFF2-40B4-BE49-F238E27FC236}">
                  <a16:creationId xmlns:a16="http://schemas.microsoft.com/office/drawing/2014/main" id="{63FAB50A-0AEE-6EEB-106A-C1C4349C3616}"/>
                </a:ext>
              </a:extLst>
            </p:cNvPr>
            <p:cNvSpPr/>
            <p:nvPr/>
          </p:nvSpPr>
          <p:spPr>
            <a:xfrm>
              <a:off x="9210512" y="3736406"/>
              <a:ext cx="6949978" cy="1673017"/>
            </a:xfrm>
            <a:prstGeom prst="roundRect">
              <a:avLst>
                <a:gd name="adj" fmla="val 854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lnSpc>
                  <a:spcPct val="110000"/>
                </a:lnSpc>
                <a:spcAft>
                  <a:spcPts val="600"/>
                </a:spcAft>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の活用場面や</a:t>
              </a:r>
              <a:br>
                <a:rPr kumimoji="1" lang="ja-JP" altLang="en-US" sz="2800" b="1" dirty="0">
                  <a:solidFill>
                    <a:schemeClr val="tx1"/>
                  </a:solidFill>
                  <a:latin typeface="+mj-ea"/>
                  <a:ea typeface="+mj-ea"/>
                </a:rPr>
              </a:br>
              <a:r>
                <a:rPr kumimoji="1" lang="ja-JP" altLang="en-US" sz="2800" b="1" dirty="0">
                  <a:solidFill>
                    <a:schemeClr val="tx1"/>
                  </a:solidFill>
                  <a:latin typeface="+mj-ea"/>
                  <a:ea typeface="+mj-ea"/>
                </a:rPr>
                <a:t>入門的な使い方を学習</a:t>
              </a:r>
            </a:p>
          </p:txBody>
        </p:sp>
        <p:sp>
          <p:nvSpPr>
            <p:cNvPr id="115" name="正方形/長方形 2">
              <a:extLst>
                <a:ext uri="{FF2B5EF4-FFF2-40B4-BE49-F238E27FC236}">
                  <a16:creationId xmlns:a16="http://schemas.microsoft.com/office/drawing/2014/main" id="{DBCA65FC-82E5-0FBE-B2FA-FC6F8A116A24}"/>
                </a:ext>
              </a:extLst>
            </p:cNvPr>
            <p:cNvSpPr/>
            <p:nvPr/>
          </p:nvSpPr>
          <p:spPr>
            <a:xfrm>
              <a:off x="8678433" y="3736404"/>
              <a:ext cx="399055" cy="167301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lnSpc>
                  <a:spcPct val="110000"/>
                </a:lnSpc>
                <a:spcAft>
                  <a:spcPts val="600"/>
                </a:spcAft>
                <a:tabLst>
                  <a:tab pos="1074738" algn="l"/>
                </a:tabLst>
              </a:pPr>
              <a:endParaRPr kumimoji="1" lang="ja-JP" altLang="en-US" sz="4000" b="1" dirty="0">
                <a:latin typeface="+mj-ea"/>
                <a:ea typeface="+mj-ea"/>
              </a:endParaRPr>
            </a:p>
          </p:txBody>
        </p:sp>
        <p:sp>
          <p:nvSpPr>
            <p:cNvPr id="116" name="正方形/長方形 21">
              <a:extLst>
                <a:ext uri="{FF2B5EF4-FFF2-40B4-BE49-F238E27FC236}">
                  <a16:creationId xmlns:a16="http://schemas.microsoft.com/office/drawing/2014/main" id="{9AEF42C8-1089-E02D-AF24-FCE0BB929E8E}"/>
                </a:ext>
              </a:extLst>
            </p:cNvPr>
            <p:cNvSpPr/>
            <p:nvPr/>
          </p:nvSpPr>
          <p:spPr>
            <a:xfrm>
              <a:off x="9210514" y="3736406"/>
              <a:ext cx="285775" cy="167301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lnSpc>
                  <a:spcPct val="110000"/>
                </a:lnSpc>
                <a:spcAft>
                  <a:spcPts val="600"/>
                </a:spcAft>
                <a:tabLst>
                  <a:tab pos="1074738" algn="l"/>
                </a:tabLst>
              </a:pPr>
              <a:endParaRPr kumimoji="1" lang="ja-JP" altLang="en-US" sz="2800" b="1" dirty="0">
                <a:solidFill>
                  <a:schemeClr val="tx1"/>
                </a:solidFill>
                <a:latin typeface="+mj-ea"/>
                <a:ea typeface="+mj-ea"/>
              </a:endParaRPr>
            </a:p>
          </p:txBody>
        </p:sp>
        <p:sp>
          <p:nvSpPr>
            <p:cNvPr id="127" name="テキスト ボックス 126">
              <a:extLst>
                <a:ext uri="{FF2B5EF4-FFF2-40B4-BE49-F238E27FC236}">
                  <a16:creationId xmlns:a16="http://schemas.microsoft.com/office/drawing/2014/main" id="{B1F49709-7F5B-967D-18A3-111A50F8CCAA}"/>
                </a:ext>
              </a:extLst>
            </p:cNvPr>
            <p:cNvSpPr txBox="1"/>
            <p:nvPr/>
          </p:nvSpPr>
          <p:spPr>
            <a:xfrm>
              <a:off x="2453416" y="4268900"/>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600"/>
                </a:spcAft>
              </a:pPr>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grpSp>
      <p:grpSp>
        <p:nvGrpSpPr>
          <p:cNvPr id="132" name="グループ化 131">
            <a:extLst>
              <a:ext uri="{FF2B5EF4-FFF2-40B4-BE49-F238E27FC236}">
                <a16:creationId xmlns:a16="http://schemas.microsoft.com/office/drawing/2014/main" id="{E3C51862-A6B3-886A-9938-65A06F53DBBD}"/>
              </a:ext>
            </a:extLst>
          </p:cNvPr>
          <p:cNvGrpSpPr/>
          <p:nvPr/>
        </p:nvGrpSpPr>
        <p:grpSpPr>
          <a:xfrm>
            <a:off x="2127513" y="5502798"/>
            <a:ext cx="14032977" cy="3437638"/>
            <a:chOff x="2127513" y="5502798"/>
            <a:chExt cx="14032977" cy="3437638"/>
          </a:xfrm>
        </p:grpSpPr>
        <p:sp>
          <p:nvSpPr>
            <p:cNvPr id="102" name="正方形/長方形 3">
              <a:extLst>
                <a:ext uri="{FF2B5EF4-FFF2-40B4-BE49-F238E27FC236}">
                  <a16:creationId xmlns:a16="http://schemas.microsoft.com/office/drawing/2014/main" id="{13FDE33F-0590-DCB4-D163-02895E303C6C}"/>
                </a:ext>
              </a:extLst>
            </p:cNvPr>
            <p:cNvSpPr/>
            <p:nvPr/>
          </p:nvSpPr>
          <p:spPr>
            <a:xfrm>
              <a:off x="2127513" y="5502800"/>
              <a:ext cx="6949976" cy="3437636"/>
            </a:xfrm>
            <a:prstGeom prst="roundRect">
              <a:avLst>
                <a:gd name="adj" fmla="val 4156"/>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spcAft>
                  <a:spcPts val="600"/>
                </a:spcAft>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03" name="正方形/長方形 24">
              <a:extLst>
                <a:ext uri="{FF2B5EF4-FFF2-40B4-BE49-F238E27FC236}">
                  <a16:creationId xmlns:a16="http://schemas.microsoft.com/office/drawing/2014/main" id="{7451C36D-77EB-3951-92FA-4B66F4783E40}"/>
                </a:ext>
              </a:extLst>
            </p:cNvPr>
            <p:cNvSpPr/>
            <p:nvPr/>
          </p:nvSpPr>
          <p:spPr>
            <a:xfrm>
              <a:off x="9210512" y="5502798"/>
              <a:ext cx="6949978" cy="3437636"/>
            </a:xfrm>
            <a:prstGeom prst="roundRect">
              <a:avLst>
                <a:gd name="adj" fmla="val 415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lnSpc>
                  <a:spcPct val="110000"/>
                </a:lnSpc>
                <a:spcAft>
                  <a:spcPts val="600"/>
                </a:spcAft>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を使いこなすうえでの</a:t>
              </a:r>
              <a:br>
                <a:rPr kumimoji="1" lang="en-US" altLang="ja-JP" sz="2800" b="1" dirty="0">
                  <a:solidFill>
                    <a:schemeClr val="tx1"/>
                  </a:solidFill>
                  <a:latin typeface="+mj-ea"/>
                  <a:ea typeface="+mj-ea"/>
                </a:rPr>
              </a:br>
              <a:r>
                <a:rPr kumimoji="1" lang="en-US" altLang="ja-JP" sz="2800" b="1" dirty="0">
                  <a:solidFill>
                    <a:schemeClr val="tx1"/>
                  </a:solidFill>
                  <a:latin typeface="+mj-ea"/>
                  <a:ea typeface="+mj-ea"/>
                </a:rPr>
                <a:t>4</a:t>
              </a:r>
              <a:r>
                <a:rPr kumimoji="1" lang="ja-JP" altLang="en-US" sz="2800" b="1" dirty="0">
                  <a:solidFill>
                    <a:schemeClr val="tx1"/>
                  </a:solidFill>
                  <a:latin typeface="+mj-ea"/>
                  <a:ea typeface="+mj-ea"/>
                </a:rPr>
                <a:t>つの注意点を学習</a:t>
              </a:r>
            </a:p>
            <a:p>
              <a:pPr marL="360000" indent="-360000">
                <a:lnSpc>
                  <a:spcPct val="110000"/>
                </a:lnSpc>
                <a:spcAft>
                  <a:spcPts val="600"/>
                </a:spcAft>
                <a:buClr>
                  <a:schemeClr val="accent2"/>
                </a:buClr>
                <a:buFont typeface="Wingdings" panose="05000000000000000000" pitchFamily="2" charset="2"/>
                <a:buChar char="l"/>
                <a:tabLst>
                  <a:tab pos="1074738" algn="l"/>
                </a:tabLst>
              </a:pPr>
              <a:r>
                <a:rPr kumimoji="1" lang="ja-JP" altLang="en-US" sz="2400" dirty="0">
                  <a:solidFill>
                    <a:schemeClr val="tx1"/>
                  </a:solidFill>
                  <a:latin typeface="+mn-ea"/>
                </a:rPr>
                <a:t>情報の正確性</a:t>
              </a:r>
            </a:p>
            <a:p>
              <a:pPr marL="360000" indent="-360000">
                <a:lnSpc>
                  <a:spcPct val="110000"/>
                </a:lnSpc>
                <a:spcAft>
                  <a:spcPts val="600"/>
                </a:spcAft>
                <a:buClr>
                  <a:schemeClr val="accent2"/>
                </a:buClr>
                <a:buFont typeface="Wingdings" panose="05000000000000000000" pitchFamily="2" charset="2"/>
                <a:buChar char="l"/>
                <a:tabLst>
                  <a:tab pos="1074738" algn="l"/>
                </a:tabLst>
              </a:pPr>
              <a:r>
                <a:rPr kumimoji="1" lang="ja-JP" altLang="en-US" sz="2400" dirty="0">
                  <a:solidFill>
                    <a:schemeClr val="tx1"/>
                  </a:solidFill>
                  <a:latin typeface="+mn-ea"/>
                </a:rPr>
                <a:t>情報流出</a:t>
              </a:r>
            </a:p>
            <a:p>
              <a:pPr marL="360000" indent="-360000">
                <a:lnSpc>
                  <a:spcPct val="110000"/>
                </a:lnSpc>
                <a:spcAft>
                  <a:spcPts val="600"/>
                </a:spcAft>
                <a:buClr>
                  <a:schemeClr val="accent2"/>
                </a:buClr>
                <a:buFont typeface="Wingdings" panose="05000000000000000000" pitchFamily="2" charset="2"/>
                <a:buChar char="l"/>
                <a:tabLst>
                  <a:tab pos="1074738" algn="l"/>
                </a:tabLst>
              </a:pPr>
              <a:r>
                <a:rPr kumimoji="1" lang="ja-JP" altLang="en-US" sz="2400" dirty="0">
                  <a:solidFill>
                    <a:schemeClr val="tx1"/>
                  </a:solidFill>
                  <a:latin typeface="+mn-ea"/>
                </a:rPr>
                <a:t>知的財産権の侵害</a:t>
              </a:r>
            </a:p>
            <a:p>
              <a:pPr marL="360000" indent="-360000">
                <a:lnSpc>
                  <a:spcPct val="110000"/>
                </a:lnSpc>
                <a:spcAft>
                  <a:spcPts val="600"/>
                </a:spcAft>
                <a:buClr>
                  <a:schemeClr val="accent2"/>
                </a:buClr>
                <a:buFont typeface="Wingdings" panose="05000000000000000000" pitchFamily="2" charset="2"/>
                <a:buChar char="l"/>
                <a:tabLst>
                  <a:tab pos="1074738" algn="l"/>
                </a:tabLst>
              </a:pPr>
              <a:r>
                <a:rPr kumimoji="1" lang="ja-JP" altLang="en-US" sz="2400" dirty="0">
                  <a:solidFill>
                    <a:schemeClr val="tx1"/>
                  </a:solidFill>
                  <a:latin typeface="+mn-ea"/>
                </a:rPr>
                <a:t>活用者としてのモラル</a:t>
              </a:r>
            </a:p>
          </p:txBody>
        </p:sp>
        <p:sp>
          <p:nvSpPr>
            <p:cNvPr id="107" name="正方形/長方形 3">
              <a:extLst>
                <a:ext uri="{FF2B5EF4-FFF2-40B4-BE49-F238E27FC236}">
                  <a16:creationId xmlns:a16="http://schemas.microsoft.com/office/drawing/2014/main" id="{530CAB0A-5225-A1C5-ED97-63DB1F467CE0}"/>
                </a:ext>
              </a:extLst>
            </p:cNvPr>
            <p:cNvSpPr/>
            <p:nvPr/>
          </p:nvSpPr>
          <p:spPr>
            <a:xfrm>
              <a:off x="8678433" y="5502800"/>
              <a:ext cx="399055" cy="3437636"/>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lnSpc>
                  <a:spcPct val="110000"/>
                </a:lnSpc>
                <a:spcAft>
                  <a:spcPts val="600"/>
                </a:spcAft>
                <a:tabLst>
                  <a:tab pos="1074738" algn="l"/>
                </a:tabLst>
              </a:pPr>
              <a:endParaRPr kumimoji="1" lang="ja-JP" altLang="en-US" sz="4000" b="1" dirty="0">
                <a:latin typeface="+mj-ea"/>
                <a:ea typeface="+mj-ea"/>
              </a:endParaRPr>
            </a:p>
          </p:txBody>
        </p:sp>
        <p:sp>
          <p:nvSpPr>
            <p:cNvPr id="108" name="正方形/長方形 24">
              <a:extLst>
                <a:ext uri="{FF2B5EF4-FFF2-40B4-BE49-F238E27FC236}">
                  <a16:creationId xmlns:a16="http://schemas.microsoft.com/office/drawing/2014/main" id="{05E43CD5-214E-0D41-FBD8-8E5CDF5E61F3}"/>
                </a:ext>
              </a:extLst>
            </p:cNvPr>
            <p:cNvSpPr/>
            <p:nvPr/>
          </p:nvSpPr>
          <p:spPr>
            <a:xfrm>
              <a:off x="9210514" y="5502798"/>
              <a:ext cx="285775" cy="34376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lnSpc>
                  <a:spcPct val="110000"/>
                </a:lnSpc>
                <a:spcAft>
                  <a:spcPts val="600"/>
                </a:spcAft>
                <a:tabLst>
                  <a:tab pos="1074738" algn="l"/>
                </a:tabLst>
              </a:pPr>
              <a:endParaRPr kumimoji="1" lang="ja-JP" altLang="en-US" sz="2800" b="1" dirty="0">
                <a:solidFill>
                  <a:schemeClr val="tx1"/>
                </a:solidFill>
                <a:latin typeface="+mj-ea"/>
                <a:ea typeface="+mj-ea"/>
              </a:endParaRPr>
            </a:p>
          </p:txBody>
        </p:sp>
        <p:sp>
          <p:nvSpPr>
            <p:cNvPr id="128" name="テキスト ボックス 127">
              <a:extLst>
                <a:ext uri="{FF2B5EF4-FFF2-40B4-BE49-F238E27FC236}">
                  <a16:creationId xmlns:a16="http://schemas.microsoft.com/office/drawing/2014/main" id="{E22CC65F-CBE1-A1DA-00AD-716D2421C596}"/>
                </a:ext>
              </a:extLst>
            </p:cNvPr>
            <p:cNvSpPr txBox="1"/>
            <p:nvPr/>
          </p:nvSpPr>
          <p:spPr>
            <a:xfrm>
              <a:off x="2452613" y="6916588"/>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nSpc>
                  <a:spcPct val="110000"/>
                </a:lnSpc>
                <a:spcAft>
                  <a:spcPts val="600"/>
                </a:spcAft>
              </a:pPr>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grpSp>
      <p:sp>
        <p:nvSpPr>
          <p:cNvPr id="246" name="スライド番号プレースホルダー 245">
            <a:extLst>
              <a:ext uri="{FF2B5EF4-FFF2-40B4-BE49-F238E27FC236}">
                <a16:creationId xmlns:a16="http://schemas.microsoft.com/office/drawing/2014/main" id="{36CF017C-3E92-2E1F-A2C0-3BD6AD1B813E}"/>
              </a:ext>
            </a:extLst>
          </p:cNvPr>
          <p:cNvSpPr>
            <a:spLocks noGrp="1"/>
          </p:cNvSpPr>
          <p:nvPr>
            <p:ph type="sldNum" sz="quarter" idx="11"/>
          </p:nvPr>
        </p:nvSpPr>
        <p:spPr>
          <a:xfrm>
            <a:off x="17776755" y="9786651"/>
            <a:ext cx="163506" cy="307777"/>
          </a:xfrm>
        </p:spPr>
        <p:txBody>
          <a:bodyPr/>
          <a:lstStyle/>
          <a:p>
            <a:r>
              <a:rPr lang="en-US" altLang="ja-JP"/>
              <a:t>3</a:t>
            </a:r>
            <a:endParaRPr lang="ja-JP" altLang="en-US" dirty="0"/>
          </a:p>
        </p:txBody>
      </p:sp>
      <p:pic>
        <p:nvPicPr>
          <p:cNvPr id="6" name="図 5">
            <a:extLst>
              <a:ext uri="{FF2B5EF4-FFF2-40B4-BE49-F238E27FC236}">
                <a16:creationId xmlns:a16="http://schemas.microsoft.com/office/drawing/2014/main" id="{C36F540E-2BBE-76F5-9F6F-3C9B61D35641}"/>
              </a:ext>
            </a:extLst>
          </p:cNvPr>
          <p:cNvPicPr>
            <a:picLocks noChangeAspect="1"/>
          </p:cNvPicPr>
          <p:nvPr/>
        </p:nvPicPr>
        <p:blipFill>
          <a:blip r:embed="rId5"/>
          <a:stretch>
            <a:fillRect/>
          </a:stretch>
        </p:blipFill>
        <p:spPr>
          <a:xfrm>
            <a:off x="15068940" y="7732121"/>
            <a:ext cx="2371550" cy="2054530"/>
          </a:xfrm>
          <a:prstGeom prst="rect">
            <a:avLst/>
          </a:prstGeom>
        </p:spPr>
      </p:pic>
      <p:pic>
        <p:nvPicPr>
          <p:cNvPr id="8" name="図 7">
            <a:extLst>
              <a:ext uri="{FF2B5EF4-FFF2-40B4-BE49-F238E27FC236}">
                <a16:creationId xmlns:a16="http://schemas.microsoft.com/office/drawing/2014/main" id="{3223DAE9-D5EB-A389-F977-E96347A6A091}"/>
              </a:ext>
            </a:extLst>
          </p:cNvPr>
          <p:cNvPicPr>
            <a:picLocks noChangeAspect="1"/>
          </p:cNvPicPr>
          <p:nvPr/>
        </p:nvPicPr>
        <p:blipFill>
          <a:blip r:embed="rId6"/>
          <a:stretch>
            <a:fillRect/>
          </a:stretch>
        </p:blipFill>
        <p:spPr>
          <a:xfrm>
            <a:off x="1147136" y="1176416"/>
            <a:ext cx="2475191" cy="1853345"/>
          </a:xfrm>
          <a:prstGeom prst="rect">
            <a:avLst/>
          </a:prstGeom>
        </p:spPr>
      </p:pic>
    </p:spTree>
    <p:extLst>
      <p:ext uri="{BB962C8B-B14F-4D97-AF65-F5344CB8AC3E}">
        <p14:creationId xmlns:p14="http://schemas.microsoft.com/office/powerpoint/2010/main" val="2517546479"/>
      </p:ext>
    </p:extLst>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4659559"/>
            <a:ext cx="5845132" cy="2199448"/>
          </a:xfrm>
          <a:prstGeom prst="rect">
            <a:avLst/>
          </a:prstGeom>
          <a:noFill/>
        </p:spPr>
        <p:txBody>
          <a:bodyPr wrap="square" lIns="0" tIns="0" rIns="0" bIns="0" rtlCol="0" anchor="t">
            <a:spAutoFit/>
          </a:bodyPr>
          <a:lstStyle/>
          <a:p>
            <a:pPr algn="just">
              <a:lnSpc>
                <a:spcPct val="130000"/>
              </a:lnSpc>
              <a:spcAft>
                <a:spcPts val="1200"/>
              </a:spcAft>
            </a:pPr>
            <a:r>
              <a:rPr kumimoji="1" lang="ja-JP" altLang="en-US" sz="2800" spc="50" dirty="0">
                <a:latin typeface="+mn-ea"/>
              </a:rPr>
              <a:t>指示の工夫方法として、生成</a:t>
            </a:r>
            <a:r>
              <a:rPr kumimoji="1" lang="en-US" altLang="ja-JP" sz="2800" spc="50" dirty="0">
                <a:latin typeface="+mn-ea"/>
              </a:rPr>
              <a:t>AI</a:t>
            </a:r>
            <a:r>
              <a:rPr kumimoji="1" lang="ja-JP" altLang="en-US" sz="2800" spc="50" dirty="0">
                <a:latin typeface="+mn-ea"/>
              </a:rPr>
              <a:t>に役割を与える、指示の背景を記載する、詳細を聞く、回答の制限条件を入力すること等が挙げられる。</a:t>
            </a:r>
            <a:endParaRPr kumimoji="1" lang="en-US" altLang="ja-JP" sz="2800" spc="50" dirty="0">
              <a:latin typeface="+mn-ea"/>
            </a:endParaRPr>
          </a:p>
        </p:txBody>
      </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9" y="724103"/>
            <a:ext cx="9627551" cy="8837206"/>
            <a:chOff x="7945119" y="728997"/>
            <a:chExt cx="9627551"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9" y="728997"/>
              <a:ext cx="9281302" cy="1800000"/>
              <a:chOff x="7945119" y="1234999"/>
              <a:chExt cx="9281302"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263896"/>
                <a:ext cx="8309967" cy="1742208"/>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生成</a:t>
                </a:r>
                <a:r>
                  <a:rPr kumimoji="1" lang="en-US" altLang="ja-JP" sz="2600" spc="50" dirty="0">
                    <a:latin typeface="+mn-ea"/>
                    <a:ea typeface="+mn-ea"/>
                  </a:rPr>
                  <a:t>AI</a:t>
                </a:r>
                <a:r>
                  <a:rPr kumimoji="1" lang="ja-JP" altLang="en-US" sz="2600" spc="50" dirty="0">
                    <a:latin typeface="+mn-ea"/>
                    <a:ea typeface="+mn-ea"/>
                  </a:rPr>
                  <a:t>に役割を与えたうえで、再度同じ情報を聞く</a:t>
                </a:r>
                <a:br>
                  <a:rPr kumimoji="1" lang="ja-JP" altLang="en-US" sz="2600" spc="50" dirty="0">
                    <a:latin typeface="+mn-ea"/>
                    <a:ea typeface="+mn-ea"/>
                  </a:rPr>
                </a:br>
                <a:r>
                  <a:rPr kumimoji="1" lang="ja-JP" altLang="en-US" sz="2600" spc="50" dirty="0">
                    <a:latin typeface="+mn-ea"/>
                    <a:ea typeface="+mn-ea"/>
                  </a:rPr>
                  <a:t>「日本社会の課題について教えてください。</a:t>
                </a:r>
                <a:br>
                  <a:rPr kumimoji="1" lang="en-US" altLang="ja-JP" sz="2600" spc="50" dirty="0">
                    <a:latin typeface="+mn-ea"/>
                    <a:ea typeface="+mn-ea"/>
                  </a:rPr>
                </a:br>
                <a:r>
                  <a:rPr kumimoji="1" lang="ja-JP" altLang="en-US" sz="2600" spc="50" dirty="0">
                    <a:latin typeface="+mn-ea"/>
                    <a:ea typeface="+mn-ea"/>
                  </a:rPr>
                  <a:t>　あなたは授業で実施するボランティア活動について</a:t>
                </a:r>
                <a:br>
                  <a:rPr kumimoji="1" lang="en-US" altLang="ja-JP" sz="2600" spc="50" dirty="0">
                    <a:latin typeface="+mn-ea"/>
                    <a:ea typeface="+mn-ea"/>
                  </a:rPr>
                </a:br>
                <a:r>
                  <a:rPr kumimoji="1" lang="ja-JP" altLang="en-US" sz="2600" spc="50" dirty="0">
                    <a:latin typeface="+mn-ea"/>
                    <a:ea typeface="+mn-ea"/>
                  </a:rPr>
                  <a:t>　考えている高校生です」</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9" y="1234999"/>
                <a:ext cx="663589"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9" y="3074733"/>
              <a:ext cx="8935054" cy="1800000"/>
              <a:chOff x="7945119" y="3367623"/>
              <a:chExt cx="8935054"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3396520"/>
                <a:ext cx="7963719" cy="1742208"/>
              </a:xfrm>
              <a:prstGeom prst="rect">
                <a:avLst/>
              </a:prstGeom>
              <a:noFill/>
            </p:spPr>
            <p:txBody>
              <a:bodyPr wrap="none" lIns="0" tIns="0" rIns="0" bIns="0" rtlCol="0" anchor="ctr">
                <a:spAutoFit/>
              </a:bodyPr>
              <a:lstStyle/>
              <a:p>
                <a:pPr algn="l">
                  <a:lnSpc>
                    <a:spcPct val="110000"/>
                  </a:lnSpc>
                </a:pPr>
                <a:r>
                  <a:rPr kumimoji="1" lang="ja-JP" altLang="en-US" sz="2600" spc="50" dirty="0">
                    <a:latin typeface="+mn-ea"/>
                    <a:ea typeface="+mn-ea"/>
                  </a:rPr>
                  <a:t>質問の背景を入力したうえで、再度同じ情報を聞く</a:t>
                </a:r>
                <a:br>
                  <a:rPr kumimoji="1" lang="ja-JP" altLang="en-US" sz="2600" spc="50" dirty="0">
                    <a:latin typeface="+mn-ea"/>
                    <a:ea typeface="+mn-ea"/>
                  </a:rPr>
                </a:br>
                <a:r>
                  <a:rPr kumimoji="1" lang="ja-JP" altLang="en-US" sz="2600" spc="50" dirty="0">
                    <a:latin typeface="+mn-ea"/>
                    <a:ea typeface="+mn-ea"/>
                  </a:rPr>
                  <a:t>「日本社会の課題について教えてください。</a:t>
                </a:r>
                <a:br>
                  <a:rPr kumimoji="1" lang="en-US" altLang="ja-JP" sz="2600" spc="50" dirty="0">
                    <a:latin typeface="+mn-ea"/>
                    <a:ea typeface="+mn-ea"/>
                  </a:rPr>
                </a:br>
                <a:r>
                  <a:rPr kumimoji="1" lang="ja-JP" altLang="en-US" sz="2600" spc="50" dirty="0">
                    <a:latin typeface="+mn-ea"/>
                    <a:ea typeface="+mn-ea"/>
                  </a:rPr>
                  <a:t>　地域でのどのようなボランティア活動ができるか</a:t>
                </a:r>
                <a:br>
                  <a:rPr kumimoji="1" lang="en-US" altLang="ja-JP" sz="2600" spc="50" dirty="0">
                    <a:latin typeface="+mn-ea"/>
                    <a:ea typeface="+mn-ea"/>
                  </a:rPr>
                </a:br>
                <a:r>
                  <a:rPr kumimoji="1" lang="ja-JP" altLang="en-US" sz="2600" spc="50" dirty="0">
                    <a:latin typeface="+mn-ea"/>
                    <a:ea typeface="+mn-ea"/>
                  </a:rPr>
                  <a:t>　考えています。」</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9" y="3367623"/>
                <a:ext cx="663589"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9" y="5420469"/>
              <a:ext cx="8837271" cy="1800000"/>
              <a:chOff x="7945119" y="5500579"/>
              <a:chExt cx="8837271"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5529476"/>
                <a:ext cx="7865936" cy="174220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生成</a:t>
                </a:r>
                <a:r>
                  <a:rPr kumimoji="1" lang="en-US" altLang="ja-JP" sz="2600" spc="50" dirty="0">
                    <a:solidFill>
                      <a:schemeClr val="accent3"/>
                    </a:solidFill>
                    <a:latin typeface="+mn-ea"/>
                    <a:ea typeface="+mn-ea"/>
                  </a:rPr>
                  <a:t>AI </a:t>
                </a:r>
                <a:r>
                  <a:rPr kumimoji="1" lang="ja-JP" altLang="en-US" sz="2600" spc="50" dirty="0">
                    <a:solidFill>
                      <a:schemeClr val="accent3"/>
                    </a:solidFill>
                    <a:latin typeface="+mn-ea"/>
                    <a:ea typeface="+mn-ea"/>
                  </a:rPr>
                  <a:t>は学習データからアルゴリズムに基づいて</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コンテンツを生成する技術であり、</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生成</a:t>
                </a:r>
                <a:r>
                  <a:rPr kumimoji="1" lang="en-US" altLang="ja-JP" sz="2600" spc="50" dirty="0">
                    <a:solidFill>
                      <a:schemeClr val="accent3"/>
                    </a:solidFill>
                    <a:latin typeface="+mn-ea"/>
                    <a:ea typeface="+mn-ea"/>
                  </a:rPr>
                  <a:t>AI </a:t>
                </a:r>
                <a:r>
                  <a:rPr kumimoji="1" lang="ja-JP" altLang="en-US" sz="2600" spc="50" dirty="0">
                    <a:solidFill>
                      <a:schemeClr val="accent3"/>
                    </a:solidFill>
                    <a:latin typeface="+mn-ea"/>
                    <a:ea typeface="+mn-ea"/>
                  </a:rPr>
                  <a:t>が個人的な意見を持つことはない</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9" y="5500579"/>
                <a:ext cx="663589"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9" y="7766203"/>
              <a:ext cx="9627551" cy="1800000"/>
              <a:chOff x="7945119" y="7633369"/>
              <a:chExt cx="9627551"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7662266"/>
                <a:ext cx="8656216" cy="174220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再度同じ文言を指示しても同じ趣旨の回答が出力される</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可能性が高いため、表現を変えて何度か試行する方が</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効果的である</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9" y="7633369"/>
                <a:ext cx="663589"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25" name="グループ化 24">
            <a:extLst>
              <a:ext uri="{FF2B5EF4-FFF2-40B4-BE49-F238E27FC236}">
                <a16:creationId xmlns:a16="http://schemas.microsoft.com/office/drawing/2014/main" id="{C124EDD2-AF6F-73FE-CCC1-EE201DDB1815}"/>
              </a:ext>
            </a:extLst>
          </p:cNvPr>
          <p:cNvGrpSpPr/>
          <p:nvPr/>
        </p:nvGrpSpPr>
        <p:grpSpPr>
          <a:xfrm>
            <a:off x="2073291" y="2604635"/>
            <a:ext cx="3206716" cy="1170649"/>
            <a:chOff x="1991495" y="2670256"/>
            <a:chExt cx="2862607" cy="1045028"/>
          </a:xfrm>
        </p:grpSpPr>
        <p:sp>
          <p:nvSpPr>
            <p:cNvPr id="10" name="四角形: 角を丸くする 9">
              <a:extLst>
                <a:ext uri="{FF2B5EF4-FFF2-40B4-BE49-F238E27FC236}">
                  <a16:creationId xmlns:a16="http://schemas.microsoft.com/office/drawing/2014/main" id="{8BD530BF-9A27-6C0F-FF40-1E7914D629FD}"/>
                </a:ext>
              </a:extLst>
            </p:cNvPr>
            <p:cNvSpPr/>
            <p:nvPr/>
          </p:nvSpPr>
          <p:spPr>
            <a:xfrm>
              <a:off x="1991495" y="2670256"/>
              <a:ext cx="1045028" cy="1045028"/>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5" name="テキスト ボックス 14">
              <a:extLst>
                <a:ext uri="{FF2B5EF4-FFF2-40B4-BE49-F238E27FC236}">
                  <a16:creationId xmlns:a16="http://schemas.microsoft.com/office/drawing/2014/main" id="{538B6EBF-1FEC-0288-343E-8A09B3D3021E}"/>
                </a:ext>
              </a:extLst>
            </p:cNvPr>
            <p:cNvSpPr txBox="1">
              <a:spLocks/>
            </p:cNvSpPr>
            <p:nvPr/>
          </p:nvSpPr>
          <p:spPr>
            <a:xfrm>
              <a:off x="3360686"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19" name="テキスト ボックス 18">
              <a:extLst>
                <a:ext uri="{FF2B5EF4-FFF2-40B4-BE49-F238E27FC236}">
                  <a16:creationId xmlns:a16="http://schemas.microsoft.com/office/drawing/2014/main" id="{4924464F-5182-4305-2CE6-79B74BDAF3FF}"/>
                </a:ext>
              </a:extLst>
            </p:cNvPr>
            <p:cNvSpPr txBox="1">
              <a:spLocks/>
            </p:cNvSpPr>
            <p:nvPr/>
          </p:nvSpPr>
          <p:spPr>
            <a:xfrm>
              <a:off x="4206102"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sp>
        <p:nvSpPr>
          <p:cNvPr id="30" name="楕円 29">
            <a:extLst>
              <a:ext uri="{FF2B5EF4-FFF2-40B4-BE49-F238E27FC236}">
                <a16:creationId xmlns:a16="http://schemas.microsoft.com/office/drawing/2014/main" id="{6F7E85AD-58A2-B164-38EB-D252D64A8B81}"/>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1" name="楕円 30">
            <a:extLst>
              <a:ext uri="{FF2B5EF4-FFF2-40B4-BE49-F238E27FC236}">
                <a16:creationId xmlns:a16="http://schemas.microsoft.com/office/drawing/2014/main" id="{6CED3F64-FE74-E726-BDD8-ECE392CF85DB}"/>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B274E07A-5370-AEC0-3731-F69C3CA0F175}"/>
              </a:ext>
            </a:extLst>
          </p:cNvPr>
          <p:cNvSpPr>
            <a:spLocks noGrp="1"/>
          </p:cNvSpPr>
          <p:nvPr>
            <p:ph type="sldNum" sz="quarter" idx="11"/>
          </p:nvPr>
        </p:nvSpPr>
        <p:spPr>
          <a:xfrm>
            <a:off x="17695001" y="9786651"/>
            <a:ext cx="327013" cy="307777"/>
          </a:xfrm>
        </p:spPr>
        <p:txBody>
          <a:bodyPr/>
          <a:lstStyle/>
          <a:p>
            <a:r>
              <a:rPr lang="en-US" altLang="ja-JP"/>
              <a:t>30</a:t>
            </a:r>
            <a:endParaRPr lang="ja-JP" altLang="en-US" dirty="0"/>
          </a:p>
        </p:txBody>
      </p:sp>
    </p:spTree>
    <p:extLst>
      <p:ext uri="{BB962C8B-B14F-4D97-AF65-F5344CB8AC3E}">
        <p14:creationId xmlns:p14="http://schemas.microsoft.com/office/powerpoint/2010/main" val="1578853416"/>
      </p:ext>
    </p:extLst>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3264355"/>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あなたは生成</a:t>
            </a:r>
            <a:r>
              <a:rPr kumimoji="1" lang="en-US" altLang="ja-JP" sz="2800" spc="50" dirty="0">
                <a:latin typeface="+mn-ea"/>
              </a:rPr>
              <a:t>AI</a:t>
            </a:r>
            <a:r>
              <a:rPr kumimoji="1" lang="ja-JP" altLang="en-US" sz="2800" spc="50" dirty="0">
                <a:latin typeface="+mn-ea"/>
              </a:rPr>
              <a:t>を活用して「旅行の行き先」を決めたいと考えています</a:t>
            </a:r>
            <a:r>
              <a:rPr lang="ja-JP" altLang="en-US" sz="2800" spc="50" dirty="0">
                <a:latin typeface="+mn-ea"/>
              </a:rPr>
              <a:t>。</a:t>
            </a:r>
            <a:endParaRPr kumimoji="1" lang="ja-JP" altLang="en-US" sz="2800" spc="50" dirty="0">
              <a:latin typeface="+mn-ea"/>
            </a:endParaRPr>
          </a:p>
          <a:p>
            <a:pPr algn="just">
              <a:lnSpc>
                <a:spcPct val="120000"/>
              </a:lnSpc>
              <a:spcAft>
                <a:spcPts val="1500"/>
              </a:spcAft>
            </a:pPr>
            <a:r>
              <a:rPr kumimoji="1" lang="ja-JP" altLang="en-US" sz="2800" spc="50" dirty="0">
                <a:latin typeface="+mn-ea"/>
              </a:rPr>
              <a:t>旅行の条件や自分の好みに合わせた行き先を提案してもらうため、生成</a:t>
            </a:r>
            <a:r>
              <a:rPr kumimoji="1" lang="en-US" altLang="ja-JP" sz="2800" spc="50" dirty="0">
                <a:latin typeface="+mn-ea"/>
              </a:rPr>
              <a:t>AI</a:t>
            </a:r>
            <a:r>
              <a:rPr kumimoji="1" lang="ja-JP" altLang="en-US" sz="2800" spc="50" dirty="0">
                <a:latin typeface="+mn-ea"/>
              </a:rPr>
              <a:t>にどのような指示をすると良いでしょうか？</a:t>
            </a:r>
          </a:p>
        </p:txBody>
      </p:sp>
      <p:sp>
        <p:nvSpPr>
          <p:cNvPr id="3" name="正方形/長方形 2">
            <a:extLst>
              <a:ext uri="{FF2B5EF4-FFF2-40B4-BE49-F238E27FC236}">
                <a16:creationId xmlns:a16="http://schemas.microsoft.com/office/drawing/2014/main" id="{CC7EDFD1-875F-0123-AE53-8758EFF19535}"/>
              </a:ext>
            </a:extLst>
          </p:cNvPr>
          <p:cNvSpPr/>
          <p:nvPr/>
        </p:nvSpPr>
        <p:spPr>
          <a:xfrm>
            <a:off x="7802106" y="2379197"/>
            <a:ext cx="9892895" cy="53429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5" name="四角形: 角を丸くする 4">
            <a:extLst>
              <a:ext uri="{FF2B5EF4-FFF2-40B4-BE49-F238E27FC236}">
                <a16:creationId xmlns:a16="http://schemas.microsoft.com/office/drawing/2014/main" id="{1C90B63E-72E8-20F5-693C-A47BFDF73F0C}"/>
              </a:ext>
            </a:extLst>
          </p:cNvPr>
          <p:cNvSpPr/>
          <p:nvPr/>
        </p:nvSpPr>
        <p:spPr>
          <a:xfrm>
            <a:off x="8484312" y="926131"/>
            <a:ext cx="8524765" cy="743585"/>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756000" tIns="18000" rIns="684000" bIns="18000" rtlCol="0" anchor="ctr">
            <a:spAutoFit/>
          </a:bodyPr>
          <a:lstStyle/>
          <a:p>
            <a:pPr algn="ctr"/>
            <a:r>
              <a:rPr lang="en-US" altLang="ja-JP" sz="3200" spc="100" dirty="0">
                <a:solidFill>
                  <a:schemeClr val="bg1"/>
                </a:solidFill>
                <a:latin typeface="+mj-ea"/>
                <a:ea typeface="+mj-ea"/>
              </a:rPr>
              <a:t>※</a:t>
            </a:r>
            <a:r>
              <a:rPr lang="ja-JP" altLang="en-US" sz="3200" spc="100" dirty="0">
                <a:solidFill>
                  <a:schemeClr val="bg1"/>
                </a:solidFill>
                <a:latin typeface="+mj-ea"/>
                <a:ea typeface="+mj-ea"/>
              </a:rPr>
              <a:t> </a:t>
            </a:r>
            <a:r>
              <a:rPr kumimoji="1" lang="ja-JP" altLang="en-US" sz="3200" spc="100" dirty="0">
                <a:solidFill>
                  <a:schemeClr val="bg1"/>
                </a:solidFill>
                <a:latin typeface="+mj-ea"/>
                <a:ea typeface="+mj-ea"/>
              </a:rPr>
              <a:t>条件は自由に考えてみてください</a:t>
            </a:r>
          </a:p>
        </p:txBody>
      </p:sp>
      <p:sp>
        <p:nvSpPr>
          <p:cNvPr id="4" name="スライド番号プレースホルダー 3">
            <a:extLst>
              <a:ext uri="{FF2B5EF4-FFF2-40B4-BE49-F238E27FC236}">
                <a16:creationId xmlns:a16="http://schemas.microsoft.com/office/drawing/2014/main" id="{5811DD00-2A42-6E4C-D22D-6EA9C33FA743}"/>
              </a:ext>
            </a:extLst>
          </p:cNvPr>
          <p:cNvSpPr>
            <a:spLocks noGrp="1"/>
          </p:cNvSpPr>
          <p:nvPr>
            <p:ph type="sldNum" sz="quarter" idx="11"/>
          </p:nvPr>
        </p:nvSpPr>
        <p:spPr>
          <a:xfrm>
            <a:off x="17695001" y="9786651"/>
            <a:ext cx="327013" cy="307777"/>
          </a:xfrm>
        </p:spPr>
        <p:txBody>
          <a:bodyPr/>
          <a:lstStyle/>
          <a:p>
            <a:r>
              <a:rPr lang="en-US" altLang="ja-JP"/>
              <a:t>31</a:t>
            </a:r>
            <a:endParaRPr lang="ja-JP" altLang="en-US" dirty="0"/>
          </a:p>
        </p:txBody>
      </p:sp>
      <p:pic>
        <p:nvPicPr>
          <p:cNvPr id="6" name="図 5">
            <a:extLst>
              <a:ext uri="{FF2B5EF4-FFF2-40B4-BE49-F238E27FC236}">
                <a16:creationId xmlns:a16="http://schemas.microsoft.com/office/drawing/2014/main" id="{252A87F2-49AB-D63E-CCDD-C27575C23686}"/>
              </a:ext>
            </a:extLst>
          </p:cNvPr>
          <p:cNvPicPr>
            <a:picLocks noChangeAspect="1"/>
          </p:cNvPicPr>
          <p:nvPr/>
        </p:nvPicPr>
        <p:blipFill>
          <a:blip r:embed="rId3"/>
          <a:stretch>
            <a:fillRect/>
          </a:stretch>
        </p:blipFill>
        <p:spPr>
          <a:xfrm>
            <a:off x="9102301" y="2092957"/>
            <a:ext cx="7510923" cy="7206097"/>
          </a:xfrm>
          <a:prstGeom prst="rect">
            <a:avLst/>
          </a:prstGeom>
        </p:spPr>
      </p:pic>
    </p:spTree>
    <p:extLst>
      <p:ext uri="{BB962C8B-B14F-4D97-AF65-F5344CB8AC3E}">
        <p14:creationId xmlns:p14="http://schemas.microsoft.com/office/powerpoint/2010/main" val="2298623445"/>
      </p:ext>
    </p:extLst>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E529ED3E-6257-3977-A7BF-838AF5D4819D}"/>
              </a:ext>
            </a:extLst>
          </p:cNvPr>
          <p:cNvSpPr txBox="1"/>
          <p:nvPr/>
        </p:nvSpPr>
        <p:spPr>
          <a:xfrm>
            <a:off x="754084" y="2365580"/>
            <a:ext cx="5845132" cy="1196097"/>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dirty="0">
                <a:latin typeface="+mn-ea"/>
              </a:rPr>
              <a:t>この問題に解答はありません。</a:t>
            </a:r>
            <a:endParaRPr kumimoji="1" lang="en-US" altLang="ja-JP" sz="2800" dirty="0">
              <a:latin typeface="+mn-ea"/>
            </a:endParaRPr>
          </a:p>
          <a:p>
            <a:pPr algn="just">
              <a:lnSpc>
                <a:spcPct val="120000"/>
              </a:lnSpc>
              <a:spcAft>
                <a:spcPts val="1500"/>
              </a:spcAft>
            </a:pPr>
            <a:r>
              <a:rPr kumimoji="1" lang="ja-JP" altLang="en-US" sz="2800" dirty="0">
                <a:latin typeface="+mn-ea"/>
              </a:rPr>
              <a:t>実際に生成</a:t>
            </a:r>
            <a:r>
              <a:rPr kumimoji="1" lang="en-US" altLang="ja-JP" sz="2800" dirty="0">
                <a:latin typeface="+mn-ea"/>
              </a:rPr>
              <a:t>AI</a:t>
            </a:r>
            <a:r>
              <a:rPr kumimoji="1" lang="ja-JP" altLang="en-US" sz="2800" dirty="0">
                <a:latin typeface="+mn-ea"/>
              </a:rPr>
              <a:t>に指示してみましょう。</a:t>
            </a:r>
          </a:p>
        </p:txBody>
      </p:sp>
      <p:sp>
        <p:nvSpPr>
          <p:cNvPr id="4" name="正方形/長方形 3">
            <a:extLst>
              <a:ext uri="{FF2B5EF4-FFF2-40B4-BE49-F238E27FC236}">
                <a16:creationId xmlns:a16="http://schemas.microsoft.com/office/drawing/2014/main" id="{F2C42B72-FF8E-17BF-8163-45ADC103888D}"/>
              </a:ext>
            </a:extLst>
          </p:cNvPr>
          <p:cNvSpPr/>
          <p:nvPr/>
        </p:nvSpPr>
        <p:spPr>
          <a:xfrm>
            <a:off x="7641021" y="2466199"/>
            <a:ext cx="9892895" cy="5342987"/>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5" name="正方形/長方形 4">
            <a:extLst>
              <a:ext uri="{FF2B5EF4-FFF2-40B4-BE49-F238E27FC236}">
                <a16:creationId xmlns:a16="http://schemas.microsoft.com/office/drawing/2014/main" id="{264AD578-2A67-6B73-4005-9A8E3ED109FD}"/>
              </a:ext>
            </a:extLst>
          </p:cNvPr>
          <p:cNvSpPr/>
          <p:nvPr/>
        </p:nvSpPr>
        <p:spPr>
          <a:xfrm>
            <a:off x="499243" y="4052243"/>
            <a:ext cx="6342992" cy="34108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13CF8928-5336-8CBE-B1F1-DBF30541450E}"/>
              </a:ext>
            </a:extLst>
          </p:cNvPr>
          <p:cNvSpPr>
            <a:spLocks noGrp="1"/>
          </p:cNvSpPr>
          <p:nvPr>
            <p:ph type="sldNum" sz="quarter" idx="11"/>
          </p:nvPr>
        </p:nvSpPr>
        <p:spPr>
          <a:xfrm>
            <a:off x="17695001" y="9786651"/>
            <a:ext cx="327013" cy="307777"/>
          </a:xfrm>
        </p:spPr>
        <p:txBody>
          <a:bodyPr/>
          <a:lstStyle/>
          <a:p>
            <a:r>
              <a:rPr lang="en-US" altLang="ja-JP"/>
              <a:t>32</a:t>
            </a:r>
            <a:endParaRPr lang="ja-JP" altLang="en-US" dirty="0"/>
          </a:p>
        </p:txBody>
      </p:sp>
      <p:pic>
        <p:nvPicPr>
          <p:cNvPr id="7" name="図 6">
            <a:extLst>
              <a:ext uri="{FF2B5EF4-FFF2-40B4-BE49-F238E27FC236}">
                <a16:creationId xmlns:a16="http://schemas.microsoft.com/office/drawing/2014/main" id="{DDA29DCE-CD0C-9B4C-1893-DD31DE8856BF}"/>
              </a:ext>
            </a:extLst>
          </p:cNvPr>
          <p:cNvPicPr>
            <a:picLocks noChangeAspect="1"/>
          </p:cNvPicPr>
          <p:nvPr/>
        </p:nvPicPr>
        <p:blipFill>
          <a:blip r:embed="rId3"/>
          <a:stretch>
            <a:fillRect/>
          </a:stretch>
        </p:blipFill>
        <p:spPr>
          <a:xfrm>
            <a:off x="9102301" y="1429688"/>
            <a:ext cx="7510923" cy="7206097"/>
          </a:xfrm>
          <a:prstGeom prst="rect">
            <a:avLst/>
          </a:prstGeom>
        </p:spPr>
      </p:pic>
    </p:spTree>
    <p:extLst>
      <p:ext uri="{BB962C8B-B14F-4D97-AF65-F5344CB8AC3E}">
        <p14:creationId xmlns:p14="http://schemas.microsoft.com/office/powerpoint/2010/main" val="2829658723"/>
      </p:ext>
    </p:extLst>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9B512EC6-D9D2-893B-CFBF-E6AB3A79C31D}"/>
              </a:ext>
            </a:extLst>
          </p:cNvPr>
          <p:cNvSpPr>
            <a:spLocks noGrp="1"/>
          </p:cNvSpPr>
          <p:nvPr>
            <p:ph type="sldNum" sz="quarter" idx="11"/>
          </p:nvPr>
        </p:nvSpPr>
        <p:spPr>
          <a:xfrm>
            <a:off x="17695001" y="9786651"/>
            <a:ext cx="327013" cy="307777"/>
          </a:xfrm>
        </p:spPr>
        <p:txBody>
          <a:bodyPr/>
          <a:lstStyle/>
          <a:p>
            <a:r>
              <a:rPr lang="en-US" altLang="ja-JP"/>
              <a:t>33</a:t>
            </a:r>
            <a:endParaRPr lang="ja-JP" altLang="en-US" dirty="0"/>
          </a:p>
        </p:txBody>
      </p:sp>
      <p:sp>
        <p:nvSpPr>
          <p:cNvPr id="2" name="テキスト ボックス 1">
            <a:extLst>
              <a:ext uri="{FF2B5EF4-FFF2-40B4-BE49-F238E27FC236}">
                <a16:creationId xmlns:a16="http://schemas.microsoft.com/office/drawing/2014/main" id="{1ED60188-C7F9-8926-467C-A6F134B063B3}"/>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94D772FF-AD2E-F561-3495-1C0B4E53B814}"/>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858891630"/>
      </p:ext>
    </p:extLst>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43D574D7-6DCC-49CD-78BB-03779ED3F62B}"/>
              </a:ext>
            </a:extLst>
          </p:cNvPr>
          <p:cNvSpPr>
            <a:spLocks noGrp="1"/>
          </p:cNvSpPr>
          <p:nvPr>
            <p:ph type="title"/>
          </p:nvPr>
        </p:nvSpPr>
        <p:spPr>
          <a:xfrm>
            <a:off x="891741" y="506301"/>
            <a:ext cx="5964774" cy="492443"/>
          </a:xfrm>
        </p:spPr>
        <p:txBody>
          <a:bodyPr/>
          <a:lstStyle/>
          <a:p>
            <a:r>
              <a:rPr lang="ja-JP" altLang="en-US" dirty="0"/>
              <a:t>生成</a:t>
            </a:r>
            <a:r>
              <a:rPr lang="en-US" altLang="ja-JP" dirty="0"/>
              <a:t>AI</a:t>
            </a:r>
            <a:r>
              <a:rPr lang="ja-JP" altLang="en-US" dirty="0"/>
              <a:t>により偽・誤情報が増加</a:t>
            </a:r>
          </a:p>
        </p:txBody>
      </p:sp>
      <p:grpSp>
        <p:nvGrpSpPr>
          <p:cNvPr id="45" name="グループ化 44">
            <a:extLst>
              <a:ext uri="{FF2B5EF4-FFF2-40B4-BE49-F238E27FC236}">
                <a16:creationId xmlns:a16="http://schemas.microsoft.com/office/drawing/2014/main" id="{6AD0886D-431C-D3A0-D160-97ED971026AD}"/>
              </a:ext>
            </a:extLst>
          </p:cNvPr>
          <p:cNvGrpSpPr/>
          <p:nvPr/>
        </p:nvGrpSpPr>
        <p:grpSpPr>
          <a:xfrm>
            <a:off x="891741" y="1853745"/>
            <a:ext cx="4636196" cy="7350910"/>
            <a:chOff x="891741" y="1853745"/>
            <a:chExt cx="4636196" cy="7350910"/>
          </a:xfrm>
        </p:grpSpPr>
        <p:sp>
          <p:nvSpPr>
            <p:cNvPr id="11" name="テキスト ボックス 10">
              <a:extLst>
                <a:ext uri="{FF2B5EF4-FFF2-40B4-BE49-F238E27FC236}">
                  <a16:creationId xmlns:a16="http://schemas.microsoft.com/office/drawing/2014/main" id="{0B74EACA-6AF4-75F8-6C84-E42F3E11E133}"/>
                </a:ext>
              </a:extLst>
            </p:cNvPr>
            <p:cNvSpPr txBox="1"/>
            <p:nvPr/>
          </p:nvSpPr>
          <p:spPr>
            <a:xfrm>
              <a:off x="1335288" y="7312727"/>
              <a:ext cx="3749103" cy="1891928"/>
            </a:xfrm>
            <a:prstGeom prst="rect">
              <a:avLst/>
            </a:prstGeom>
            <a:noFill/>
          </p:spPr>
          <p:txBody>
            <a:bodyPr wrap="none" lIns="0" tIns="0" rIns="0" bIns="0" rtlCol="0">
              <a:spAutoFit/>
            </a:bodyPr>
            <a:lstStyle/>
            <a:p>
              <a:pPr marL="360000" indent="-360000">
                <a:lnSpc>
                  <a:spcPct val="120000"/>
                </a:lnSpc>
                <a:spcAft>
                  <a:spcPts val="1200"/>
                </a:spcAft>
                <a:buClr>
                  <a:schemeClr val="accent1"/>
                </a:buClr>
                <a:buFont typeface="Wingdings" panose="05000000000000000000" pitchFamily="2" charset="2"/>
                <a:buChar char="l"/>
              </a:pPr>
              <a:r>
                <a:rPr kumimoji="1" lang="ja-JP" altLang="en-US" sz="3200" spc="100" dirty="0">
                  <a:latin typeface="+mn-ea"/>
                </a:rPr>
                <a:t>意図的／意識的に</a:t>
              </a:r>
              <a:br>
                <a:rPr kumimoji="1" lang="en-US" altLang="ja-JP" sz="3200" spc="100" dirty="0">
                  <a:latin typeface="+mn-ea"/>
                </a:rPr>
              </a:br>
              <a:r>
                <a:rPr kumimoji="1" lang="ja-JP" altLang="en-US" sz="3200" spc="100" dirty="0">
                  <a:latin typeface="+mn-ea"/>
                </a:rPr>
                <a:t>作られたウソ</a:t>
              </a:r>
            </a:p>
            <a:p>
              <a:pPr marL="360000" indent="-360000">
                <a:lnSpc>
                  <a:spcPct val="120000"/>
                </a:lnSpc>
                <a:spcAft>
                  <a:spcPts val="1200"/>
                </a:spcAft>
                <a:buClr>
                  <a:schemeClr val="accent1"/>
                </a:buClr>
                <a:buFont typeface="Wingdings" panose="05000000000000000000" pitchFamily="2" charset="2"/>
                <a:buChar char="l"/>
              </a:pPr>
              <a:r>
                <a:rPr kumimoji="1" lang="ja-JP" altLang="en-US" sz="3200" spc="100" dirty="0">
                  <a:latin typeface="+mn-ea"/>
                </a:rPr>
                <a:t>虚偽の情報</a:t>
              </a:r>
            </a:p>
          </p:txBody>
        </p:sp>
        <p:grpSp>
          <p:nvGrpSpPr>
            <p:cNvPr id="29" name="グループ化 28">
              <a:extLst>
                <a:ext uri="{FF2B5EF4-FFF2-40B4-BE49-F238E27FC236}">
                  <a16:creationId xmlns:a16="http://schemas.microsoft.com/office/drawing/2014/main" id="{6A02134B-CA99-C3CE-BA37-D1E76FF3F08C}"/>
                </a:ext>
              </a:extLst>
            </p:cNvPr>
            <p:cNvGrpSpPr/>
            <p:nvPr/>
          </p:nvGrpSpPr>
          <p:grpSpPr>
            <a:xfrm>
              <a:off x="891741" y="1853745"/>
              <a:ext cx="4636196" cy="4636196"/>
              <a:chOff x="891741" y="2394595"/>
              <a:chExt cx="4636196" cy="4636196"/>
            </a:xfrm>
          </p:grpSpPr>
          <p:sp>
            <p:nvSpPr>
              <p:cNvPr id="17" name="楕円 16">
                <a:extLst>
                  <a:ext uri="{FF2B5EF4-FFF2-40B4-BE49-F238E27FC236}">
                    <a16:creationId xmlns:a16="http://schemas.microsoft.com/office/drawing/2014/main" id="{B62B382A-496F-7B1F-44CD-E06578892591}"/>
                  </a:ext>
                </a:extLst>
              </p:cNvPr>
              <p:cNvSpPr/>
              <p:nvPr/>
            </p:nvSpPr>
            <p:spPr>
              <a:xfrm>
                <a:off x="891741" y="2394595"/>
                <a:ext cx="4636196" cy="463619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楕円 18">
                <a:extLst>
                  <a:ext uri="{FF2B5EF4-FFF2-40B4-BE49-F238E27FC236}">
                    <a16:creationId xmlns:a16="http://schemas.microsoft.com/office/drawing/2014/main" id="{25408A09-C0F0-87BC-7939-F6A39FB73CBE}"/>
                  </a:ext>
                </a:extLst>
              </p:cNvPr>
              <p:cNvSpPr/>
              <p:nvPr/>
            </p:nvSpPr>
            <p:spPr>
              <a:xfrm>
                <a:off x="891741" y="2394595"/>
                <a:ext cx="4636196" cy="4636196"/>
              </a:xfrm>
              <a:prstGeom prst="ellipse">
                <a:avLst/>
              </a:prstGeom>
              <a:blipFill>
                <a:blip r:embed="rId3"/>
                <a:srcRect/>
                <a:stretch>
                  <a:fillRect l="9567" t="12922" r="10771" b="4100"/>
                </a:stretch>
              </a:bli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0" name="四角形: 角を丸くする 29">
              <a:extLst>
                <a:ext uri="{FF2B5EF4-FFF2-40B4-BE49-F238E27FC236}">
                  <a16:creationId xmlns:a16="http://schemas.microsoft.com/office/drawing/2014/main" id="{83F7FF41-AA83-5A15-5FFA-AF23DA064887}"/>
                </a:ext>
              </a:extLst>
            </p:cNvPr>
            <p:cNvSpPr/>
            <p:nvPr/>
          </p:nvSpPr>
          <p:spPr>
            <a:xfrm>
              <a:off x="1399730" y="6186718"/>
              <a:ext cx="3620236" cy="830143"/>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972000" tIns="18000" rIns="900000" bIns="18000" rtlCol="0" anchor="ctr">
              <a:spAutoFit/>
            </a:bodyPr>
            <a:lstStyle/>
            <a:p>
              <a:pPr algn="ctr"/>
              <a:r>
                <a:rPr kumimoji="1" lang="ja-JP" altLang="en-US" sz="3600" spc="300" dirty="0">
                  <a:solidFill>
                    <a:schemeClr val="bg1"/>
                  </a:solidFill>
                  <a:latin typeface="+mj-ea"/>
                  <a:ea typeface="+mj-ea"/>
                </a:rPr>
                <a:t>偽情報</a:t>
              </a:r>
            </a:p>
          </p:txBody>
        </p:sp>
      </p:grpSp>
      <p:sp>
        <p:nvSpPr>
          <p:cNvPr id="14" name="テキスト ボックス 13">
            <a:extLst>
              <a:ext uri="{FF2B5EF4-FFF2-40B4-BE49-F238E27FC236}">
                <a16:creationId xmlns:a16="http://schemas.microsoft.com/office/drawing/2014/main" id="{9351B2B2-FD3E-0304-D3F8-DFDD0D16AF01}"/>
              </a:ext>
            </a:extLst>
          </p:cNvPr>
          <p:cNvSpPr txBox="1"/>
          <p:nvPr/>
        </p:nvSpPr>
        <p:spPr>
          <a:xfrm>
            <a:off x="6178703" y="7312727"/>
            <a:ext cx="4172296" cy="1147109"/>
          </a:xfrm>
          <a:prstGeom prst="rect">
            <a:avLst/>
          </a:prstGeom>
          <a:noFill/>
        </p:spPr>
        <p:txBody>
          <a:bodyPr wrap="none" lIns="0" tIns="0" rIns="0" bIns="0" rtlCol="0">
            <a:spAutoFit/>
          </a:bodyPr>
          <a:lstStyle/>
          <a:p>
            <a:pPr marL="360000" indent="-360000">
              <a:lnSpc>
                <a:spcPct val="120000"/>
              </a:lnSpc>
              <a:spcAft>
                <a:spcPts val="1200"/>
              </a:spcAft>
              <a:buClr>
                <a:schemeClr val="accent1"/>
              </a:buClr>
              <a:buFont typeface="Wingdings" panose="05000000000000000000" pitchFamily="2" charset="2"/>
              <a:buChar char="l"/>
            </a:pPr>
            <a:r>
              <a:rPr kumimoji="1" lang="ja-JP" altLang="en-US" sz="3200" spc="100" dirty="0">
                <a:latin typeface="+mn-ea"/>
              </a:rPr>
              <a:t>勘違い／誤解により</a:t>
            </a:r>
            <a:br>
              <a:rPr kumimoji="1" lang="en-US" altLang="ja-JP" sz="3200" spc="100" dirty="0">
                <a:latin typeface="+mn-ea"/>
              </a:rPr>
            </a:br>
            <a:r>
              <a:rPr kumimoji="1" lang="ja-JP" altLang="en-US" sz="3200" spc="100" dirty="0">
                <a:latin typeface="+mn-ea"/>
              </a:rPr>
              <a:t>拡散した間違い情報</a:t>
            </a:r>
          </a:p>
        </p:txBody>
      </p:sp>
      <p:sp>
        <p:nvSpPr>
          <p:cNvPr id="18" name="楕円 17">
            <a:extLst>
              <a:ext uri="{FF2B5EF4-FFF2-40B4-BE49-F238E27FC236}">
                <a16:creationId xmlns:a16="http://schemas.microsoft.com/office/drawing/2014/main" id="{D4E5E150-ABBE-C5D8-EEFD-E50872D4BAD7}"/>
              </a:ext>
            </a:extLst>
          </p:cNvPr>
          <p:cNvSpPr/>
          <p:nvPr/>
        </p:nvSpPr>
        <p:spPr>
          <a:xfrm>
            <a:off x="5946753" y="1853745"/>
            <a:ext cx="4636196" cy="463619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5" name="グループ化 34">
            <a:extLst>
              <a:ext uri="{FF2B5EF4-FFF2-40B4-BE49-F238E27FC236}">
                <a16:creationId xmlns:a16="http://schemas.microsoft.com/office/drawing/2014/main" id="{A4FD3E29-2868-139C-B5B0-32507B205AF3}"/>
              </a:ext>
            </a:extLst>
          </p:cNvPr>
          <p:cNvGrpSpPr/>
          <p:nvPr/>
        </p:nvGrpSpPr>
        <p:grpSpPr>
          <a:xfrm>
            <a:off x="6217672" y="1987088"/>
            <a:ext cx="4087504" cy="4524625"/>
            <a:chOff x="4212744" y="1155"/>
            <a:chExt cx="9862512" cy="10917216"/>
          </a:xfrm>
        </p:grpSpPr>
        <p:pic>
          <p:nvPicPr>
            <p:cNvPr id="36" name="図 35">
              <a:extLst>
                <a:ext uri="{FF2B5EF4-FFF2-40B4-BE49-F238E27FC236}">
                  <a16:creationId xmlns:a16="http://schemas.microsoft.com/office/drawing/2014/main" id="{394DA331-FD35-5D23-5D21-E99C38F5EBDA}"/>
                </a:ext>
              </a:extLst>
            </p:cNvPr>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a:off x="4212744" y="1155"/>
              <a:ext cx="9862512" cy="10283102"/>
            </a:xfrm>
            <a:prstGeom prst="rect">
              <a:avLst/>
            </a:prstGeom>
          </p:spPr>
        </p:pic>
        <p:sp>
          <p:nvSpPr>
            <p:cNvPr id="38" name="正方形/長方形 37">
              <a:extLst>
                <a:ext uri="{FF2B5EF4-FFF2-40B4-BE49-F238E27FC236}">
                  <a16:creationId xmlns:a16="http://schemas.microsoft.com/office/drawing/2014/main" id="{77726E39-9A30-2A5A-51FB-FE559FA77D6C}"/>
                </a:ext>
              </a:extLst>
            </p:cNvPr>
            <p:cNvSpPr/>
            <p:nvPr/>
          </p:nvSpPr>
          <p:spPr>
            <a:xfrm>
              <a:off x="7743057" y="10094428"/>
              <a:ext cx="2839892" cy="823943"/>
            </a:xfrm>
            <a:prstGeom prst="rect">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sp>
        <p:nvSpPr>
          <p:cNvPr id="31" name="四角形: 角を丸くする 30">
            <a:extLst>
              <a:ext uri="{FF2B5EF4-FFF2-40B4-BE49-F238E27FC236}">
                <a16:creationId xmlns:a16="http://schemas.microsoft.com/office/drawing/2014/main" id="{04274D2C-B21F-A899-6BC7-53B4D6A2B673}"/>
              </a:ext>
            </a:extLst>
          </p:cNvPr>
          <p:cNvSpPr/>
          <p:nvPr/>
        </p:nvSpPr>
        <p:spPr>
          <a:xfrm>
            <a:off x="6454742" y="6186718"/>
            <a:ext cx="3620236" cy="830143"/>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972000" tIns="18000" rIns="900000" bIns="18000" rtlCol="0" anchor="ctr">
            <a:spAutoFit/>
          </a:bodyPr>
          <a:lstStyle/>
          <a:p>
            <a:pPr algn="ctr"/>
            <a:r>
              <a:rPr lang="ja-JP" altLang="en-US" sz="3600" spc="300" dirty="0">
                <a:solidFill>
                  <a:schemeClr val="bg1"/>
                </a:solidFill>
                <a:latin typeface="+mj-ea"/>
                <a:ea typeface="+mj-ea"/>
              </a:rPr>
              <a:t>誤情報</a:t>
            </a:r>
            <a:endParaRPr kumimoji="1" lang="ja-JP" altLang="en-US" sz="3600" spc="300" dirty="0">
              <a:solidFill>
                <a:schemeClr val="bg1"/>
              </a:solidFill>
              <a:latin typeface="+mj-ea"/>
              <a:ea typeface="+mj-ea"/>
            </a:endParaRPr>
          </a:p>
        </p:txBody>
      </p:sp>
      <p:grpSp>
        <p:nvGrpSpPr>
          <p:cNvPr id="44" name="グループ化 43">
            <a:extLst>
              <a:ext uri="{FF2B5EF4-FFF2-40B4-BE49-F238E27FC236}">
                <a16:creationId xmlns:a16="http://schemas.microsoft.com/office/drawing/2014/main" id="{651CE997-9B35-8C2B-A970-854EC75B7FF5}"/>
              </a:ext>
            </a:extLst>
          </p:cNvPr>
          <p:cNvGrpSpPr/>
          <p:nvPr/>
        </p:nvGrpSpPr>
        <p:grpSpPr>
          <a:xfrm>
            <a:off x="10846876" y="1786072"/>
            <a:ext cx="6543204" cy="7686989"/>
            <a:chOff x="10846876" y="1786072"/>
            <a:chExt cx="6543204" cy="7686989"/>
          </a:xfrm>
        </p:grpSpPr>
        <p:sp>
          <p:nvSpPr>
            <p:cNvPr id="43" name="フリーフォーム: 図形 42">
              <a:extLst>
                <a:ext uri="{FF2B5EF4-FFF2-40B4-BE49-F238E27FC236}">
                  <a16:creationId xmlns:a16="http://schemas.microsoft.com/office/drawing/2014/main" id="{22447030-DBD7-1A80-D856-59AA2EDA0C91}"/>
                </a:ext>
              </a:extLst>
            </p:cNvPr>
            <p:cNvSpPr/>
            <p:nvPr/>
          </p:nvSpPr>
          <p:spPr>
            <a:xfrm>
              <a:off x="10846876" y="1786072"/>
              <a:ext cx="6543204" cy="7686989"/>
            </a:xfrm>
            <a:custGeom>
              <a:avLst/>
              <a:gdLst>
                <a:gd name="connsiteX0" fmla="*/ 619826 w 6543204"/>
                <a:gd name="connsiteY0" fmla="*/ 0 h 7686989"/>
                <a:gd name="connsiteX1" fmla="*/ 6416330 w 6543204"/>
                <a:gd name="connsiteY1" fmla="*/ 0 h 7686989"/>
                <a:gd name="connsiteX2" fmla="*/ 6543204 w 6543204"/>
                <a:gd name="connsiteY2" fmla="*/ 126874 h 7686989"/>
                <a:gd name="connsiteX3" fmla="*/ 6543204 w 6543204"/>
                <a:gd name="connsiteY3" fmla="*/ 7560115 h 7686989"/>
                <a:gd name="connsiteX4" fmla="*/ 6416330 w 6543204"/>
                <a:gd name="connsiteY4" fmla="*/ 7686989 h 7686989"/>
                <a:gd name="connsiteX5" fmla="*/ 619826 w 6543204"/>
                <a:gd name="connsiteY5" fmla="*/ 7686989 h 7686989"/>
                <a:gd name="connsiteX6" fmla="*/ 492952 w 6543204"/>
                <a:gd name="connsiteY6" fmla="*/ 7560115 h 7686989"/>
                <a:gd name="connsiteX7" fmla="*/ 492952 w 6543204"/>
                <a:gd name="connsiteY7" fmla="*/ 4147420 h 7686989"/>
                <a:gd name="connsiteX8" fmla="*/ 0 w 6543204"/>
                <a:gd name="connsiteY8" fmla="*/ 3843495 h 7686989"/>
                <a:gd name="connsiteX9" fmla="*/ 492952 w 6543204"/>
                <a:gd name="connsiteY9" fmla="*/ 3539571 h 7686989"/>
                <a:gd name="connsiteX10" fmla="*/ 492952 w 6543204"/>
                <a:gd name="connsiteY10" fmla="*/ 126874 h 7686989"/>
                <a:gd name="connsiteX11" fmla="*/ 619826 w 6543204"/>
                <a:gd name="connsiteY11" fmla="*/ 0 h 768698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543204" h="7686989">
                  <a:moveTo>
                    <a:pt x="619826" y="0"/>
                  </a:moveTo>
                  <a:lnTo>
                    <a:pt x="6416330" y="0"/>
                  </a:lnTo>
                  <a:cubicBezTo>
                    <a:pt x="6486400" y="0"/>
                    <a:pt x="6543204" y="56803"/>
                    <a:pt x="6543204" y="126874"/>
                  </a:cubicBezTo>
                  <a:lnTo>
                    <a:pt x="6543204" y="7560115"/>
                  </a:lnTo>
                  <a:cubicBezTo>
                    <a:pt x="6543204" y="7630186"/>
                    <a:pt x="6486400" y="7686989"/>
                    <a:pt x="6416330" y="7686989"/>
                  </a:cubicBezTo>
                  <a:lnTo>
                    <a:pt x="619826" y="7686989"/>
                  </a:lnTo>
                  <a:cubicBezTo>
                    <a:pt x="549755" y="7686989"/>
                    <a:pt x="492952" y="7630186"/>
                    <a:pt x="492952" y="7560115"/>
                  </a:cubicBezTo>
                  <a:lnTo>
                    <a:pt x="492952" y="4147420"/>
                  </a:lnTo>
                  <a:lnTo>
                    <a:pt x="0" y="3843495"/>
                  </a:lnTo>
                  <a:lnTo>
                    <a:pt x="492952" y="3539571"/>
                  </a:lnTo>
                  <a:lnTo>
                    <a:pt x="492952" y="126874"/>
                  </a:lnTo>
                  <a:cubicBezTo>
                    <a:pt x="492952" y="56803"/>
                    <a:pt x="549755" y="0"/>
                    <a:pt x="619826" y="0"/>
                  </a:cubicBezTo>
                  <a:close/>
                </a:path>
              </a:pathLst>
            </a:cu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a:p>
          </p:txBody>
        </p:sp>
        <p:sp>
          <p:nvSpPr>
            <p:cNvPr id="33" name="テキスト ボックス 32">
              <a:extLst>
                <a:ext uri="{FF2B5EF4-FFF2-40B4-BE49-F238E27FC236}">
                  <a16:creationId xmlns:a16="http://schemas.microsoft.com/office/drawing/2014/main" id="{00BFD56B-70DA-37D3-6DC3-EC52FB7929EE}"/>
                </a:ext>
              </a:extLst>
            </p:cNvPr>
            <p:cNvSpPr txBox="1"/>
            <p:nvPr/>
          </p:nvSpPr>
          <p:spPr>
            <a:xfrm>
              <a:off x="11758644" y="3700454"/>
              <a:ext cx="5212620" cy="5310749"/>
            </a:xfrm>
            <a:prstGeom prst="rect">
              <a:avLst/>
            </a:prstGeom>
            <a:noFill/>
          </p:spPr>
          <p:txBody>
            <a:bodyPr wrap="square" lIns="0" tIns="0" rIns="0" bIns="0" rtlCol="0">
              <a:spAutoFit/>
            </a:bodyPr>
            <a:lstStyle/>
            <a:p>
              <a:pPr marL="360000" indent="-360000">
                <a:lnSpc>
                  <a:spcPct val="120000"/>
                </a:lnSpc>
                <a:spcAft>
                  <a:spcPts val="1200"/>
                </a:spcAft>
                <a:buClr>
                  <a:schemeClr val="accent3">
                    <a:lumMod val="60000"/>
                    <a:lumOff val="40000"/>
                  </a:schemeClr>
                </a:buClr>
                <a:buFont typeface="Wingdings" panose="05000000000000000000" pitchFamily="2" charset="2"/>
                <a:buChar char="l"/>
              </a:pPr>
              <a:r>
                <a:rPr kumimoji="1" lang="ja-JP" altLang="en-US" sz="2400" spc="100" dirty="0">
                  <a:latin typeface="+mn-ea"/>
                </a:rPr>
                <a:t>特殊な技術がなくても、</a:t>
              </a:r>
              <a:br>
                <a:rPr kumimoji="1" lang="en-US" altLang="ja-JP" sz="2400" spc="100" dirty="0">
                  <a:latin typeface="+mn-ea"/>
                </a:rPr>
              </a:br>
              <a:r>
                <a:rPr kumimoji="1" lang="ja-JP" altLang="en-US" sz="2400" spc="100" dirty="0">
                  <a:latin typeface="+mn-ea"/>
                </a:rPr>
                <a:t>時間を掛けずにもっともらしい</a:t>
              </a:r>
              <a:br>
                <a:rPr kumimoji="1" lang="en-US" altLang="ja-JP" sz="2400" spc="100" dirty="0">
                  <a:latin typeface="+mn-ea"/>
                </a:rPr>
              </a:br>
              <a:r>
                <a:rPr kumimoji="1" lang="ja-JP" altLang="en-US" sz="2400" spc="100" dirty="0">
                  <a:latin typeface="+mn-ea"/>
                </a:rPr>
                <a:t>偽画像・映像・音声・</a:t>
              </a:r>
              <a:br>
                <a:rPr kumimoji="1" lang="en-US" altLang="ja-JP" sz="2400" spc="100" dirty="0">
                  <a:latin typeface="+mn-ea"/>
                </a:rPr>
              </a:br>
              <a:r>
                <a:rPr kumimoji="1" lang="ja-JP" altLang="en-US" sz="2400" spc="100" dirty="0">
                  <a:latin typeface="+mn-ea"/>
                </a:rPr>
                <a:t>ニュース記事等を作成できるため</a:t>
              </a:r>
            </a:p>
            <a:p>
              <a:pPr marL="360000" indent="-360000">
                <a:lnSpc>
                  <a:spcPct val="120000"/>
                </a:lnSpc>
                <a:spcAft>
                  <a:spcPts val="1200"/>
                </a:spcAft>
                <a:buClr>
                  <a:schemeClr val="accent3">
                    <a:lumMod val="60000"/>
                    <a:lumOff val="40000"/>
                  </a:schemeClr>
                </a:buClr>
                <a:buFont typeface="Wingdings" panose="05000000000000000000" pitchFamily="2" charset="2"/>
                <a:buChar char="l"/>
              </a:pPr>
              <a:r>
                <a:rPr kumimoji="1" lang="ja-JP" altLang="en-US" sz="2400" spc="100" dirty="0">
                  <a:latin typeface="+mn-ea"/>
                </a:rPr>
                <a:t>学習データが不正確</a:t>
              </a:r>
              <a:r>
                <a:rPr kumimoji="1" lang="en-US" altLang="ja-JP" sz="2400" spc="100" dirty="0">
                  <a:latin typeface="+mn-ea"/>
                </a:rPr>
                <a:t>/</a:t>
              </a:r>
              <a:r>
                <a:rPr kumimoji="1" lang="ja-JP" altLang="en-US" sz="2400" spc="100" dirty="0">
                  <a:latin typeface="+mn-ea"/>
                </a:rPr>
                <a:t>偏向的な</a:t>
              </a:r>
              <a:br>
                <a:rPr kumimoji="1" lang="en-US" altLang="ja-JP" sz="2400" spc="100" dirty="0">
                  <a:latin typeface="+mn-ea"/>
                </a:rPr>
              </a:br>
              <a:r>
                <a:rPr kumimoji="1" lang="ja-JP" altLang="en-US" sz="2400" spc="100" dirty="0">
                  <a:latin typeface="+mn-ea"/>
                </a:rPr>
                <a:t>可能性があるため</a:t>
              </a:r>
            </a:p>
            <a:p>
              <a:pPr marL="360000" indent="-360000">
                <a:lnSpc>
                  <a:spcPct val="120000"/>
                </a:lnSpc>
                <a:spcAft>
                  <a:spcPts val="1200"/>
                </a:spcAft>
                <a:buClr>
                  <a:schemeClr val="accent3">
                    <a:lumMod val="60000"/>
                    <a:lumOff val="40000"/>
                  </a:schemeClr>
                </a:buClr>
                <a:buFont typeface="Wingdings" panose="05000000000000000000" pitchFamily="2" charset="2"/>
                <a:buChar char="l"/>
              </a:pPr>
              <a:r>
                <a:rPr kumimoji="1" lang="ja-JP" altLang="en-US" sz="2400" spc="100" dirty="0">
                  <a:latin typeface="+mn-ea"/>
                </a:rPr>
                <a:t>裏付けのない回答をする場合が</a:t>
              </a:r>
              <a:br>
                <a:rPr kumimoji="1" lang="en-US" altLang="ja-JP" sz="2400" spc="100" dirty="0">
                  <a:latin typeface="+mn-ea"/>
                </a:rPr>
              </a:br>
              <a:r>
                <a:rPr kumimoji="1" lang="ja-JP" altLang="en-US" sz="2400" spc="100" dirty="0">
                  <a:latin typeface="+mn-ea"/>
                </a:rPr>
                <a:t>あるため</a:t>
              </a:r>
            </a:p>
            <a:p>
              <a:pPr marL="360000" indent="-360000">
                <a:lnSpc>
                  <a:spcPct val="120000"/>
                </a:lnSpc>
                <a:spcAft>
                  <a:spcPts val="1200"/>
                </a:spcAft>
                <a:buClr>
                  <a:schemeClr val="accent3">
                    <a:lumMod val="60000"/>
                    <a:lumOff val="40000"/>
                  </a:schemeClr>
                </a:buClr>
                <a:buFont typeface="Wingdings" panose="05000000000000000000" pitchFamily="2" charset="2"/>
                <a:buChar char="l"/>
              </a:pPr>
              <a:r>
                <a:rPr kumimoji="1" lang="ja-JP" altLang="en-US" sz="2400" spc="100" dirty="0">
                  <a:latin typeface="+mn-ea"/>
                </a:rPr>
                <a:t>正確なデータを学習したとしても、</a:t>
              </a:r>
              <a:br>
                <a:rPr kumimoji="1" lang="en-US" altLang="ja-JP" sz="2400" spc="100" dirty="0">
                  <a:latin typeface="+mn-ea"/>
                </a:rPr>
              </a:br>
              <a:r>
                <a:rPr kumimoji="1" lang="ja-JP" altLang="en-US" sz="2400" spc="100" dirty="0">
                  <a:latin typeface="+mn-ea"/>
                </a:rPr>
                <a:t>出力される情報が正しくない</a:t>
              </a:r>
              <a:br>
                <a:rPr kumimoji="1" lang="en-US" altLang="ja-JP" sz="2400" spc="100" dirty="0">
                  <a:latin typeface="+mn-ea"/>
                </a:rPr>
              </a:br>
              <a:r>
                <a:rPr kumimoji="1" lang="ja-JP" altLang="en-US" sz="2400" spc="100" dirty="0">
                  <a:latin typeface="+mn-ea"/>
                </a:rPr>
                <a:t>可能性があるため</a:t>
              </a:r>
            </a:p>
          </p:txBody>
        </p:sp>
        <p:sp>
          <p:nvSpPr>
            <p:cNvPr id="37" name="テキスト ボックス 36">
              <a:extLst>
                <a:ext uri="{FF2B5EF4-FFF2-40B4-BE49-F238E27FC236}">
                  <a16:creationId xmlns:a16="http://schemas.microsoft.com/office/drawing/2014/main" id="{2311D08A-0E08-AF57-8AF0-0B734498AA9C}"/>
                </a:ext>
              </a:extLst>
            </p:cNvPr>
            <p:cNvSpPr txBox="1"/>
            <p:nvPr/>
          </p:nvSpPr>
          <p:spPr>
            <a:xfrm>
              <a:off x="12922251" y="2127276"/>
              <a:ext cx="2885406" cy="1299202"/>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4400" spc="100" dirty="0">
                  <a:solidFill>
                    <a:schemeClr val="accent3"/>
                  </a:solidFill>
                  <a:latin typeface="+mj-ea"/>
                  <a:ea typeface="+mj-ea"/>
                </a:rPr>
                <a:t>増加の原因</a:t>
              </a:r>
              <a:br>
                <a:rPr kumimoji="1" lang="en-US" altLang="ja-JP" sz="4000" spc="100" dirty="0">
                  <a:solidFill>
                    <a:schemeClr val="accent3"/>
                  </a:solidFill>
                  <a:latin typeface="+mj-ea"/>
                  <a:ea typeface="+mj-ea"/>
                </a:rPr>
              </a:br>
              <a:r>
                <a:rPr kumimoji="1" lang="ja-JP" altLang="en-US" sz="2800" spc="100" dirty="0">
                  <a:latin typeface="+mj-ea"/>
                  <a:ea typeface="+mj-ea"/>
                </a:rPr>
                <a:t> </a:t>
              </a:r>
              <a:r>
                <a:rPr kumimoji="1" lang="en-US" altLang="ja-JP" sz="2800" spc="100" dirty="0">
                  <a:latin typeface="+mj-ea"/>
                  <a:ea typeface="+mj-ea"/>
                </a:rPr>
                <a:t>(</a:t>
              </a:r>
              <a:r>
                <a:rPr kumimoji="1" lang="ja-JP" altLang="en-US" sz="2800" spc="100" dirty="0">
                  <a:latin typeface="+mj-ea"/>
                  <a:ea typeface="+mj-ea"/>
                </a:rPr>
                <a:t>生成</a:t>
              </a:r>
              <a:r>
                <a:rPr kumimoji="1" lang="en-US" altLang="ja-JP" sz="2800" spc="100" dirty="0">
                  <a:latin typeface="+mj-ea"/>
                  <a:ea typeface="+mj-ea"/>
                </a:rPr>
                <a:t>AI</a:t>
              </a:r>
              <a:r>
                <a:rPr kumimoji="1" lang="ja-JP" altLang="en-US" sz="2800" spc="100" dirty="0">
                  <a:latin typeface="+mj-ea"/>
                  <a:ea typeface="+mj-ea"/>
                </a:rPr>
                <a:t>の特性</a:t>
              </a:r>
              <a:r>
                <a:rPr kumimoji="1" lang="en-US" altLang="ja-JP" sz="2800" spc="100" dirty="0">
                  <a:latin typeface="+mj-ea"/>
                  <a:ea typeface="+mj-ea"/>
                </a:rPr>
                <a:t>)</a:t>
              </a:r>
              <a:endParaRPr kumimoji="1" lang="en-US" altLang="ja-JP" sz="3200" spc="100" dirty="0">
                <a:latin typeface="+mj-ea"/>
                <a:ea typeface="+mj-ea"/>
              </a:endParaRPr>
            </a:p>
          </p:txBody>
        </p:sp>
      </p:grpSp>
      <p:sp>
        <p:nvSpPr>
          <p:cNvPr id="47" name="テキスト ボックス 46">
            <a:extLst>
              <a:ext uri="{FF2B5EF4-FFF2-40B4-BE49-F238E27FC236}">
                <a16:creationId xmlns:a16="http://schemas.microsoft.com/office/drawing/2014/main" id="{5F6E2383-6254-72DD-A3A2-958955758A94}"/>
              </a:ext>
            </a:extLst>
          </p:cNvPr>
          <p:cNvSpPr txBox="1"/>
          <p:nvPr/>
        </p:nvSpPr>
        <p:spPr>
          <a:xfrm>
            <a:off x="372103" y="9832817"/>
            <a:ext cx="7739298"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総務省「インターネットとの向き合い方～ニセ・誤情報に騙されないために～」</a:t>
            </a:r>
          </a:p>
        </p:txBody>
      </p:sp>
      <p:sp>
        <p:nvSpPr>
          <p:cNvPr id="3" name="スライド番号プレースホルダー 2">
            <a:extLst>
              <a:ext uri="{FF2B5EF4-FFF2-40B4-BE49-F238E27FC236}">
                <a16:creationId xmlns:a16="http://schemas.microsoft.com/office/drawing/2014/main" id="{B08EEAD6-4717-DE87-2C5B-1216E50AB070}"/>
              </a:ext>
            </a:extLst>
          </p:cNvPr>
          <p:cNvSpPr>
            <a:spLocks noGrp="1"/>
          </p:cNvSpPr>
          <p:nvPr>
            <p:ph type="sldNum" sz="quarter" idx="11"/>
          </p:nvPr>
        </p:nvSpPr>
        <p:spPr>
          <a:xfrm>
            <a:off x="17695001" y="9786651"/>
            <a:ext cx="327013" cy="307777"/>
          </a:xfrm>
        </p:spPr>
        <p:txBody>
          <a:bodyPr/>
          <a:lstStyle/>
          <a:p>
            <a:r>
              <a:rPr lang="en-US" altLang="ja-JP"/>
              <a:t>34</a:t>
            </a:r>
            <a:endParaRPr lang="ja-JP" altLang="en-US" dirty="0"/>
          </a:p>
        </p:txBody>
      </p:sp>
    </p:spTree>
    <p:extLst>
      <p:ext uri="{BB962C8B-B14F-4D97-AF65-F5344CB8AC3E}">
        <p14:creationId xmlns:p14="http://schemas.microsoft.com/office/powerpoint/2010/main" val="98766807"/>
      </p:ext>
    </p:extLst>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F6C4A076-FD83-42F0-8CBE-6CA6513585B5}"/>
              </a:ext>
            </a:extLst>
          </p:cNvPr>
          <p:cNvSpPr>
            <a:spLocks noGrp="1"/>
          </p:cNvSpPr>
          <p:nvPr>
            <p:ph type="title"/>
          </p:nvPr>
        </p:nvSpPr>
        <p:spPr>
          <a:xfrm>
            <a:off x="891741" y="506301"/>
            <a:ext cx="14388554" cy="492443"/>
          </a:xfrm>
        </p:spPr>
        <p:txBody>
          <a:bodyPr/>
          <a:lstStyle/>
          <a:p>
            <a:r>
              <a:rPr lang="ja-JP" altLang="en-US" dirty="0"/>
              <a:t>偽・誤情報に騙されるだけでなく、気づかずに発信してしまう可能性もある</a:t>
            </a:r>
          </a:p>
        </p:txBody>
      </p:sp>
      <p:sp>
        <p:nvSpPr>
          <p:cNvPr id="8" name="楕円 7">
            <a:extLst>
              <a:ext uri="{FF2B5EF4-FFF2-40B4-BE49-F238E27FC236}">
                <a16:creationId xmlns:a16="http://schemas.microsoft.com/office/drawing/2014/main" id="{80B0A2F7-7DC5-BB53-E20D-28862FA68DF0}"/>
              </a:ext>
            </a:extLst>
          </p:cNvPr>
          <p:cNvSpPr>
            <a:spLocks noChangeAspect="1"/>
          </p:cNvSpPr>
          <p:nvPr/>
        </p:nvSpPr>
        <p:spPr>
          <a:xfrm>
            <a:off x="2345490" y="1649465"/>
            <a:ext cx="1913965" cy="1915921"/>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noAutofit/>
          </a:bodyPr>
          <a:lstStyle/>
          <a:p>
            <a:pPr algn="ctr"/>
            <a:r>
              <a:rPr lang="ja-JP" altLang="en-US" sz="3600" spc="200" dirty="0">
                <a:solidFill>
                  <a:schemeClr val="bg1"/>
                </a:solidFill>
                <a:latin typeface="+mj-ea"/>
                <a:ea typeface="+mj-ea"/>
              </a:rPr>
              <a:t>発信者</a:t>
            </a:r>
            <a:br>
              <a:rPr lang="en-US" altLang="ja-JP" sz="3600" spc="200" dirty="0">
                <a:solidFill>
                  <a:schemeClr val="bg1"/>
                </a:solidFill>
                <a:latin typeface="+mj-ea"/>
                <a:ea typeface="+mj-ea"/>
              </a:rPr>
            </a:br>
            <a:r>
              <a:rPr lang="ja-JP" altLang="en-US" sz="2400" spc="200" dirty="0">
                <a:solidFill>
                  <a:schemeClr val="bg1"/>
                </a:solidFill>
                <a:latin typeface="+mj-ea"/>
                <a:ea typeface="+mj-ea"/>
              </a:rPr>
              <a:t>として</a:t>
            </a:r>
            <a:endParaRPr kumimoji="1" lang="ja-JP" altLang="en-US" sz="3600" spc="200" dirty="0">
              <a:solidFill>
                <a:schemeClr val="bg1"/>
              </a:solidFill>
              <a:latin typeface="+mj-ea"/>
              <a:ea typeface="+mj-ea"/>
            </a:endParaRPr>
          </a:p>
        </p:txBody>
      </p:sp>
      <p:sp>
        <p:nvSpPr>
          <p:cNvPr id="10" name="テキスト ボックス 9">
            <a:extLst>
              <a:ext uri="{FF2B5EF4-FFF2-40B4-BE49-F238E27FC236}">
                <a16:creationId xmlns:a16="http://schemas.microsoft.com/office/drawing/2014/main" id="{20D38571-2898-2579-214B-B586B8B2A54F}"/>
              </a:ext>
            </a:extLst>
          </p:cNvPr>
          <p:cNvSpPr txBox="1"/>
          <p:nvPr/>
        </p:nvSpPr>
        <p:spPr>
          <a:xfrm>
            <a:off x="917156" y="5660169"/>
            <a:ext cx="7591823" cy="625684"/>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500" spc="100" dirty="0">
                <a:latin typeface="+mj-ea"/>
                <a:ea typeface="+mj-ea"/>
              </a:rPr>
              <a:t>偽・誤情報と気づかずに発信・拡散</a:t>
            </a:r>
            <a:endParaRPr kumimoji="1" lang="en-US" altLang="ja-JP" sz="3500" spc="100" dirty="0">
              <a:latin typeface="+mj-ea"/>
              <a:ea typeface="+mj-ea"/>
            </a:endParaRPr>
          </a:p>
        </p:txBody>
      </p:sp>
      <p:grpSp>
        <p:nvGrpSpPr>
          <p:cNvPr id="15" name="グループ化 14">
            <a:extLst>
              <a:ext uri="{FF2B5EF4-FFF2-40B4-BE49-F238E27FC236}">
                <a16:creationId xmlns:a16="http://schemas.microsoft.com/office/drawing/2014/main" id="{32971E61-F183-D40B-6285-861D9A82498E}"/>
              </a:ext>
            </a:extLst>
          </p:cNvPr>
          <p:cNvGrpSpPr/>
          <p:nvPr/>
        </p:nvGrpSpPr>
        <p:grpSpPr>
          <a:xfrm>
            <a:off x="891736" y="6614125"/>
            <a:ext cx="7642663" cy="2866679"/>
            <a:chOff x="1179270" y="6958987"/>
            <a:chExt cx="3803791" cy="2866679"/>
          </a:xfrm>
        </p:grpSpPr>
        <p:sp>
          <p:nvSpPr>
            <p:cNvPr id="16" name="四角形: 上の 2 つの角を丸める 15">
              <a:extLst>
                <a:ext uri="{FF2B5EF4-FFF2-40B4-BE49-F238E27FC236}">
                  <a16:creationId xmlns:a16="http://schemas.microsoft.com/office/drawing/2014/main" id="{4F79EFEA-4A5C-3361-CBDF-FF9330AD66B1}"/>
                </a:ext>
              </a:extLst>
            </p:cNvPr>
            <p:cNvSpPr/>
            <p:nvPr/>
          </p:nvSpPr>
          <p:spPr>
            <a:xfrm>
              <a:off x="1179270" y="6958987"/>
              <a:ext cx="3803790" cy="492443"/>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ctr">
              <a:noAutofit/>
            </a:bodyPr>
            <a:lstStyle/>
            <a:p>
              <a:pPr algn="ctr"/>
              <a:r>
                <a:rPr lang="ja-JP" altLang="en-US" sz="2400" spc="300" dirty="0">
                  <a:solidFill>
                    <a:schemeClr val="bg1"/>
                  </a:solidFill>
                  <a:latin typeface="+mj-ea"/>
                  <a:ea typeface="+mj-ea"/>
                </a:rPr>
                <a:t>リスク</a:t>
              </a:r>
              <a:endParaRPr kumimoji="1" lang="ja-JP" altLang="en-US" sz="2400" spc="300" dirty="0">
                <a:solidFill>
                  <a:schemeClr val="bg1"/>
                </a:solidFill>
                <a:latin typeface="+mj-ea"/>
                <a:ea typeface="+mj-ea"/>
              </a:endParaRPr>
            </a:p>
          </p:txBody>
        </p:sp>
        <p:sp>
          <p:nvSpPr>
            <p:cNvPr id="17" name="四角形: 上の 2 つの角を丸める 16">
              <a:extLst>
                <a:ext uri="{FF2B5EF4-FFF2-40B4-BE49-F238E27FC236}">
                  <a16:creationId xmlns:a16="http://schemas.microsoft.com/office/drawing/2014/main" id="{A3492FA5-C304-8254-C3B4-5807218C4D6E}"/>
                </a:ext>
              </a:extLst>
            </p:cNvPr>
            <p:cNvSpPr/>
            <p:nvPr/>
          </p:nvSpPr>
          <p:spPr>
            <a:xfrm>
              <a:off x="1179271" y="7460078"/>
              <a:ext cx="3803790" cy="2365588"/>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216000" rIns="216000" bIns="216000" rtlCol="0" anchor="t">
              <a:noAutofit/>
            </a:bodyPr>
            <a:lstStyle/>
            <a:p>
              <a:pPr marL="288000" indent="-288000">
                <a:lnSpc>
                  <a:spcPct val="120000"/>
                </a:lnSpc>
                <a:spcAft>
                  <a:spcPts val="1000"/>
                </a:spcAft>
                <a:buClr>
                  <a:schemeClr val="accent3"/>
                </a:buClr>
                <a:buFont typeface="Arial" panose="020B0604020202020204" pitchFamily="34" charset="0"/>
                <a:buChar char="•"/>
              </a:pPr>
              <a:r>
                <a:rPr kumimoji="1" lang="ja-JP" altLang="en-US" sz="2400" spc="100" dirty="0">
                  <a:solidFill>
                    <a:schemeClr val="tx1"/>
                  </a:solidFill>
                  <a:latin typeface="+mn-ea"/>
                </a:rPr>
                <a:t>誹謗中傷、偽計業務妨害等につながった場合、</a:t>
              </a:r>
              <a:br>
                <a:rPr kumimoji="1" lang="ja-JP" altLang="en-US" sz="2400" spc="100" dirty="0">
                  <a:solidFill>
                    <a:schemeClr val="tx1"/>
                  </a:solidFill>
                  <a:latin typeface="+mn-ea"/>
                </a:rPr>
              </a:br>
              <a:r>
                <a:rPr kumimoji="1" lang="ja-JP" altLang="en-US" sz="2400" spc="100" dirty="0">
                  <a:solidFill>
                    <a:schemeClr val="tx1"/>
                  </a:solidFill>
                  <a:latin typeface="+mn-ea"/>
                </a:rPr>
                <a:t>損害賠償責任や刑事責任等を負う</a:t>
              </a:r>
            </a:p>
            <a:p>
              <a:pPr marL="288000" indent="-288000">
                <a:lnSpc>
                  <a:spcPct val="120000"/>
                </a:lnSpc>
                <a:spcAft>
                  <a:spcPts val="1000"/>
                </a:spcAft>
                <a:buClr>
                  <a:schemeClr val="accent3"/>
                </a:buClr>
                <a:buFont typeface="Arial" panose="020B0604020202020204" pitchFamily="34" charset="0"/>
                <a:buChar char="•"/>
              </a:pPr>
              <a:r>
                <a:rPr kumimoji="1" lang="ja-JP" altLang="en-US" sz="2400" spc="100" dirty="0">
                  <a:solidFill>
                    <a:schemeClr val="tx1"/>
                  </a:solidFill>
                  <a:latin typeface="+mn-ea"/>
                </a:rPr>
                <a:t>悪意を持って社会・経済を混乱させようと</a:t>
              </a:r>
              <a:br>
                <a:rPr kumimoji="1" lang="ja-JP" altLang="en-US" sz="2400" spc="100" dirty="0">
                  <a:solidFill>
                    <a:schemeClr val="tx1"/>
                  </a:solidFill>
                  <a:latin typeface="+mn-ea"/>
                </a:rPr>
              </a:br>
              <a:r>
                <a:rPr kumimoji="1" lang="ja-JP" altLang="en-US" sz="2400" spc="100" dirty="0">
                  <a:solidFill>
                    <a:schemeClr val="tx1"/>
                  </a:solidFill>
                  <a:latin typeface="+mn-ea"/>
                </a:rPr>
                <a:t>する人に、意図せず加担してしまう　等</a:t>
              </a:r>
            </a:p>
          </p:txBody>
        </p:sp>
      </p:grpSp>
      <p:sp>
        <p:nvSpPr>
          <p:cNvPr id="27" name="楕円 26">
            <a:extLst>
              <a:ext uri="{FF2B5EF4-FFF2-40B4-BE49-F238E27FC236}">
                <a16:creationId xmlns:a16="http://schemas.microsoft.com/office/drawing/2014/main" id="{D46415E4-6CCC-FBC1-0AD1-87FC71E11BD8}"/>
              </a:ext>
            </a:extLst>
          </p:cNvPr>
          <p:cNvSpPr>
            <a:spLocks noChangeAspect="1"/>
          </p:cNvSpPr>
          <p:nvPr/>
        </p:nvSpPr>
        <p:spPr>
          <a:xfrm>
            <a:off x="11265798" y="1649464"/>
            <a:ext cx="1913965" cy="1915921"/>
          </a:xfrm>
          <a:prstGeom prst="ellipse">
            <a:avLst/>
          </a:prstGeom>
          <a:solidFill>
            <a:schemeClr val="accent1"/>
          </a:solidFill>
          <a:ln w="76200">
            <a:noFill/>
          </a:ln>
        </p:spPr>
        <p:style>
          <a:lnRef idx="2">
            <a:schemeClr val="accent1">
              <a:shade val="15000"/>
            </a:schemeClr>
          </a:lnRef>
          <a:fillRef idx="1">
            <a:schemeClr val="accent1"/>
          </a:fillRef>
          <a:effectRef idx="0">
            <a:schemeClr val="accent1"/>
          </a:effectRef>
          <a:fontRef idx="minor">
            <a:schemeClr val="lt1"/>
          </a:fontRef>
        </p:style>
        <p:txBody>
          <a:bodyPr wrap="none" lIns="0" tIns="108000" rIns="0" bIns="0" rtlCol="0" anchor="ctr">
            <a:noAutofit/>
          </a:bodyPr>
          <a:lstStyle/>
          <a:p>
            <a:pPr algn="ctr"/>
            <a:r>
              <a:rPr lang="ja-JP" altLang="en-US" sz="3600" spc="200" dirty="0">
                <a:solidFill>
                  <a:schemeClr val="bg1"/>
                </a:solidFill>
                <a:latin typeface="+mj-ea"/>
                <a:ea typeface="+mj-ea"/>
              </a:rPr>
              <a:t>受信者</a:t>
            </a:r>
            <a:br>
              <a:rPr lang="en-US" altLang="ja-JP" sz="3600" spc="200" dirty="0">
                <a:solidFill>
                  <a:schemeClr val="bg1"/>
                </a:solidFill>
                <a:latin typeface="+mj-ea"/>
                <a:ea typeface="+mj-ea"/>
              </a:rPr>
            </a:br>
            <a:r>
              <a:rPr lang="ja-JP" altLang="en-US" sz="2400" spc="200" dirty="0">
                <a:solidFill>
                  <a:schemeClr val="bg1"/>
                </a:solidFill>
                <a:latin typeface="+mj-ea"/>
                <a:ea typeface="+mj-ea"/>
              </a:rPr>
              <a:t>として</a:t>
            </a:r>
            <a:endParaRPr kumimoji="1" lang="ja-JP" altLang="en-US" sz="3600" spc="200" dirty="0">
              <a:solidFill>
                <a:schemeClr val="bg1"/>
              </a:solidFill>
              <a:latin typeface="+mj-ea"/>
              <a:ea typeface="+mj-ea"/>
            </a:endParaRPr>
          </a:p>
        </p:txBody>
      </p:sp>
      <p:sp>
        <p:nvSpPr>
          <p:cNvPr id="28" name="テキスト ボックス 27">
            <a:extLst>
              <a:ext uri="{FF2B5EF4-FFF2-40B4-BE49-F238E27FC236}">
                <a16:creationId xmlns:a16="http://schemas.microsoft.com/office/drawing/2014/main" id="{F4E48F2E-0865-3E5A-6E53-142861988B67}"/>
              </a:ext>
            </a:extLst>
          </p:cNvPr>
          <p:cNvSpPr txBox="1"/>
          <p:nvPr/>
        </p:nvSpPr>
        <p:spPr>
          <a:xfrm>
            <a:off x="11202485" y="5660169"/>
            <a:ext cx="4744890" cy="625684"/>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ja-JP" altLang="en-US" sz="3600" spc="100" dirty="0">
                <a:latin typeface="+mj-ea"/>
                <a:ea typeface="+mj-ea"/>
              </a:rPr>
              <a:t>偽・誤情報に騙される</a:t>
            </a:r>
          </a:p>
        </p:txBody>
      </p:sp>
      <p:grpSp>
        <p:nvGrpSpPr>
          <p:cNvPr id="33" name="グループ化 32">
            <a:extLst>
              <a:ext uri="{FF2B5EF4-FFF2-40B4-BE49-F238E27FC236}">
                <a16:creationId xmlns:a16="http://schemas.microsoft.com/office/drawing/2014/main" id="{5E615145-A1E5-EFE1-15BE-9EE7F020C163}"/>
              </a:ext>
            </a:extLst>
          </p:cNvPr>
          <p:cNvGrpSpPr/>
          <p:nvPr/>
        </p:nvGrpSpPr>
        <p:grpSpPr>
          <a:xfrm>
            <a:off x="9753599" y="6614125"/>
            <a:ext cx="7642663" cy="2866679"/>
            <a:chOff x="1179270" y="6958987"/>
            <a:chExt cx="3803791" cy="2866679"/>
          </a:xfrm>
        </p:grpSpPr>
        <p:sp>
          <p:nvSpPr>
            <p:cNvPr id="34" name="四角形: 上の 2 つの角を丸める 33">
              <a:extLst>
                <a:ext uri="{FF2B5EF4-FFF2-40B4-BE49-F238E27FC236}">
                  <a16:creationId xmlns:a16="http://schemas.microsoft.com/office/drawing/2014/main" id="{7516F59C-2302-6DDF-F56A-D78A293951D5}"/>
                </a:ext>
              </a:extLst>
            </p:cNvPr>
            <p:cNvSpPr/>
            <p:nvPr/>
          </p:nvSpPr>
          <p:spPr>
            <a:xfrm>
              <a:off x="1179270" y="6958987"/>
              <a:ext cx="3803790" cy="492443"/>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ctr">
              <a:noAutofit/>
            </a:bodyPr>
            <a:lstStyle/>
            <a:p>
              <a:pPr algn="ctr"/>
              <a:r>
                <a:rPr lang="ja-JP" altLang="en-US" sz="2400" spc="300" dirty="0">
                  <a:solidFill>
                    <a:schemeClr val="bg1"/>
                  </a:solidFill>
                  <a:latin typeface="+mj-ea"/>
                  <a:ea typeface="+mj-ea"/>
                </a:rPr>
                <a:t>リスク</a:t>
              </a:r>
              <a:endParaRPr kumimoji="1" lang="ja-JP" altLang="en-US" sz="2400" spc="300" dirty="0">
                <a:solidFill>
                  <a:schemeClr val="bg1"/>
                </a:solidFill>
                <a:latin typeface="+mj-ea"/>
                <a:ea typeface="+mj-ea"/>
              </a:endParaRPr>
            </a:p>
          </p:txBody>
        </p:sp>
        <p:sp>
          <p:nvSpPr>
            <p:cNvPr id="35" name="四角形: 上の 2 つの角を丸める 34">
              <a:extLst>
                <a:ext uri="{FF2B5EF4-FFF2-40B4-BE49-F238E27FC236}">
                  <a16:creationId xmlns:a16="http://schemas.microsoft.com/office/drawing/2014/main" id="{EFAD778A-927E-0E19-5767-C7D0CEDDC0BA}"/>
                </a:ext>
              </a:extLst>
            </p:cNvPr>
            <p:cNvSpPr/>
            <p:nvPr/>
          </p:nvSpPr>
          <p:spPr>
            <a:xfrm>
              <a:off x="1179271" y="7460078"/>
              <a:ext cx="3803790" cy="2365588"/>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216000" rIns="216000" bIns="216000" rtlCol="0" anchor="t">
              <a:noAutofit/>
            </a:bodyPr>
            <a:lstStyle/>
            <a:p>
              <a:pPr marL="288000" indent="-288000">
                <a:lnSpc>
                  <a:spcPct val="120000"/>
                </a:lnSpc>
                <a:spcAft>
                  <a:spcPts val="1000"/>
                </a:spcAft>
                <a:buClr>
                  <a:schemeClr val="accent3"/>
                </a:buClr>
                <a:buFont typeface="Arial" panose="020B0604020202020204" pitchFamily="34" charset="0"/>
                <a:buChar char="•"/>
              </a:pPr>
              <a:r>
                <a:rPr kumimoji="1" lang="ja-JP" altLang="en-US" sz="2400" spc="100" dirty="0">
                  <a:solidFill>
                    <a:schemeClr val="tx1"/>
                  </a:solidFill>
                  <a:latin typeface="+mn-ea"/>
                </a:rPr>
                <a:t>詐欺等により、自分が直接的な被害を被る</a:t>
              </a:r>
            </a:p>
            <a:p>
              <a:pPr marL="288000" indent="-288000">
                <a:lnSpc>
                  <a:spcPct val="120000"/>
                </a:lnSpc>
                <a:spcAft>
                  <a:spcPts val="1000"/>
                </a:spcAft>
                <a:buClr>
                  <a:schemeClr val="accent3"/>
                </a:buClr>
                <a:buFont typeface="Arial" panose="020B0604020202020204" pitchFamily="34" charset="0"/>
                <a:buChar char="•"/>
              </a:pPr>
              <a:r>
                <a:rPr kumimoji="1" lang="ja-JP" altLang="en-US" sz="2400" spc="100" dirty="0">
                  <a:solidFill>
                    <a:schemeClr val="tx1"/>
                  </a:solidFill>
                  <a:latin typeface="+mn-ea"/>
                </a:rPr>
                <a:t>思考誘導 </a:t>
              </a:r>
              <a:r>
                <a:rPr kumimoji="1" lang="en-US" altLang="ja-JP" sz="2400" spc="100" dirty="0">
                  <a:solidFill>
                    <a:schemeClr val="tx1"/>
                  </a:solidFill>
                  <a:latin typeface="+mn-ea"/>
                </a:rPr>
                <a:t>(</a:t>
              </a:r>
              <a:r>
                <a:rPr kumimoji="1" lang="ja-JP" altLang="en-US" sz="2400" spc="100" dirty="0">
                  <a:solidFill>
                    <a:schemeClr val="tx1"/>
                  </a:solidFill>
                  <a:latin typeface="+mn-ea"/>
                </a:rPr>
                <a:t>世論操作</a:t>
              </a:r>
              <a:r>
                <a:rPr kumimoji="1" lang="en-US" altLang="ja-JP" sz="2400" spc="100" dirty="0">
                  <a:solidFill>
                    <a:schemeClr val="tx1"/>
                  </a:solidFill>
                  <a:latin typeface="+mn-ea"/>
                </a:rPr>
                <a:t>) </a:t>
              </a:r>
              <a:r>
                <a:rPr kumimoji="1" lang="ja-JP" altLang="en-US" sz="2400" spc="100" dirty="0">
                  <a:solidFill>
                    <a:schemeClr val="tx1"/>
                  </a:solidFill>
                  <a:latin typeface="+mn-ea"/>
                </a:rPr>
                <a:t>等により、社会全体が</a:t>
              </a:r>
              <a:br>
                <a:rPr kumimoji="1" lang="ja-JP" altLang="en-US" sz="2400" spc="100" dirty="0">
                  <a:solidFill>
                    <a:schemeClr val="tx1"/>
                  </a:solidFill>
                  <a:latin typeface="+mn-ea"/>
                </a:rPr>
              </a:br>
              <a:r>
                <a:rPr kumimoji="1" lang="ja-JP" altLang="en-US" sz="2400" spc="100" dirty="0">
                  <a:solidFill>
                    <a:schemeClr val="tx1"/>
                  </a:solidFill>
                  <a:latin typeface="+mn-ea"/>
                </a:rPr>
                <a:t>あらぬ方向に進む　等</a:t>
              </a:r>
            </a:p>
          </p:txBody>
        </p:sp>
      </p:grpSp>
      <p:pic>
        <p:nvPicPr>
          <p:cNvPr id="55" name="図 54">
            <a:extLst>
              <a:ext uri="{FF2B5EF4-FFF2-40B4-BE49-F238E27FC236}">
                <a16:creationId xmlns:a16="http://schemas.microsoft.com/office/drawing/2014/main" id="{88E499F5-B2EF-9C70-3689-183E18DEE940}"/>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345490" y="1328164"/>
            <a:ext cx="5476366" cy="4172822"/>
          </a:xfrm>
          <a:prstGeom prst="rect">
            <a:avLst/>
          </a:prstGeom>
        </p:spPr>
      </p:pic>
      <p:grpSp>
        <p:nvGrpSpPr>
          <p:cNvPr id="61" name="グループ化 60">
            <a:extLst>
              <a:ext uri="{FF2B5EF4-FFF2-40B4-BE49-F238E27FC236}">
                <a16:creationId xmlns:a16="http://schemas.microsoft.com/office/drawing/2014/main" id="{69D473ED-8CF9-4F9C-B37E-F46A96E929AA}"/>
              </a:ext>
            </a:extLst>
          </p:cNvPr>
          <p:cNvGrpSpPr/>
          <p:nvPr/>
        </p:nvGrpSpPr>
        <p:grpSpPr>
          <a:xfrm>
            <a:off x="11209980" y="2117442"/>
            <a:ext cx="4729900" cy="3384419"/>
            <a:chOff x="11209980" y="2288090"/>
            <a:chExt cx="4729900" cy="3384419"/>
          </a:xfrm>
        </p:grpSpPr>
        <p:pic>
          <p:nvPicPr>
            <p:cNvPr id="56" name="図 55">
              <a:extLst>
                <a:ext uri="{FF2B5EF4-FFF2-40B4-BE49-F238E27FC236}">
                  <a16:creationId xmlns:a16="http://schemas.microsoft.com/office/drawing/2014/main" id="{B2CD5E26-886F-797D-109E-3245566C167E}"/>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rot="10800000" flipV="1">
              <a:off x="11209980" y="2374792"/>
              <a:ext cx="4729900" cy="3297717"/>
            </a:xfrm>
            <a:prstGeom prst="rect">
              <a:avLst/>
            </a:prstGeom>
          </p:spPr>
        </p:pic>
        <p:grpSp>
          <p:nvGrpSpPr>
            <p:cNvPr id="57" name="グループ化 56">
              <a:extLst>
                <a:ext uri="{FF2B5EF4-FFF2-40B4-BE49-F238E27FC236}">
                  <a16:creationId xmlns:a16="http://schemas.microsoft.com/office/drawing/2014/main" id="{C9F847F2-7547-AE1D-473A-374A3912FD31}"/>
                </a:ext>
              </a:extLst>
            </p:cNvPr>
            <p:cNvGrpSpPr/>
            <p:nvPr/>
          </p:nvGrpSpPr>
          <p:grpSpPr>
            <a:xfrm rot="1478857">
              <a:off x="14275019" y="2288090"/>
              <a:ext cx="817201" cy="1080498"/>
              <a:chOff x="16314289" y="5620325"/>
              <a:chExt cx="809500" cy="1070314"/>
            </a:xfrm>
            <a:solidFill>
              <a:schemeClr val="accent2"/>
            </a:solidFill>
          </p:grpSpPr>
          <p:sp>
            <p:nvSpPr>
              <p:cNvPr id="58" name="グラフィックス 58">
                <a:extLst>
                  <a:ext uri="{FF2B5EF4-FFF2-40B4-BE49-F238E27FC236}">
                    <a16:creationId xmlns:a16="http://schemas.microsoft.com/office/drawing/2014/main" id="{78FE3A21-7E41-0AE5-A7F9-61B788CD4FA9}"/>
                  </a:ext>
                </a:extLst>
              </p:cNvPr>
              <p:cNvSpPr/>
              <p:nvPr/>
            </p:nvSpPr>
            <p:spPr>
              <a:xfrm rot="349462">
                <a:off x="16314289" y="5620325"/>
                <a:ext cx="516720" cy="854586"/>
              </a:xfrm>
              <a:custGeom>
                <a:avLst/>
                <a:gdLst>
                  <a:gd name="connsiteX0" fmla="*/ 300849 w 516720"/>
                  <a:gd name="connsiteY0" fmla="*/ 577064 h 854586"/>
                  <a:gd name="connsiteX1" fmla="*/ 249751 w 516720"/>
                  <a:gd name="connsiteY1" fmla="*/ 625894 h 854586"/>
                  <a:gd name="connsiteX2" fmla="*/ 197852 w 516720"/>
                  <a:gd name="connsiteY2" fmla="*/ 582360 h 854586"/>
                  <a:gd name="connsiteX3" fmla="*/ 197719 w 516720"/>
                  <a:gd name="connsiteY3" fmla="*/ 575997 h 854586"/>
                  <a:gd name="connsiteX4" fmla="*/ 197719 w 516720"/>
                  <a:gd name="connsiteY4" fmla="*/ 552649 h 854586"/>
                  <a:gd name="connsiteX5" fmla="*/ 304452 w 516720"/>
                  <a:gd name="connsiteY5" fmla="*/ 352525 h 854586"/>
                  <a:gd name="connsiteX6" fmla="*/ 389438 w 516720"/>
                  <a:gd name="connsiteY6" fmla="*/ 211105 h 854586"/>
                  <a:gd name="connsiteX7" fmla="*/ 265094 w 516720"/>
                  <a:gd name="connsiteY7" fmla="*/ 101570 h 854586"/>
                  <a:gd name="connsiteX8" fmla="*/ 103527 w 516720"/>
                  <a:gd name="connsiteY8" fmla="*/ 194961 h 854586"/>
                  <a:gd name="connsiteX9" fmla="*/ 62035 w 516720"/>
                  <a:gd name="connsiteY9" fmla="*/ 216308 h 854586"/>
                  <a:gd name="connsiteX10" fmla="*/ -671 w 516720"/>
                  <a:gd name="connsiteY10" fmla="*/ 162942 h 854586"/>
                  <a:gd name="connsiteX11" fmla="*/ 14272 w 516720"/>
                  <a:gd name="connsiteY11" fmla="*/ 123717 h 854586"/>
                  <a:gd name="connsiteX12" fmla="*/ 266161 w 516720"/>
                  <a:gd name="connsiteY12" fmla="*/ -760 h 854586"/>
                  <a:gd name="connsiteX13" fmla="*/ 516049 w 516720"/>
                  <a:gd name="connsiteY13" fmla="*/ 209770 h 854586"/>
                  <a:gd name="connsiteX14" fmla="*/ 396909 w 516720"/>
                  <a:gd name="connsiteY14" fmla="*/ 418165 h 854586"/>
                  <a:gd name="connsiteX15" fmla="*/ 302317 w 516720"/>
                  <a:gd name="connsiteY15" fmla="*/ 555317 h 854586"/>
                  <a:gd name="connsiteX16" fmla="*/ 331668 w 516720"/>
                  <a:gd name="connsiteY16" fmla="*/ 773719 h 854586"/>
                  <a:gd name="connsiteX17" fmla="*/ 251619 w 516720"/>
                  <a:gd name="connsiteY17" fmla="*/ 853768 h 854586"/>
                  <a:gd name="connsiteX18" fmla="*/ 171569 w 516720"/>
                  <a:gd name="connsiteY18" fmla="*/ 773719 h 854586"/>
                  <a:gd name="connsiteX19" fmla="*/ 251619 w 516720"/>
                  <a:gd name="connsiteY19" fmla="*/ 693669 h 854586"/>
                  <a:gd name="connsiteX20" fmla="*/ 331668 w 516720"/>
                  <a:gd name="connsiteY20" fmla="*/ 773719 h 8545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516720" h="854586">
                    <a:moveTo>
                      <a:pt x="300849" y="577064"/>
                    </a:moveTo>
                    <a:cubicBezTo>
                      <a:pt x="298714" y="610017"/>
                      <a:pt x="280703" y="625894"/>
                      <a:pt x="249751" y="625894"/>
                    </a:cubicBezTo>
                    <a:cubicBezTo>
                      <a:pt x="223401" y="628202"/>
                      <a:pt x="200160" y="608723"/>
                      <a:pt x="197852" y="582360"/>
                    </a:cubicBezTo>
                    <a:cubicBezTo>
                      <a:pt x="197665" y="580253"/>
                      <a:pt x="197625" y="578118"/>
                      <a:pt x="197719" y="575997"/>
                    </a:cubicBezTo>
                    <a:lnTo>
                      <a:pt x="197719" y="552649"/>
                    </a:lnTo>
                    <a:cubicBezTo>
                      <a:pt x="197719" y="468597"/>
                      <a:pt x="217864" y="419233"/>
                      <a:pt x="304452" y="352525"/>
                    </a:cubicBezTo>
                    <a:cubicBezTo>
                      <a:pt x="372494" y="300360"/>
                      <a:pt x="389438" y="266339"/>
                      <a:pt x="389438" y="211105"/>
                    </a:cubicBezTo>
                    <a:cubicBezTo>
                      <a:pt x="389438" y="139860"/>
                      <a:pt x="340607" y="101570"/>
                      <a:pt x="265094" y="101570"/>
                    </a:cubicBezTo>
                    <a:cubicBezTo>
                      <a:pt x="202388" y="101570"/>
                      <a:pt x="147154" y="129187"/>
                      <a:pt x="103527" y="194961"/>
                    </a:cubicBezTo>
                    <a:cubicBezTo>
                      <a:pt x="94188" y="208636"/>
                      <a:pt x="78578" y="216668"/>
                      <a:pt x="62035" y="216308"/>
                    </a:cubicBezTo>
                    <a:cubicBezTo>
                      <a:pt x="29081" y="216308"/>
                      <a:pt x="-671" y="191893"/>
                      <a:pt x="-671" y="162942"/>
                    </a:cubicBezTo>
                    <a:cubicBezTo>
                      <a:pt x="-44" y="148599"/>
                      <a:pt x="5199" y="134844"/>
                      <a:pt x="14272" y="123717"/>
                    </a:cubicBezTo>
                    <a:cubicBezTo>
                      <a:pt x="73002" y="43735"/>
                      <a:pt x="166953" y="-2694"/>
                      <a:pt x="266161" y="-760"/>
                    </a:cubicBezTo>
                    <a:cubicBezTo>
                      <a:pt x="413986" y="-760"/>
                      <a:pt x="516049" y="79290"/>
                      <a:pt x="516049" y="209770"/>
                    </a:cubicBezTo>
                    <a:cubicBezTo>
                      <a:pt x="516049" y="301160"/>
                      <a:pt x="485097" y="355461"/>
                      <a:pt x="396909" y="418165"/>
                    </a:cubicBezTo>
                    <a:cubicBezTo>
                      <a:pt x="319261" y="472333"/>
                      <a:pt x="304452" y="503152"/>
                      <a:pt x="302317" y="555317"/>
                    </a:cubicBezTo>
                    <a:close/>
                    <a:moveTo>
                      <a:pt x="331668" y="773719"/>
                    </a:moveTo>
                    <a:cubicBezTo>
                      <a:pt x="331668" y="817933"/>
                      <a:pt x="295832" y="853768"/>
                      <a:pt x="251619" y="853768"/>
                    </a:cubicBezTo>
                    <a:cubicBezTo>
                      <a:pt x="207404" y="853768"/>
                      <a:pt x="171569" y="817933"/>
                      <a:pt x="171569" y="773719"/>
                    </a:cubicBezTo>
                    <a:cubicBezTo>
                      <a:pt x="171569" y="729505"/>
                      <a:pt x="207404" y="693669"/>
                      <a:pt x="251619" y="693669"/>
                    </a:cubicBezTo>
                    <a:cubicBezTo>
                      <a:pt x="295832" y="693669"/>
                      <a:pt x="331668" y="729505"/>
                      <a:pt x="331668" y="773719"/>
                    </a:cubicBezTo>
                    <a:close/>
                  </a:path>
                </a:pathLst>
              </a:custGeom>
              <a:solidFill>
                <a:schemeClr val="accent2"/>
              </a:solidFill>
              <a:ln w="13188" cap="flat">
                <a:noFill/>
                <a:prstDash val="solid"/>
                <a:miter/>
              </a:ln>
            </p:spPr>
            <p:txBody>
              <a:bodyPr rtlCol="0" anchor="ctr"/>
              <a:lstStyle/>
              <a:p>
                <a:endParaRPr lang="ja-JP" altLang="en-US"/>
              </a:p>
            </p:txBody>
          </p:sp>
          <p:sp>
            <p:nvSpPr>
              <p:cNvPr id="59" name="グラフィックス 61">
                <a:extLst>
                  <a:ext uri="{FF2B5EF4-FFF2-40B4-BE49-F238E27FC236}">
                    <a16:creationId xmlns:a16="http://schemas.microsoft.com/office/drawing/2014/main" id="{3D136BFC-2287-89DC-2DA2-AA8B277FE0CF}"/>
                  </a:ext>
                </a:extLst>
              </p:cNvPr>
              <p:cNvSpPr/>
              <p:nvPr/>
            </p:nvSpPr>
            <p:spPr>
              <a:xfrm rot="2009338">
                <a:off x="16730795" y="6040677"/>
                <a:ext cx="392994" cy="649962"/>
              </a:xfrm>
              <a:custGeom>
                <a:avLst/>
                <a:gdLst>
                  <a:gd name="connsiteX0" fmla="*/ 228652 w 392994"/>
                  <a:gd name="connsiteY0" fmla="*/ 438695 h 649962"/>
                  <a:gd name="connsiteX1" fmla="*/ 189789 w 392994"/>
                  <a:gd name="connsiteY1" fmla="*/ 475833 h 649962"/>
                  <a:gd name="connsiteX2" fmla="*/ 150317 w 392994"/>
                  <a:gd name="connsiteY2" fmla="*/ 442723 h 649962"/>
                  <a:gd name="connsiteX3" fmla="*/ 150216 w 392994"/>
                  <a:gd name="connsiteY3" fmla="*/ 437883 h 649962"/>
                  <a:gd name="connsiteX4" fmla="*/ 150216 w 392994"/>
                  <a:gd name="connsiteY4" fmla="*/ 420126 h 649962"/>
                  <a:gd name="connsiteX5" fmla="*/ 231392 w 392994"/>
                  <a:gd name="connsiteY5" fmla="*/ 267920 h 649962"/>
                  <a:gd name="connsiteX6" fmla="*/ 296028 w 392994"/>
                  <a:gd name="connsiteY6" fmla="*/ 160362 h 649962"/>
                  <a:gd name="connsiteX7" fmla="*/ 201458 w 392994"/>
                  <a:gd name="connsiteY7" fmla="*/ 77054 h 649962"/>
                  <a:gd name="connsiteX8" fmla="*/ 78577 w 392994"/>
                  <a:gd name="connsiteY8" fmla="*/ 148083 h 649962"/>
                  <a:gd name="connsiteX9" fmla="*/ 47020 w 392994"/>
                  <a:gd name="connsiteY9" fmla="*/ 164319 h 649962"/>
                  <a:gd name="connsiteX10" fmla="*/ -671 w 392994"/>
                  <a:gd name="connsiteY10" fmla="*/ 123731 h 649962"/>
                  <a:gd name="connsiteX11" fmla="*/ 10694 w 392994"/>
                  <a:gd name="connsiteY11" fmla="*/ 93899 h 649962"/>
                  <a:gd name="connsiteX12" fmla="*/ 202269 w 392994"/>
                  <a:gd name="connsiteY12" fmla="*/ -774 h 649962"/>
                  <a:gd name="connsiteX13" fmla="*/ 392324 w 392994"/>
                  <a:gd name="connsiteY13" fmla="*/ 159346 h 649962"/>
                  <a:gd name="connsiteX14" fmla="*/ 301711 w 392994"/>
                  <a:gd name="connsiteY14" fmla="*/ 317843 h 649962"/>
                  <a:gd name="connsiteX15" fmla="*/ 229768 w 392994"/>
                  <a:gd name="connsiteY15" fmla="*/ 422155 h 649962"/>
                  <a:gd name="connsiteX16" fmla="*/ 252092 w 392994"/>
                  <a:gd name="connsiteY16" fmla="*/ 588262 h 649962"/>
                  <a:gd name="connsiteX17" fmla="*/ 191209 w 392994"/>
                  <a:gd name="connsiteY17" fmla="*/ 649145 h 649962"/>
                  <a:gd name="connsiteX18" fmla="*/ 130327 w 392994"/>
                  <a:gd name="connsiteY18" fmla="*/ 588262 h 649962"/>
                  <a:gd name="connsiteX19" fmla="*/ 191209 w 392994"/>
                  <a:gd name="connsiteY19" fmla="*/ 527380 h 649962"/>
                  <a:gd name="connsiteX20" fmla="*/ 252092 w 392994"/>
                  <a:gd name="connsiteY20" fmla="*/ 588262 h 649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2994" h="649962">
                    <a:moveTo>
                      <a:pt x="228652" y="438695"/>
                    </a:moveTo>
                    <a:cubicBezTo>
                      <a:pt x="227028" y="463758"/>
                      <a:pt x="213330" y="475833"/>
                      <a:pt x="189789" y="475833"/>
                    </a:cubicBezTo>
                    <a:cubicBezTo>
                      <a:pt x="169749" y="477589"/>
                      <a:pt x="152072" y="462774"/>
                      <a:pt x="150317" y="442723"/>
                    </a:cubicBezTo>
                    <a:cubicBezTo>
                      <a:pt x="150175" y="441120"/>
                      <a:pt x="150144" y="439496"/>
                      <a:pt x="150216" y="437883"/>
                    </a:cubicBezTo>
                    <a:lnTo>
                      <a:pt x="150216" y="420126"/>
                    </a:lnTo>
                    <a:cubicBezTo>
                      <a:pt x="150216" y="356199"/>
                      <a:pt x="165537" y="318655"/>
                      <a:pt x="231392" y="267920"/>
                    </a:cubicBezTo>
                    <a:cubicBezTo>
                      <a:pt x="283142" y="228245"/>
                      <a:pt x="296028" y="202370"/>
                      <a:pt x="296028" y="160362"/>
                    </a:cubicBezTo>
                    <a:cubicBezTo>
                      <a:pt x="296028" y="106176"/>
                      <a:pt x="258890" y="77054"/>
                      <a:pt x="201458" y="77054"/>
                    </a:cubicBezTo>
                    <a:cubicBezTo>
                      <a:pt x="153767" y="77054"/>
                      <a:pt x="111758" y="98059"/>
                      <a:pt x="78577" y="148083"/>
                    </a:cubicBezTo>
                    <a:cubicBezTo>
                      <a:pt x="71475" y="158484"/>
                      <a:pt x="59602" y="164593"/>
                      <a:pt x="47020" y="164319"/>
                    </a:cubicBezTo>
                    <a:cubicBezTo>
                      <a:pt x="21957" y="164319"/>
                      <a:pt x="-671" y="145750"/>
                      <a:pt x="-671" y="123731"/>
                    </a:cubicBezTo>
                    <a:cubicBezTo>
                      <a:pt x="-194" y="112823"/>
                      <a:pt x="3794" y="102361"/>
                      <a:pt x="10694" y="93899"/>
                    </a:cubicBezTo>
                    <a:cubicBezTo>
                      <a:pt x="55361" y="33067"/>
                      <a:pt x="126816" y="-2245"/>
                      <a:pt x="202269" y="-774"/>
                    </a:cubicBezTo>
                    <a:cubicBezTo>
                      <a:pt x="314699" y="-774"/>
                      <a:pt x="392324" y="60109"/>
                      <a:pt x="392324" y="159346"/>
                    </a:cubicBezTo>
                    <a:cubicBezTo>
                      <a:pt x="392324" y="228854"/>
                      <a:pt x="368782" y="270153"/>
                      <a:pt x="301711" y="317843"/>
                    </a:cubicBezTo>
                    <a:cubicBezTo>
                      <a:pt x="242655" y="359041"/>
                      <a:pt x="231392" y="382481"/>
                      <a:pt x="229768" y="422155"/>
                    </a:cubicBezTo>
                    <a:close/>
                    <a:moveTo>
                      <a:pt x="252092" y="588262"/>
                    </a:moveTo>
                    <a:cubicBezTo>
                      <a:pt x="252092" y="621890"/>
                      <a:pt x="224836" y="649145"/>
                      <a:pt x="191209" y="649145"/>
                    </a:cubicBezTo>
                    <a:cubicBezTo>
                      <a:pt x="157582" y="649145"/>
                      <a:pt x="130327" y="621890"/>
                      <a:pt x="130327" y="588262"/>
                    </a:cubicBezTo>
                    <a:cubicBezTo>
                      <a:pt x="130327" y="554635"/>
                      <a:pt x="157582" y="527380"/>
                      <a:pt x="191209" y="527380"/>
                    </a:cubicBezTo>
                    <a:cubicBezTo>
                      <a:pt x="224836" y="527380"/>
                      <a:pt x="252092" y="554635"/>
                      <a:pt x="252092" y="588262"/>
                    </a:cubicBezTo>
                    <a:close/>
                  </a:path>
                </a:pathLst>
              </a:custGeom>
              <a:solidFill>
                <a:schemeClr val="accent2"/>
              </a:solidFill>
              <a:ln w="10013" cap="flat">
                <a:noFill/>
                <a:prstDash val="solid"/>
                <a:miter/>
              </a:ln>
            </p:spPr>
            <p:txBody>
              <a:bodyPr rtlCol="0" anchor="ctr"/>
              <a:lstStyle/>
              <a:p>
                <a:endParaRPr lang="ja-JP" altLang="en-US"/>
              </a:p>
            </p:txBody>
          </p:sp>
        </p:grpSp>
      </p:grpSp>
      <p:grpSp>
        <p:nvGrpSpPr>
          <p:cNvPr id="20" name="グループ化 19">
            <a:extLst>
              <a:ext uri="{FF2B5EF4-FFF2-40B4-BE49-F238E27FC236}">
                <a16:creationId xmlns:a16="http://schemas.microsoft.com/office/drawing/2014/main" id="{F1CC8A68-321E-CEF6-F436-A31B451C45E8}"/>
              </a:ext>
            </a:extLst>
          </p:cNvPr>
          <p:cNvGrpSpPr/>
          <p:nvPr/>
        </p:nvGrpSpPr>
        <p:grpSpPr>
          <a:xfrm>
            <a:off x="7031420" y="3499947"/>
            <a:ext cx="3770415" cy="612975"/>
            <a:chOff x="2512843" y="7670705"/>
            <a:chExt cx="3767726" cy="612537"/>
          </a:xfrm>
        </p:grpSpPr>
        <p:grpSp>
          <p:nvGrpSpPr>
            <p:cNvPr id="21" name="グループ化 20">
              <a:extLst>
                <a:ext uri="{FF2B5EF4-FFF2-40B4-BE49-F238E27FC236}">
                  <a16:creationId xmlns:a16="http://schemas.microsoft.com/office/drawing/2014/main" id="{428B1E67-AE17-A717-7683-11FFF0C0075F}"/>
                </a:ext>
              </a:extLst>
            </p:cNvPr>
            <p:cNvGrpSpPr/>
            <p:nvPr/>
          </p:nvGrpSpPr>
          <p:grpSpPr>
            <a:xfrm rot="18900000">
              <a:off x="5599433" y="7670705"/>
              <a:ext cx="612537" cy="612537"/>
              <a:chOff x="2083375" y="7407798"/>
              <a:chExt cx="717630" cy="717630"/>
            </a:xfrm>
          </p:grpSpPr>
          <p:cxnSp>
            <p:nvCxnSpPr>
              <p:cNvPr id="23" name="直線コネクタ 22">
                <a:extLst>
                  <a:ext uri="{FF2B5EF4-FFF2-40B4-BE49-F238E27FC236}">
                    <a16:creationId xmlns:a16="http://schemas.microsoft.com/office/drawing/2014/main" id="{D4018108-E6BF-9ED6-DC7E-653508302B61}"/>
                  </a:ext>
                </a:extLst>
              </p:cNvPr>
              <p:cNvCxnSpPr>
                <a:cxnSpLocks/>
              </p:cNvCxnSpPr>
              <p:nvPr/>
            </p:nvCxnSpPr>
            <p:spPr>
              <a:xfrm>
                <a:off x="2083375" y="8125428"/>
                <a:ext cx="717630" cy="0"/>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24" name="直線コネクタ 23">
                <a:extLst>
                  <a:ext uri="{FF2B5EF4-FFF2-40B4-BE49-F238E27FC236}">
                    <a16:creationId xmlns:a16="http://schemas.microsoft.com/office/drawing/2014/main" id="{03F6E060-9708-1D3E-86E8-EA0564BFE330}"/>
                  </a:ext>
                </a:extLst>
              </p:cNvPr>
              <p:cNvCxnSpPr>
                <a:cxnSpLocks/>
              </p:cNvCxnSpPr>
              <p:nvPr/>
            </p:nvCxnSpPr>
            <p:spPr>
              <a:xfrm rot="16200000">
                <a:off x="2442189" y="7766613"/>
                <a:ext cx="717630" cy="0"/>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cxnSp>
          <p:nvCxnSpPr>
            <p:cNvPr id="22" name="直線コネクタ 21">
              <a:extLst>
                <a:ext uri="{FF2B5EF4-FFF2-40B4-BE49-F238E27FC236}">
                  <a16:creationId xmlns:a16="http://schemas.microsoft.com/office/drawing/2014/main" id="{90ED23C3-A0DF-36DC-9A0C-D78E41DAAE85}"/>
                </a:ext>
              </a:extLst>
            </p:cNvPr>
            <p:cNvCxnSpPr>
              <a:cxnSpLocks/>
            </p:cNvCxnSpPr>
            <p:nvPr/>
          </p:nvCxnSpPr>
          <p:spPr>
            <a:xfrm flipH="1">
              <a:off x="2512843" y="7976973"/>
              <a:ext cx="3767726" cy="0"/>
            </a:xfrm>
            <a:prstGeom prst="line">
              <a:avLst/>
            </a:prstGeom>
            <a:ln w="101600" cap="rnd">
              <a:solidFill>
                <a:schemeClr val="accent2">
                  <a:lumMod val="40000"/>
                  <a:lumOff val="60000"/>
                </a:schemeClr>
              </a:solidFill>
              <a:prstDash val="sysDash"/>
              <a:round/>
            </a:ln>
          </p:spPr>
          <p:style>
            <a:lnRef idx="1">
              <a:schemeClr val="accent1"/>
            </a:lnRef>
            <a:fillRef idx="0">
              <a:schemeClr val="accent1"/>
            </a:fillRef>
            <a:effectRef idx="0">
              <a:schemeClr val="accent1"/>
            </a:effectRef>
            <a:fontRef idx="minor">
              <a:schemeClr val="tx1"/>
            </a:fontRef>
          </p:style>
        </p:cxnSp>
      </p:grpSp>
      <p:sp>
        <p:nvSpPr>
          <p:cNvPr id="3" name="スライド番号プレースホルダー 2">
            <a:extLst>
              <a:ext uri="{FF2B5EF4-FFF2-40B4-BE49-F238E27FC236}">
                <a16:creationId xmlns:a16="http://schemas.microsoft.com/office/drawing/2014/main" id="{2866D69C-AE71-AA89-1C3E-9CF732C03C7A}"/>
              </a:ext>
            </a:extLst>
          </p:cNvPr>
          <p:cNvSpPr>
            <a:spLocks noGrp="1"/>
          </p:cNvSpPr>
          <p:nvPr>
            <p:ph type="sldNum" sz="quarter" idx="11"/>
          </p:nvPr>
        </p:nvSpPr>
        <p:spPr>
          <a:xfrm>
            <a:off x="17695001" y="9786651"/>
            <a:ext cx="327013" cy="307777"/>
          </a:xfrm>
        </p:spPr>
        <p:txBody>
          <a:bodyPr/>
          <a:lstStyle/>
          <a:p>
            <a:r>
              <a:rPr lang="en-US" altLang="ja-JP"/>
              <a:t>35</a:t>
            </a:r>
            <a:endParaRPr lang="ja-JP" altLang="en-US" dirty="0"/>
          </a:p>
        </p:txBody>
      </p:sp>
    </p:spTree>
    <p:extLst>
      <p:ext uri="{BB962C8B-B14F-4D97-AF65-F5344CB8AC3E}">
        <p14:creationId xmlns:p14="http://schemas.microsoft.com/office/powerpoint/2010/main" val="1390682750"/>
      </p:ext>
    </p:extLst>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8784B17E-F619-FF03-FD4A-F3C4AC104110}"/>
              </a:ext>
            </a:extLst>
          </p:cNvPr>
          <p:cNvSpPr txBox="1"/>
          <p:nvPr/>
        </p:nvSpPr>
        <p:spPr>
          <a:xfrm>
            <a:off x="4377471" y="971458"/>
            <a:ext cx="9533059"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により偽・誤情報が生成される可能性</a:t>
            </a:r>
            <a:endParaRPr kumimoji="1" lang="en-US" altLang="ja-JP" sz="3600" spc="100" dirty="0">
              <a:latin typeface="+mj-ea"/>
              <a:ea typeface="+mj-ea"/>
            </a:endParaRPr>
          </a:p>
        </p:txBody>
      </p:sp>
      <p:sp>
        <p:nvSpPr>
          <p:cNvPr id="4" name="テキスト ボックス 3">
            <a:extLst>
              <a:ext uri="{FF2B5EF4-FFF2-40B4-BE49-F238E27FC236}">
                <a16:creationId xmlns:a16="http://schemas.microsoft.com/office/drawing/2014/main" id="{0911C6F6-D686-8ECE-FB08-2C8F0DCE3220}"/>
              </a:ext>
            </a:extLst>
          </p:cNvPr>
          <p:cNvSpPr txBox="1"/>
          <p:nvPr/>
        </p:nvSpPr>
        <p:spPr>
          <a:xfrm>
            <a:off x="372103" y="9832817"/>
            <a:ext cx="10637527"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生成</a:t>
            </a:r>
            <a:r>
              <a:rPr kumimoji="1" lang="en-US" altLang="ja-JP" sz="1400" spc="100" dirty="0">
                <a:solidFill>
                  <a:schemeClr val="tx2"/>
                </a:solidFill>
                <a:latin typeface="+mn-ea"/>
              </a:rPr>
              <a:t>AI</a:t>
            </a:r>
            <a:r>
              <a:rPr kumimoji="1" lang="ja-JP" altLang="en-US" sz="1400" spc="100" dirty="0">
                <a:solidFill>
                  <a:schemeClr val="tx2"/>
                </a:solidFill>
                <a:latin typeface="+mn-ea"/>
              </a:rPr>
              <a:t>サービスを用いて回答を作成、</a:t>
            </a:r>
            <a:r>
              <a:rPr kumimoji="1" lang="en-US" altLang="ja-JP" sz="1400" spc="100" dirty="0">
                <a:solidFill>
                  <a:schemeClr val="tx2"/>
                </a:solidFill>
                <a:latin typeface="+mn-ea"/>
              </a:rPr>
              <a:t>NHK</a:t>
            </a:r>
            <a:r>
              <a:rPr kumimoji="1" lang="ja-JP" altLang="en-US" sz="1400" spc="100" dirty="0">
                <a:solidFill>
                  <a:schemeClr val="tx2"/>
                </a:solidFill>
                <a:latin typeface="+mn-ea"/>
              </a:rPr>
              <a:t>「</a:t>
            </a:r>
            <a:r>
              <a:rPr kumimoji="1" lang="en-US" altLang="ja-JP" sz="1400" spc="100" dirty="0">
                <a:solidFill>
                  <a:schemeClr val="tx2"/>
                </a:solidFill>
                <a:latin typeface="+mn-ea"/>
              </a:rPr>
              <a:t>SNS</a:t>
            </a:r>
            <a:r>
              <a:rPr kumimoji="1" lang="ja-JP" altLang="en-US" sz="1400" spc="100" dirty="0">
                <a:solidFill>
                  <a:schemeClr val="tx2"/>
                </a:solidFill>
                <a:latin typeface="+mn-ea"/>
              </a:rPr>
              <a:t>で拡散 “</a:t>
            </a:r>
            <a:r>
              <a:rPr kumimoji="1" lang="en-US" altLang="ja-JP" sz="1400" spc="100" dirty="0">
                <a:solidFill>
                  <a:schemeClr val="tx2"/>
                </a:solidFill>
                <a:latin typeface="+mn-ea"/>
              </a:rPr>
              <a:t>AI</a:t>
            </a:r>
            <a:r>
              <a:rPr kumimoji="1" lang="ja-JP" altLang="en-US" sz="1400" spc="100" dirty="0">
                <a:solidFill>
                  <a:schemeClr val="tx2"/>
                </a:solidFill>
                <a:latin typeface="+mn-ea"/>
              </a:rPr>
              <a:t>生成の偽の災害画像” ファクトチェックはどうする」</a:t>
            </a:r>
          </a:p>
        </p:txBody>
      </p:sp>
      <p:grpSp>
        <p:nvGrpSpPr>
          <p:cNvPr id="201" name="グループ化 200">
            <a:extLst>
              <a:ext uri="{FF2B5EF4-FFF2-40B4-BE49-F238E27FC236}">
                <a16:creationId xmlns:a16="http://schemas.microsoft.com/office/drawing/2014/main" id="{23904DEA-779B-336D-8259-38B5C1FF3200}"/>
              </a:ext>
            </a:extLst>
          </p:cNvPr>
          <p:cNvGrpSpPr/>
          <p:nvPr/>
        </p:nvGrpSpPr>
        <p:grpSpPr>
          <a:xfrm>
            <a:off x="10987037" y="3276327"/>
            <a:ext cx="6195843" cy="4427755"/>
            <a:chOff x="11019078" y="3276327"/>
            <a:chExt cx="6195843" cy="4427755"/>
          </a:xfrm>
        </p:grpSpPr>
        <p:sp>
          <p:nvSpPr>
            <p:cNvPr id="200" name="正方形/長方形 199">
              <a:extLst>
                <a:ext uri="{FF2B5EF4-FFF2-40B4-BE49-F238E27FC236}">
                  <a16:creationId xmlns:a16="http://schemas.microsoft.com/office/drawing/2014/main" id="{6544ECFC-1951-26F1-54C2-2F931FAE74E3}"/>
                </a:ext>
              </a:extLst>
            </p:cNvPr>
            <p:cNvSpPr/>
            <p:nvPr/>
          </p:nvSpPr>
          <p:spPr>
            <a:xfrm>
              <a:off x="11019078" y="3276327"/>
              <a:ext cx="6195843" cy="4427755"/>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pic>
          <p:nvPicPr>
            <p:cNvPr id="5" name="図 21">
              <a:extLst>
                <a:ext uri="{FF2B5EF4-FFF2-40B4-BE49-F238E27FC236}">
                  <a16:creationId xmlns:a16="http://schemas.microsoft.com/office/drawing/2014/main" id="{7875008E-F82F-249D-8989-117CDB9C08F6}"/>
                </a:ext>
              </a:extLst>
            </p:cNvPr>
            <p:cNvPicPr>
              <a:picLocks noChangeAspect="1"/>
            </p:cNvPicPr>
            <p:nvPr/>
          </p:nvPicPr>
          <p:blipFill>
            <a:blip r:embed="rId3"/>
            <a:stretch>
              <a:fillRect/>
            </a:stretch>
          </p:blipFill>
          <p:spPr>
            <a:xfrm>
              <a:off x="11191031" y="3324562"/>
              <a:ext cx="5851936" cy="4331284"/>
            </a:xfrm>
            <a:prstGeom prst="rect">
              <a:avLst/>
            </a:prstGeom>
            <a:ln>
              <a:noFill/>
            </a:ln>
            <a:effectLst/>
          </p:spPr>
        </p:pic>
      </p:grpSp>
      <p:sp>
        <p:nvSpPr>
          <p:cNvPr id="6" name="四角形: 角を丸くする 5">
            <a:extLst>
              <a:ext uri="{FF2B5EF4-FFF2-40B4-BE49-F238E27FC236}">
                <a16:creationId xmlns:a16="http://schemas.microsoft.com/office/drawing/2014/main" id="{26B43C48-2449-1A25-E520-C88034FEEA5D}"/>
              </a:ext>
            </a:extLst>
          </p:cNvPr>
          <p:cNvSpPr/>
          <p:nvPr/>
        </p:nvSpPr>
        <p:spPr>
          <a:xfrm>
            <a:off x="891184" y="2319853"/>
            <a:ext cx="9533058" cy="743585"/>
          </a:xfrm>
          <a:prstGeom prst="roundRect">
            <a:avLst>
              <a:gd name="adj" fmla="val 1749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algn="ctr"/>
            <a:r>
              <a:rPr kumimoji="1" lang="ja-JP" altLang="en-US" sz="3200" spc="300" dirty="0">
                <a:solidFill>
                  <a:schemeClr val="bg1"/>
                </a:solidFill>
                <a:latin typeface="+mj-ea"/>
                <a:ea typeface="+mj-ea"/>
              </a:rPr>
              <a:t>偽・誤情報の事例 ❶</a:t>
            </a:r>
          </a:p>
        </p:txBody>
      </p:sp>
      <p:sp>
        <p:nvSpPr>
          <p:cNvPr id="9" name="四角形: 角を丸くする 8">
            <a:extLst>
              <a:ext uri="{FF2B5EF4-FFF2-40B4-BE49-F238E27FC236}">
                <a16:creationId xmlns:a16="http://schemas.microsoft.com/office/drawing/2014/main" id="{1EB678C7-6BA1-C964-06AF-199F121D44D1}"/>
              </a:ext>
            </a:extLst>
          </p:cNvPr>
          <p:cNvSpPr/>
          <p:nvPr/>
        </p:nvSpPr>
        <p:spPr>
          <a:xfrm>
            <a:off x="10773102" y="2319853"/>
            <a:ext cx="6623713" cy="743585"/>
          </a:xfrm>
          <a:prstGeom prst="roundRect">
            <a:avLst>
              <a:gd name="adj" fmla="val 1749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noAutofit/>
          </a:bodyPr>
          <a:lstStyle/>
          <a:p>
            <a:pPr algn="ctr"/>
            <a:r>
              <a:rPr kumimoji="1" lang="ja-JP" altLang="en-US" sz="3200" spc="300" dirty="0">
                <a:solidFill>
                  <a:schemeClr val="bg1"/>
                </a:solidFill>
                <a:latin typeface="+mj-ea"/>
                <a:ea typeface="+mj-ea"/>
              </a:rPr>
              <a:t>偽・誤情報の事例 ❷</a:t>
            </a:r>
          </a:p>
        </p:txBody>
      </p:sp>
      <p:sp>
        <p:nvSpPr>
          <p:cNvPr id="10" name="テキスト ボックス 9">
            <a:extLst>
              <a:ext uri="{FF2B5EF4-FFF2-40B4-BE49-F238E27FC236}">
                <a16:creationId xmlns:a16="http://schemas.microsoft.com/office/drawing/2014/main" id="{2290678F-B9AB-213E-5888-EE8ABD1F1CDC}"/>
              </a:ext>
            </a:extLst>
          </p:cNvPr>
          <p:cNvSpPr txBox="1"/>
          <p:nvPr/>
        </p:nvSpPr>
        <p:spPr>
          <a:xfrm>
            <a:off x="11019079" y="7828474"/>
            <a:ext cx="6131759" cy="1818383"/>
          </a:xfrm>
          <a:prstGeom prst="rect">
            <a:avLst/>
          </a:prstGeom>
          <a:noFill/>
        </p:spPr>
        <p:txBody>
          <a:bodyPr wrap="square" lIns="0" tIns="0" rIns="0" bIns="0" rtlCol="0" anchor="t">
            <a:spAutoFit/>
          </a:bodyPr>
          <a:lstStyle/>
          <a:p>
            <a:pPr algn="just">
              <a:lnSpc>
                <a:spcPct val="120000"/>
              </a:lnSpc>
              <a:spcAft>
                <a:spcPts val="1500"/>
              </a:spcAft>
            </a:pPr>
            <a:r>
              <a:rPr kumimoji="1" lang="en-US" altLang="ja-JP" sz="2400" spc="50" dirty="0">
                <a:latin typeface="+mn-ea"/>
              </a:rPr>
              <a:t>2022</a:t>
            </a:r>
            <a:r>
              <a:rPr kumimoji="1" lang="ja-JP" altLang="en-US" sz="2400" spc="50" dirty="0">
                <a:latin typeface="+mn-ea"/>
              </a:rPr>
              <a:t>年</a:t>
            </a:r>
            <a:r>
              <a:rPr kumimoji="1" lang="en-US" altLang="ja-JP" sz="2400" spc="50" dirty="0">
                <a:latin typeface="+mn-ea"/>
              </a:rPr>
              <a:t>9</a:t>
            </a:r>
            <a:r>
              <a:rPr kumimoji="1" lang="ja-JP" altLang="en-US" sz="2400" spc="50" dirty="0">
                <a:latin typeface="+mn-ea"/>
              </a:rPr>
              <a:t>月、台風</a:t>
            </a:r>
            <a:r>
              <a:rPr kumimoji="1" lang="en-US" altLang="ja-JP" sz="2400" spc="50" dirty="0">
                <a:latin typeface="+mn-ea"/>
              </a:rPr>
              <a:t>15</a:t>
            </a:r>
            <a:r>
              <a:rPr kumimoji="1" lang="ja-JP" altLang="en-US" sz="2400" spc="50" dirty="0">
                <a:latin typeface="+mn-ea"/>
              </a:rPr>
              <a:t>号による水害被害が発生している静岡県の画像が</a:t>
            </a:r>
            <a:r>
              <a:rPr kumimoji="1" lang="en-US" altLang="ja-JP" sz="2400" spc="50" dirty="0">
                <a:latin typeface="+mn-ea"/>
              </a:rPr>
              <a:t>SNS</a:t>
            </a:r>
            <a:r>
              <a:rPr kumimoji="1" lang="ja-JP" altLang="en-US" sz="2400" spc="50" dirty="0">
                <a:latin typeface="+mn-ea"/>
              </a:rPr>
              <a:t>上で拡散。その後投稿者は、</a:t>
            </a:r>
            <a:r>
              <a:rPr kumimoji="1" lang="ja-JP" altLang="en-US" sz="2600" spc="50" dirty="0">
                <a:solidFill>
                  <a:schemeClr val="accent3"/>
                </a:solidFill>
                <a:latin typeface="+mj-ea"/>
                <a:ea typeface="+mj-ea"/>
              </a:rPr>
              <a:t>画像生成</a:t>
            </a:r>
            <a:r>
              <a:rPr kumimoji="1" lang="en-US" altLang="ja-JP" sz="2600" spc="50" dirty="0">
                <a:solidFill>
                  <a:schemeClr val="accent3"/>
                </a:solidFill>
                <a:latin typeface="+mj-ea"/>
                <a:ea typeface="+mj-ea"/>
              </a:rPr>
              <a:t>AI</a:t>
            </a:r>
            <a:r>
              <a:rPr kumimoji="1" lang="ja-JP" altLang="en-US" sz="2600" spc="50" dirty="0">
                <a:solidFill>
                  <a:schemeClr val="accent3"/>
                </a:solidFill>
                <a:latin typeface="+mj-ea"/>
                <a:ea typeface="+mj-ea"/>
              </a:rPr>
              <a:t>で作成した偽画像</a:t>
            </a:r>
            <a:r>
              <a:rPr kumimoji="1" lang="ja-JP" altLang="en-US" sz="2400" spc="50" dirty="0">
                <a:latin typeface="+mn-ea"/>
              </a:rPr>
              <a:t>だったと公表。</a:t>
            </a:r>
            <a:endParaRPr kumimoji="1" lang="ja-JP" altLang="en-US" sz="2600" spc="50" dirty="0">
              <a:latin typeface="+mn-ea"/>
            </a:endParaRPr>
          </a:p>
        </p:txBody>
      </p:sp>
      <p:sp>
        <p:nvSpPr>
          <p:cNvPr id="12" name="テキスト ボックス 11">
            <a:extLst>
              <a:ext uri="{FF2B5EF4-FFF2-40B4-BE49-F238E27FC236}">
                <a16:creationId xmlns:a16="http://schemas.microsoft.com/office/drawing/2014/main" id="{521C2AC7-225A-5175-9657-93CE9D8D21F3}"/>
              </a:ext>
            </a:extLst>
          </p:cNvPr>
          <p:cNvSpPr txBox="1"/>
          <p:nvPr/>
        </p:nvSpPr>
        <p:spPr>
          <a:xfrm>
            <a:off x="1185368" y="3276328"/>
            <a:ext cx="4398640" cy="1303498"/>
          </a:xfrm>
          <a:prstGeom prst="rect">
            <a:avLst/>
          </a:prstGeom>
          <a:noFill/>
        </p:spPr>
        <p:txBody>
          <a:bodyPr wrap="none" lIns="0" tIns="0" rIns="0" bIns="0" rtlCol="0" anchor="t">
            <a:spAutoFit/>
          </a:bodyPr>
          <a:lstStyle/>
          <a:p>
            <a:pPr>
              <a:lnSpc>
                <a:spcPct val="120000"/>
              </a:lnSpc>
              <a:spcAft>
                <a:spcPts val="1500"/>
              </a:spcAft>
            </a:pPr>
            <a:r>
              <a:rPr kumimoji="1" lang="ja-JP" altLang="en-US" sz="2400" spc="50" dirty="0">
                <a:latin typeface="+mn-ea"/>
              </a:rPr>
              <a:t>ある生成</a:t>
            </a:r>
            <a:r>
              <a:rPr kumimoji="1" lang="en-US" altLang="ja-JP" sz="2400" spc="50" dirty="0">
                <a:latin typeface="+mn-ea"/>
              </a:rPr>
              <a:t>AI</a:t>
            </a:r>
            <a:r>
              <a:rPr kumimoji="1" lang="ja-JP" altLang="en-US" sz="2400" spc="50" dirty="0">
                <a:latin typeface="+mn-ea"/>
              </a:rPr>
              <a:t>サービスに以下の</a:t>
            </a:r>
            <a:br>
              <a:rPr kumimoji="1" lang="en-US" altLang="ja-JP" sz="2400" spc="50" dirty="0">
                <a:latin typeface="+mn-ea"/>
              </a:rPr>
            </a:br>
            <a:r>
              <a:rPr kumimoji="1" lang="ja-JP" altLang="en-US" sz="2400" spc="50" dirty="0">
                <a:latin typeface="+mn-ea"/>
              </a:rPr>
              <a:t>指示を入力すると、問題のある</a:t>
            </a:r>
            <a:br>
              <a:rPr kumimoji="1" lang="en-US" altLang="ja-JP" sz="2400" spc="50" dirty="0">
                <a:latin typeface="+mn-ea"/>
              </a:rPr>
            </a:br>
            <a:r>
              <a:rPr kumimoji="1" lang="ja-JP" altLang="en-US" sz="2400" spc="50" dirty="0">
                <a:latin typeface="+mn-ea"/>
              </a:rPr>
              <a:t>リストが生成された。</a:t>
            </a:r>
          </a:p>
        </p:txBody>
      </p:sp>
      <p:grpSp>
        <p:nvGrpSpPr>
          <p:cNvPr id="30" name="グループ化 29">
            <a:extLst>
              <a:ext uri="{FF2B5EF4-FFF2-40B4-BE49-F238E27FC236}">
                <a16:creationId xmlns:a16="http://schemas.microsoft.com/office/drawing/2014/main" id="{7BF52E19-F687-7238-7361-C33FC55D353B}"/>
              </a:ext>
            </a:extLst>
          </p:cNvPr>
          <p:cNvGrpSpPr/>
          <p:nvPr/>
        </p:nvGrpSpPr>
        <p:grpSpPr>
          <a:xfrm>
            <a:off x="3155288" y="6258196"/>
            <a:ext cx="253958" cy="686498"/>
            <a:chOff x="5927095" y="3909848"/>
            <a:chExt cx="224084" cy="683999"/>
          </a:xfrm>
          <a:solidFill>
            <a:schemeClr val="accent2">
              <a:lumMod val="60000"/>
              <a:lumOff val="40000"/>
            </a:schemeClr>
          </a:solidFill>
        </p:grpSpPr>
        <p:sp>
          <p:nvSpPr>
            <p:cNvPr id="231" name="二等辺三角形 230">
              <a:extLst>
                <a:ext uri="{FF2B5EF4-FFF2-40B4-BE49-F238E27FC236}">
                  <a16:creationId xmlns:a16="http://schemas.microsoft.com/office/drawing/2014/main" id="{3B62BD87-6A11-868E-E2DE-67ACED901C5F}"/>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2" name="二等辺三角形 231">
              <a:extLst>
                <a:ext uri="{FF2B5EF4-FFF2-40B4-BE49-F238E27FC236}">
                  <a16:creationId xmlns:a16="http://schemas.microsoft.com/office/drawing/2014/main" id="{5DF1772F-A1E5-5E28-7B19-6C1E38EF9722}"/>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33" name="二等辺三角形 232">
              <a:extLst>
                <a:ext uri="{FF2B5EF4-FFF2-40B4-BE49-F238E27FC236}">
                  <a16:creationId xmlns:a16="http://schemas.microsoft.com/office/drawing/2014/main" id="{2C657A1E-1403-5AEC-7249-8A4D4EDDE953}"/>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31" name="グループ化 30">
            <a:extLst>
              <a:ext uri="{FF2B5EF4-FFF2-40B4-BE49-F238E27FC236}">
                <a16:creationId xmlns:a16="http://schemas.microsoft.com/office/drawing/2014/main" id="{FD2643C5-6490-D4D1-BC76-437A37508204}"/>
              </a:ext>
            </a:extLst>
          </p:cNvPr>
          <p:cNvGrpSpPr/>
          <p:nvPr/>
        </p:nvGrpSpPr>
        <p:grpSpPr>
          <a:xfrm>
            <a:off x="1179272" y="4919612"/>
            <a:ext cx="4205991" cy="1272538"/>
            <a:chOff x="6283028" y="2307760"/>
            <a:chExt cx="4205991" cy="1272538"/>
          </a:xfrm>
        </p:grpSpPr>
        <p:sp>
          <p:nvSpPr>
            <p:cNvPr id="228" name="フリーフォーム: 図形 227">
              <a:extLst>
                <a:ext uri="{FF2B5EF4-FFF2-40B4-BE49-F238E27FC236}">
                  <a16:creationId xmlns:a16="http://schemas.microsoft.com/office/drawing/2014/main" id="{3BD809F2-25E5-8CDD-960C-4FB60C216BFE}"/>
                </a:ext>
              </a:extLst>
            </p:cNvPr>
            <p:cNvSpPr/>
            <p:nvPr/>
          </p:nvSpPr>
          <p:spPr>
            <a:xfrm rot="9346953" flipH="1" flipV="1">
              <a:off x="7476394" y="303241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229" name="四角形: 角を丸くする 228">
              <a:extLst>
                <a:ext uri="{FF2B5EF4-FFF2-40B4-BE49-F238E27FC236}">
                  <a16:creationId xmlns:a16="http://schemas.microsoft.com/office/drawing/2014/main" id="{53A5D0E1-04B5-0338-A75A-B5800A538244}"/>
                </a:ext>
              </a:extLst>
            </p:cNvPr>
            <p:cNvSpPr/>
            <p:nvPr/>
          </p:nvSpPr>
          <p:spPr>
            <a:xfrm>
              <a:off x="6283028" y="2307760"/>
              <a:ext cx="4205991" cy="1135160"/>
            </a:xfrm>
            <a:prstGeom prst="roundRect">
              <a:avLst>
                <a:gd name="adj" fmla="val 6557"/>
              </a:avLst>
            </a:prstGeom>
            <a:solidFill>
              <a:schemeClr val="bg1"/>
            </a:solidFill>
            <a:ln w="20168" cap="flat">
              <a:noFill/>
              <a:prstDash val="solid"/>
              <a:miter/>
            </a:ln>
          </p:spPr>
          <p:txBody>
            <a:bodyPr wrap="square" lIns="252000" tIns="180000" rIns="216000" bIns="180000" rtlCol="0" anchor="t">
              <a:spAutoFit/>
            </a:bodyPr>
            <a:lstStyle/>
            <a:p>
              <a:pPr>
                <a:lnSpc>
                  <a:spcPct val="110000"/>
                </a:lnSpc>
                <a:spcAft>
                  <a:spcPts val="1100"/>
                </a:spcAft>
              </a:pPr>
              <a:r>
                <a:rPr lang="ja-JP" altLang="en-US" sz="2200" dirty="0">
                  <a:latin typeface="+mj-ea"/>
                  <a:ea typeface="+mj-ea"/>
                </a:rPr>
                <a:t>西日本で最も高い山の</a:t>
              </a:r>
              <a:br>
                <a:rPr lang="ja-JP" altLang="en-US" sz="2200" dirty="0">
                  <a:latin typeface="+mj-ea"/>
                  <a:ea typeface="+mj-ea"/>
                </a:rPr>
              </a:br>
              <a:r>
                <a:rPr lang="en-US" altLang="ja-JP" sz="2200" dirty="0">
                  <a:latin typeface="+mj-ea"/>
                  <a:ea typeface="+mj-ea"/>
                </a:rPr>
                <a:t>TOP10</a:t>
              </a:r>
              <a:r>
                <a:rPr lang="ja-JP" altLang="en-US" sz="2200" dirty="0">
                  <a:latin typeface="+mj-ea"/>
                  <a:ea typeface="+mj-ea"/>
                </a:rPr>
                <a:t>を教えてください</a:t>
              </a:r>
            </a:p>
          </p:txBody>
        </p:sp>
      </p:grpSp>
      <p:grpSp>
        <p:nvGrpSpPr>
          <p:cNvPr id="198" name="グループ化 197">
            <a:extLst>
              <a:ext uri="{FF2B5EF4-FFF2-40B4-BE49-F238E27FC236}">
                <a16:creationId xmlns:a16="http://schemas.microsoft.com/office/drawing/2014/main" id="{7FF53A53-D7A4-9519-F2E7-4FC00DBA5C50}"/>
              </a:ext>
            </a:extLst>
          </p:cNvPr>
          <p:cNvGrpSpPr/>
          <p:nvPr/>
        </p:nvGrpSpPr>
        <p:grpSpPr>
          <a:xfrm>
            <a:off x="1179270" y="7149155"/>
            <a:ext cx="4205992" cy="2331649"/>
            <a:chOff x="1179270" y="7064599"/>
            <a:chExt cx="4205992" cy="2331649"/>
          </a:xfrm>
        </p:grpSpPr>
        <p:sp>
          <p:nvSpPr>
            <p:cNvPr id="245" name="四角形: 上の 2 つの角を丸める 244">
              <a:extLst>
                <a:ext uri="{FF2B5EF4-FFF2-40B4-BE49-F238E27FC236}">
                  <a16:creationId xmlns:a16="http://schemas.microsoft.com/office/drawing/2014/main" id="{C75D6F34-FCB4-ADAA-15D9-B7975FFB638C}"/>
                </a:ext>
              </a:extLst>
            </p:cNvPr>
            <p:cNvSpPr/>
            <p:nvPr/>
          </p:nvSpPr>
          <p:spPr>
            <a:xfrm>
              <a:off x="1179270" y="7064599"/>
              <a:ext cx="4205991" cy="386831"/>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algn="ctr"/>
              <a:r>
                <a:rPr kumimoji="1" lang="ja-JP" altLang="en-US" sz="2000" spc="300" dirty="0">
                  <a:solidFill>
                    <a:schemeClr val="bg1"/>
                  </a:solidFill>
                  <a:latin typeface="+mj-ea"/>
                  <a:ea typeface="+mj-ea"/>
                </a:rPr>
                <a:t>生成されたリストの課題</a:t>
              </a:r>
            </a:p>
          </p:txBody>
        </p:sp>
        <p:sp>
          <p:nvSpPr>
            <p:cNvPr id="246" name="四角形: 上の 2 つの角を丸める 245">
              <a:extLst>
                <a:ext uri="{FF2B5EF4-FFF2-40B4-BE49-F238E27FC236}">
                  <a16:creationId xmlns:a16="http://schemas.microsoft.com/office/drawing/2014/main" id="{BBB90257-FEFF-308E-BFA0-5DCDD533320E}"/>
                </a:ext>
              </a:extLst>
            </p:cNvPr>
            <p:cNvSpPr/>
            <p:nvPr/>
          </p:nvSpPr>
          <p:spPr>
            <a:xfrm>
              <a:off x="1179271" y="7460077"/>
              <a:ext cx="4205991" cy="1936171"/>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16000" rIns="216000" bIns="216000" rtlCol="0" anchor="t">
              <a:noAutofit/>
            </a:bodyPr>
            <a:lstStyle/>
            <a:p>
              <a:pPr marL="288000" indent="-288000">
                <a:lnSpc>
                  <a:spcPct val="120000"/>
                </a:lnSpc>
                <a:spcAft>
                  <a:spcPts val="1000"/>
                </a:spcAft>
                <a:buClr>
                  <a:schemeClr val="accent3"/>
                </a:buClr>
                <a:buFont typeface="Arial" panose="020B0604020202020204" pitchFamily="34" charset="0"/>
                <a:buChar char="•"/>
              </a:pPr>
              <a:r>
                <a:rPr kumimoji="1" lang="ja-JP" altLang="en-US" sz="2200" spc="100" dirty="0">
                  <a:solidFill>
                    <a:schemeClr val="tx1"/>
                  </a:solidFill>
                  <a:latin typeface="+mn-ea"/>
                </a:rPr>
                <a:t>実在しない山の名前が</a:t>
              </a:r>
              <a:br>
                <a:rPr kumimoji="1" lang="en-US" altLang="ja-JP" sz="2200" spc="100" dirty="0">
                  <a:solidFill>
                    <a:schemeClr val="tx1"/>
                  </a:solidFill>
                  <a:latin typeface="+mn-ea"/>
                </a:rPr>
              </a:br>
              <a:r>
                <a:rPr kumimoji="1" lang="ja-JP" altLang="en-US" sz="2200" spc="100" dirty="0">
                  <a:solidFill>
                    <a:schemeClr val="tx1"/>
                  </a:solidFill>
                  <a:latin typeface="+mn-ea"/>
                </a:rPr>
                <a:t>含まれる</a:t>
              </a:r>
            </a:p>
            <a:p>
              <a:pPr marL="288000" indent="-288000">
                <a:lnSpc>
                  <a:spcPct val="120000"/>
                </a:lnSpc>
                <a:spcAft>
                  <a:spcPts val="1000"/>
                </a:spcAft>
                <a:buClr>
                  <a:schemeClr val="accent3"/>
                </a:buClr>
                <a:buFont typeface="Arial" panose="020B0604020202020204" pitchFamily="34" charset="0"/>
                <a:buChar char="•"/>
              </a:pPr>
              <a:r>
                <a:rPr kumimoji="1" lang="ja-JP" altLang="en-US" sz="2200" spc="100" dirty="0">
                  <a:solidFill>
                    <a:schemeClr val="tx1"/>
                  </a:solidFill>
                  <a:latin typeface="+mn-ea"/>
                </a:rPr>
                <a:t>標高が不正確</a:t>
              </a:r>
            </a:p>
          </p:txBody>
        </p:sp>
      </p:grpSp>
      <p:grpSp>
        <p:nvGrpSpPr>
          <p:cNvPr id="253" name="グループ化 252">
            <a:extLst>
              <a:ext uri="{FF2B5EF4-FFF2-40B4-BE49-F238E27FC236}">
                <a16:creationId xmlns:a16="http://schemas.microsoft.com/office/drawing/2014/main" id="{94D3C777-CC06-F22A-D6B8-1B6E80B50098}"/>
              </a:ext>
            </a:extLst>
          </p:cNvPr>
          <p:cNvGrpSpPr/>
          <p:nvPr/>
        </p:nvGrpSpPr>
        <p:grpSpPr>
          <a:xfrm>
            <a:off x="7906181" y="6258196"/>
            <a:ext cx="253958" cy="686498"/>
            <a:chOff x="5927095" y="3909848"/>
            <a:chExt cx="224084" cy="683999"/>
          </a:xfrm>
          <a:solidFill>
            <a:schemeClr val="accent2">
              <a:lumMod val="60000"/>
              <a:lumOff val="40000"/>
            </a:schemeClr>
          </a:solidFill>
        </p:grpSpPr>
        <p:sp>
          <p:nvSpPr>
            <p:cNvPr id="194" name="二等辺三角形 193">
              <a:extLst>
                <a:ext uri="{FF2B5EF4-FFF2-40B4-BE49-F238E27FC236}">
                  <a16:creationId xmlns:a16="http://schemas.microsoft.com/office/drawing/2014/main" id="{5CB3E19F-4406-626E-68D5-A7AD5A90E68D}"/>
                </a:ext>
              </a:extLst>
            </p:cNvPr>
            <p:cNvSpPr/>
            <p:nvPr/>
          </p:nvSpPr>
          <p:spPr>
            <a:xfrm flipV="1">
              <a:off x="5927095" y="3909848"/>
              <a:ext cx="224084" cy="168166"/>
            </a:xfrm>
            <a:prstGeom prst="triangle">
              <a:avLst/>
            </a:prstGeom>
            <a:solidFill>
              <a:schemeClr val="accent2">
                <a:lumMod val="40000"/>
                <a:lumOff val="6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5" name="二等辺三角形 194">
              <a:extLst>
                <a:ext uri="{FF2B5EF4-FFF2-40B4-BE49-F238E27FC236}">
                  <a16:creationId xmlns:a16="http://schemas.microsoft.com/office/drawing/2014/main" id="{AA4EAE57-9737-ACF5-7D6C-508F5E2E6124}"/>
                </a:ext>
              </a:extLst>
            </p:cNvPr>
            <p:cNvSpPr/>
            <p:nvPr/>
          </p:nvSpPr>
          <p:spPr>
            <a:xfrm flipV="1">
              <a:off x="5927095" y="4167765"/>
              <a:ext cx="224084" cy="168166"/>
            </a:xfrm>
            <a:prstGeom prst="triangle">
              <a:avLst/>
            </a:prstGeom>
            <a:solidFill>
              <a:schemeClr val="accent2">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96" name="二等辺三角形 195">
              <a:extLst>
                <a:ext uri="{FF2B5EF4-FFF2-40B4-BE49-F238E27FC236}">
                  <a16:creationId xmlns:a16="http://schemas.microsoft.com/office/drawing/2014/main" id="{19BE272E-A4D2-E3D5-418B-16A28EC21117}"/>
                </a:ext>
              </a:extLst>
            </p:cNvPr>
            <p:cNvSpPr/>
            <p:nvPr/>
          </p:nvSpPr>
          <p:spPr>
            <a:xfrm flipV="1">
              <a:off x="5927095" y="4425681"/>
              <a:ext cx="224084" cy="168166"/>
            </a:xfrm>
            <a:prstGeom prst="triangle">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54" name="グループ化 253">
            <a:extLst>
              <a:ext uri="{FF2B5EF4-FFF2-40B4-BE49-F238E27FC236}">
                <a16:creationId xmlns:a16="http://schemas.microsoft.com/office/drawing/2014/main" id="{BDD7D1E8-0726-6068-D129-750D570D69F2}"/>
              </a:ext>
            </a:extLst>
          </p:cNvPr>
          <p:cNvGrpSpPr/>
          <p:nvPr/>
        </p:nvGrpSpPr>
        <p:grpSpPr>
          <a:xfrm>
            <a:off x="5930165" y="3600867"/>
            <a:ext cx="4205991" cy="2591283"/>
            <a:chOff x="6283028" y="989015"/>
            <a:chExt cx="4205991" cy="2591283"/>
          </a:xfrm>
        </p:grpSpPr>
        <p:sp>
          <p:nvSpPr>
            <p:cNvPr id="255" name="フリーフォーム: 図形 254">
              <a:extLst>
                <a:ext uri="{FF2B5EF4-FFF2-40B4-BE49-F238E27FC236}">
                  <a16:creationId xmlns:a16="http://schemas.microsoft.com/office/drawing/2014/main" id="{70C1FF22-683C-93FE-0391-859638E1D1F9}"/>
                </a:ext>
              </a:extLst>
            </p:cNvPr>
            <p:cNvSpPr/>
            <p:nvPr/>
          </p:nvSpPr>
          <p:spPr>
            <a:xfrm rot="9346953" flipH="1" flipV="1">
              <a:off x="7476394" y="3032410"/>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192" name="四角形: 角を丸くする 191">
              <a:extLst>
                <a:ext uri="{FF2B5EF4-FFF2-40B4-BE49-F238E27FC236}">
                  <a16:creationId xmlns:a16="http://schemas.microsoft.com/office/drawing/2014/main" id="{E1B98008-2395-0EAE-2CEC-3BD0F8133EFC}"/>
                </a:ext>
              </a:extLst>
            </p:cNvPr>
            <p:cNvSpPr/>
            <p:nvPr/>
          </p:nvSpPr>
          <p:spPr>
            <a:xfrm>
              <a:off x="6283028" y="989015"/>
              <a:ext cx="4205991" cy="2462643"/>
            </a:xfrm>
            <a:prstGeom prst="roundRect">
              <a:avLst>
                <a:gd name="adj" fmla="val 6557"/>
              </a:avLst>
            </a:prstGeom>
            <a:solidFill>
              <a:schemeClr val="bg1"/>
            </a:solidFill>
            <a:ln w="20168" cap="flat">
              <a:noFill/>
              <a:prstDash val="solid"/>
              <a:miter/>
            </a:ln>
          </p:spPr>
          <p:txBody>
            <a:bodyPr wrap="square" lIns="252000" tIns="180000" rIns="216000" bIns="180000" rtlCol="0" anchor="t">
              <a:spAutoFit/>
            </a:bodyPr>
            <a:lstStyle/>
            <a:p>
              <a:pPr>
                <a:lnSpc>
                  <a:spcPct val="120000"/>
                </a:lnSpc>
                <a:spcAft>
                  <a:spcPts val="1100"/>
                </a:spcAft>
              </a:pPr>
              <a:r>
                <a:rPr lang="en-US" altLang="ja-JP" sz="2200" dirty="0">
                  <a:latin typeface="+mj-ea"/>
                  <a:ea typeface="+mj-ea"/>
                </a:rPr>
                <a:t>XXX</a:t>
              </a:r>
              <a:r>
                <a:rPr lang="ja-JP" altLang="en-US" sz="2200" dirty="0">
                  <a:latin typeface="+mj-ea"/>
                  <a:ea typeface="+mj-ea"/>
                </a:rPr>
                <a:t>駅周辺で</a:t>
              </a:r>
              <a:br>
                <a:rPr lang="ja-JP" altLang="en-US" sz="2200" dirty="0">
                  <a:latin typeface="+mj-ea"/>
                  <a:ea typeface="+mj-ea"/>
                </a:rPr>
              </a:br>
              <a:r>
                <a:rPr lang="ja-JP" altLang="en-US" sz="2200" dirty="0">
                  <a:latin typeface="+mj-ea"/>
                  <a:ea typeface="+mj-ea"/>
                </a:rPr>
                <a:t>平日ランチにおすすめな和食のお店を</a:t>
              </a:r>
              <a:r>
                <a:rPr lang="en-US" altLang="ja-JP" sz="2200" dirty="0">
                  <a:latin typeface="+mj-ea"/>
                  <a:ea typeface="+mj-ea"/>
                </a:rPr>
                <a:t>5</a:t>
              </a:r>
              <a:r>
                <a:rPr lang="ja-JP" altLang="en-US" sz="2200" dirty="0">
                  <a:latin typeface="+mj-ea"/>
                  <a:ea typeface="+mj-ea"/>
                </a:rPr>
                <a:t>つ教えて。</a:t>
              </a:r>
              <a:br>
                <a:rPr lang="ja-JP" altLang="en-US" sz="2200" dirty="0">
                  <a:latin typeface="+mj-ea"/>
                  <a:ea typeface="+mj-ea"/>
                </a:rPr>
              </a:br>
              <a:r>
                <a:rPr lang="ja-JP" altLang="en-US" sz="2200" dirty="0">
                  <a:latin typeface="+mj-ea"/>
                  <a:ea typeface="+mj-ea"/>
                </a:rPr>
                <a:t>予算は</a:t>
              </a:r>
              <a:r>
                <a:rPr lang="en-US" altLang="ja-JP" sz="2200" dirty="0">
                  <a:latin typeface="+mj-ea"/>
                  <a:ea typeface="+mj-ea"/>
                </a:rPr>
                <a:t>1</a:t>
              </a:r>
              <a:r>
                <a:rPr lang="ja-JP" altLang="en-US" sz="2200" dirty="0">
                  <a:latin typeface="+mj-ea"/>
                  <a:ea typeface="+mj-ea"/>
                </a:rPr>
                <a:t>人あたり</a:t>
              </a:r>
              <a:r>
                <a:rPr lang="en-US" altLang="ja-JP" sz="2200" dirty="0">
                  <a:latin typeface="+mj-ea"/>
                  <a:ea typeface="+mj-ea"/>
                </a:rPr>
                <a:t>XXX</a:t>
              </a:r>
              <a:r>
                <a:rPr lang="ja-JP" altLang="en-US" sz="2200" dirty="0">
                  <a:latin typeface="+mj-ea"/>
                  <a:ea typeface="+mj-ea"/>
                </a:rPr>
                <a:t>円以内。</a:t>
              </a:r>
              <a:br>
                <a:rPr lang="ja-JP" altLang="en-US" sz="2200" dirty="0">
                  <a:latin typeface="+mj-ea"/>
                  <a:ea typeface="+mj-ea"/>
                </a:rPr>
              </a:br>
              <a:r>
                <a:rPr lang="en-US" altLang="ja-JP" sz="2200" dirty="0">
                  <a:latin typeface="+mj-ea"/>
                  <a:ea typeface="+mj-ea"/>
                </a:rPr>
                <a:t>XXX</a:t>
              </a:r>
              <a:r>
                <a:rPr lang="ja-JP" altLang="en-US" sz="2200" dirty="0">
                  <a:latin typeface="+mj-ea"/>
                  <a:ea typeface="+mj-ea"/>
                </a:rPr>
                <a:t>から徒歩</a:t>
              </a:r>
              <a:r>
                <a:rPr lang="en-US" altLang="ja-JP" sz="2200" dirty="0">
                  <a:latin typeface="+mj-ea"/>
                  <a:ea typeface="+mj-ea"/>
                </a:rPr>
                <a:t>5</a:t>
              </a:r>
              <a:r>
                <a:rPr lang="ja-JP" altLang="en-US" sz="2200" dirty="0">
                  <a:latin typeface="+mj-ea"/>
                  <a:ea typeface="+mj-ea"/>
                </a:rPr>
                <a:t>分以内。</a:t>
              </a:r>
            </a:p>
          </p:txBody>
        </p:sp>
      </p:grpSp>
      <p:grpSp>
        <p:nvGrpSpPr>
          <p:cNvPr id="199" name="グループ化 198">
            <a:extLst>
              <a:ext uri="{FF2B5EF4-FFF2-40B4-BE49-F238E27FC236}">
                <a16:creationId xmlns:a16="http://schemas.microsoft.com/office/drawing/2014/main" id="{7765AE4C-66D2-1E0F-A05B-BDD660D78DC3}"/>
              </a:ext>
            </a:extLst>
          </p:cNvPr>
          <p:cNvGrpSpPr/>
          <p:nvPr/>
        </p:nvGrpSpPr>
        <p:grpSpPr>
          <a:xfrm>
            <a:off x="5848172" y="7149155"/>
            <a:ext cx="4369975" cy="2338014"/>
            <a:chOff x="5930163" y="7064599"/>
            <a:chExt cx="4369975" cy="2338014"/>
          </a:xfrm>
        </p:grpSpPr>
        <p:sp>
          <p:nvSpPr>
            <p:cNvPr id="251" name="四角形: 上の 2 つの角を丸める 250">
              <a:extLst>
                <a:ext uri="{FF2B5EF4-FFF2-40B4-BE49-F238E27FC236}">
                  <a16:creationId xmlns:a16="http://schemas.microsoft.com/office/drawing/2014/main" id="{8F2978B6-459D-8E54-AE24-5D2BD565912F}"/>
                </a:ext>
              </a:extLst>
            </p:cNvPr>
            <p:cNvSpPr/>
            <p:nvPr/>
          </p:nvSpPr>
          <p:spPr>
            <a:xfrm>
              <a:off x="5930163" y="7064599"/>
              <a:ext cx="4369974" cy="386831"/>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pPr algn="ctr"/>
              <a:r>
                <a:rPr kumimoji="1" lang="ja-JP" altLang="en-US" sz="2000" spc="300" dirty="0">
                  <a:solidFill>
                    <a:schemeClr val="bg1"/>
                  </a:solidFill>
                  <a:latin typeface="+mj-ea"/>
                  <a:ea typeface="+mj-ea"/>
                </a:rPr>
                <a:t>生成されたリストの課題</a:t>
              </a:r>
            </a:p>
          </p:txBody>
        </p:sp>
        <p:sp>
          <p:nvSpPr>
            <p:cNvPr id="252" name="四角形: 上の 2 つの角を丸める 251">
              <a:extLst>
                <a:ext uri="{FF2B5EF4-FFF2-40B4-BE49-F238E27FC236}">
                  <a16:creationId xmlns:a16="http://schemas.microsoft.com/office/drawing/2014/main" id="{01426B5C-8945-86A6-3544-C104C0F7FDFC}"/>
                </a:ext>
              </a:extLst>
            </p:cNvPr>
            <p:cNvSpPr/>
            <p:nvPr/>
          </p:nvSpPr>
          <p:spPr>
            <a:xfrm>
              <a:off x="5930164" y="7460077"/>
              <a:ext cx="4369974" cy="1942536"/>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16000" rIns="216000" bIns="216000" rtlCol="0" anchor="t">
              <a:spAutoFit/>
            </a:bodyPr>
            <a:lstStyle/>
            <a:p>
              <a:pPr marL="288000" indent="-288000">
                <a:lnSpc>
                  <a:spcPct val="120000"/>
                </a:lnSpc>
                <a:spcAft>
                  <a:spcPts val="1000"/>
                </a:spcAft>
                <a:buClr>
                  <a:schemeClr val="accent3"/>
                </a:buClr>
                <a:buFont typeface="Arial" panose="020B0604020202020204" pitchFamily="34" charset="0"/>
                <a:buChar char="•"/>
              </a:pPr>
              <a:r>
                <a:rPr kumimoji="1" lang="ja-JP" altLang="en-US" sz="2200" spc="100" dirty="0">
                  <a:solidFill>
                    <a:schemeClr val="tx1"/>
                  </a:solidFill>
                  <a:latin typeface="+mn-ea"/>
                </a:rPr>
                <a:t>存在しないお店が含まれる</a:t>
              </a:r>
            </a:p>
            <a:p>
              <a:pPr marL="288000" indent="-288000">
                <a:lnSpc>
                  <a:spcPct val="120000"/>
                </a:lnSpc>
                <a:spcAft>
                  <a:spcPts val="1000"/>
                </a:spcAft>
                <a:buClr>
                  <a:schemeClr val="accent3"/>
                </a:buClr>
                <a:buFont typeface="Arial" panose="020B0604020202020204" pitchFamily="34" charset="0"/>
                <a:buChar char="•"/>
              </a:pPr>
              <a:r>
                <a:rPr kumimoji="1" lang="ja-JP" altLang="en-US" sz="2200" spc="100" dirty="0">
                  <a:solidFill>
                    <a:schemeClr val="tx1"/>
                  </a:solidFill>
                  <a:latin typeface="+mn-ea"/>
                </a:rPr>
                <a:t>お店の場所が全く違う</a:t>
              </a:r>
            </a:p>
            <a:p>
              <a:pPr marL="288000" indent="-288000">
                <a:lnSpc>
                  <a:spcPct val="120000"/>
                </a:lnSpc>
                <a:spcAft>
                  <a:spcPts val="1000"/>
                </a:spcAft>
                <a:buClr>
                  <a:schemeClr val="accent3"/>
                </a:buClr>
                <a:buFont typeface="Arial" panose="020B0604020202020204" pitchFamily="34" charset="0"/>
                <a:buChar char="•"/>
              </a:pPr>
              <a:r>
                <a:rPr kumimoji="1" lang="ja-JP" altLang="en-US" sz="2200" spc="100" dirty="0">
                  <a:solidFill>
                    <a:schemeClr val="tx1"/>
                  </a:solidFill>
                  <a:latin typeface="+mn-ea"/>
                </a:rPr>
                <a:t>予算を大幅超過</a:t>
              </a:r>
            </a:p>
          </p:txBody>
        </p:sp>
      </p:grpSp>
      <p:pic>
        <p:nvPicPr>
          <p:cNvPr id="11" name="グラフィックス 10">
            <a:extLst>
              <a:ext uri="{FF2B5EF4-FFF2-40B4-BE49-F238E27FC236}">
                <a16:creationId xmlns:a16="http://schemas.microsoft.com/office/drawing/2014/main" id="{0567AF2E-E21F-8180-733D-B9A63231200B}"/>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6245680" y="5900006"/>
            <a:ext cx="1049683" cy="1107260"/>
          </a:xfrm>
          <a:prstGeom prst="rect">
            <a:avLst/>
          </a:prstGeom>
        </p:spPr>
      </p:pic>
      <p:pic>
        <p:nvPicPr>
          <p:cNvPr id="15" name="グラフィックス 14">
            <a:extLst>
              <a:ext uri="{FF2B5EF4-FFF2-40B4-BE49-F238E27FC236}">
                <a16:creationId xmlns:a16="http://schemas.microsoft.com/office/drawing/2014/main" id="{8A52F38E-F51F-09ED-EE96-CF8236D080A6}"/>
              </a:ext>
            </a:extLst>
          </p:cNvPr>
          <p:cNvPicPr>
            <a:picLocks noChangeAspect="1"/>
          </p:cNvPicPr>
          <p:nvPr/>
        </p:nvPicPr>
        <p:blipFill>
          <a:blip r:embed="rId6">
            <a:extLst>
              <a:ext uri="{96DAC541-7B7A-43D3-8B79-37D633B846F1}">
                <asvg:svgBlip xmlns:asvg="http://schemas.microsoft.com/office/drawing/2016/SVG/main" r:embed="rId7"/>
              </a:ext>
            </a:extLst>
          </a:blip>
          <a:stretch>
            <a:fillRect/>
          </a:stretch>
        </p:blipFill>
        <p:spPr>
          <a:xfrm>
            <a:off x="1498753" y="5900006"/>
            <a:ext cx="971782" cy="1112554"/>
          </a:xfrm>
          <a:prstGeom prst="rect">
            <a:avLst/>
          </a:prstGeom>
        </p:spPr>
      </p:pic>
      <p:sp>
        <p:nvSpPr>
          <p:cNvPr id="7" name="スライド番号プレースホルダー 6">
            <a:extLst>
              <a:ext uri="{FF2B5EF4-FFF2-40B4-BE49-F238E27FC236}">
                <a16:creationId xmlns:a16="http://schemas.microsoft.com/office/drawing/2014/main" id="{6E848CDE-BA1F-C295-1ABE-1D314A579C63}"/>
              </a:ext>
            </a:extLst>
          </p:cNvPr>
          <p:cNvSpPr>
            <a:spLocks noGrp="1"/>
          </p:cNvSpPr>
          <p:nvPr>
            <p:ph type="sldNum" sz="quarter" idx="11"/>
          </p:nvPr>
        </p:nvSpPr>
        <p:spPr>
          <a:xfrm>
            <a:off x="17695001" y="9786651"/>
            <a:ext cx="327013" cy="307777"/>
          </a:xfrm>
        </p:spPr>
        <p:txBody>
          <a:bodyPr/>
          <a:lstStyle/>
          <a:p>
            <a:r>
              <a:rPr lang="en-US" altLang="ja-JP"/>
              <a:t>36</a:t>
            </a:r>
            <a:endParaRPr lang="ja-JP" altLang="en-US" dirty="0"/>
          </a:p>
        </p:txBody>
      </p:sp>
    </p:spTree>
    <p:extLst>
      <p:ext uri="{BB962C8B-B14F-4D97-AF65-F5344CB8AC3E}">
        <p14:creationId xmlns:p14="http://schemas.microsoft.com/office/powerpoint/2010/main" val="1421058714"/>
      </p:ext>
    </p:extLst>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04377E7D-9431-00C9-66E5-45E4B6B36CD8}"/>
              </a:ext>
            </a:extLst>
          </p:cNvPr>
          <p:cNvSpPr>
            <a:spLocks noGrp="1"/>
          </p:cNvSpPr>
          <p:nvPr>
            <p:ph type="title"/>
          </p:nvPr>
        </p:nvSpPr>
        <p:spPr>
          <a:xfrm>
            <a:off x="891741" y="506301"/>
            <a:ext cx="14241078" cy="492443"/>
          </a:xfrm>
        </p:spPr>
        <p:txBody>
          <a:bodyPr/>
          <a:lstStyle/>
          <a:p>
            <a:r>
              <a:rPr lang="ja-JP" altLang="en-US" dirty="0"/>
              <a:t>偽・誤情報に騙されない・拡散しないため、</a:t>
            </a:r>
            <a:r>
              <a:rPr lang="en-US" altLang="ja-JP" dirty="0"/>
              <a:t>3</a:t>
            </a:r>
            <a:r>
              <a:rPr lang="ja-JP" altLang="en-US" dirty="0"/>
              <a:t>つのポイントを常に意識する</a:t>
            </a:r>
          </a:p>
        </p:txBody>
      </p:sp>
      <p:sp>
        <p:nvSpPr>
          <p:cNvPr id="97" name="テキスト ボックス 96">
            <a:extLst>
              <a:ext uri="{FF2B5EF4-FFF2-40B4-BE49-F238E27FC236}">
                <a16:creationId xmlns:a16="http://schemas.microsoft.com/office/drawing/2014/main" id="{AFE21634-DD31-31E0-7A5C-292CBD42EC54}"/>
              </a:ext>
            </a:extLst>
          </p:cNvPr>
          <p:cNvSpPr txBox="1"/>
          <p:nvPr/>
        </p:nvSpPr>
        <p:spPr>
          <a:xfrm>
            <a:off x="372103" y="9832817"/>
            <a:ext cx="7739298"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総務省「インターネットとの向き合い方～ニセ・誤情報に騙されないために～」</a:t>
            </a:r>
          </a:p>
        </p:txBody>
      </p:sp>
      <p:grpSp>
        <p:nvGrpSpPr>
          <p:cNvPr id="22" name="グループ化 21">
            <a:extLst>
              <a:ext uri="{FF2B5EF4-FFF2-40B4-BE49-F238E27FC236}">
                <a16:creationId xmlns:a16="http://schemas.microsoft.com/office/drawing/2014/main" id="{053CA152-229A-7820-8448-D6127F39F3AB}"/>
              </a:ext>
            </a:extLst>
          </p:cNvPr>
          <p:cNvGrpSpPr/>
          <p:nvPr/>
        </p:nvGrpSpPr>
        <p:grpSpPr>
          <a:xfrm>
            <a:off x="891741" y="1528749"/>
            <a:ext cx="5217657" cy="7909542"/>
            <a:chOff x="891741" y="1528749"/>
            <a:chExt cx="5217657" cy="7909542"/>
          </a:xfrm>
        </p:grpSpPr>
        <p:sp>
          <p:nvSpPr>
            <p:cNvPr id="3" name="四角形: 角を丸くする 2">
              <a:extLst>
                <a:ext uri="{FF2B5EF4-FFF2-40B4-BE49-F238E27FC236}">
                  <a16:creationId xmlns:a16="http://schemas.microsoft.com/office/drawing/2014/main" id="{2387CB4B-D971-BC64-F5ED-2823CBEDE2DF}"/>
                </a:ext>
              </a:extLst>
            </p:cNvPr>
            <p:cNvSpPr/>
            <p:nvPr/>
          </p:nvSpPr>
          <p:spPr>
            <a:xfrm>
              <a:off x="891741" y="1859807"/>
              <a:ext cx="5217657" cy="7578484"/>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C7AFDA6B-4A47-CC54-0F74-1DA8C445DEAB}"/>
                </a:ext>
              </a:extLst>
            </p:cNvPr>
            <p:cNvSpPr/>
            <p:nvPr/>
          </p:nvSpPr>
          <p:spPr>
            <a:xfrm>
              <a:off x="2303074" y="1528749"/>
              <a:ext cx="2394991"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ポイント１</a:t>
              </a:r>
            </a:p>
          </p:txBody>
        </p:sp>
        <p:pic>
          <p:nvPicPr>
            <p:cNvPr id="15" name="図 14">
              <a:extLst>
                <a:ext uri="{FF2B5EF4-FFF2-40B4-BE49-F238E27FC236}">
                  <a16:creationId xmlns:a16="http://schemas.microsoft.com/office/drawing/2014/main" id="{318420B9-D376-800F-FD37-8AAE27906C79}"/>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944111" y="2374090"/>
              <a:ext cx="3349801" cy="3572132"/>
            </a:xfrm>
            <a:prstGeom prst="rect">
              <a:avLst/>
            </a:prstGeom>
          </p:spPr>
        </p:pic>
        <p:sp>
          <p:nvSpPr>
            <p:cNvPr id="17" name="テキスト ボックス 16">
              <a:extLst>
                <a:ext uri="{FF2B5EF4-FFF2-40B4-BE49-F238E27FC236}">
                  <a16:creationId xmlns:a16="http://schemas.microsoft.com/office/drawing/2014/main" id="{84C22D5B-61EA-8036-E42A-47D5DB6832AE}"/>
                </a:ext>
              </a:extLst>
            </p:cNvPr>
            <p:cNvSpPr txBox="1"/>
            <p:nvPr/>
          </p:nvSpPr>
          <p:spPr>
            <a:xfrm>
              <a:off x="1496546" y="6200587"/>
              <a:ext cx="4001095" cy="2965492"/>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2400" b="0" i="0" u="none" strike="noStrike" kern="1200" cap="none" spc="0" normalizeH="0" baseline="0" noProof="0" dirty="0">
                  <a:ln>
                    <a:noFill/>
                  </a:ln>
                  <a:solidFill>
                    <a:srgbClr val="3C3C3C"/>
                  </a:solidFill>
                  <a:effectLst/>
                  <a:uLnTx/>
                  <a:uFillTx/>
                  <a:latin typeface="+mn-ea"/>
                  <a:cs typeface="+mn-cs"/>
                </a:rPr>
                <a:t>人は信じたいものを選ぶ</a:t>
              </a:r>
              <a:br>
                <a:rPr kumimoji="1" lang="en-US" altLang="ja-JP" sz="2400" b="0" i="0" u="none" strike="noStrike" kern="1200" cap="none" spc="0" normalizeH="0" baseline="0" noProof="0" dirty="0">
                  <a:ln>
                    <a:noFill/>
                  </a:ln>
                  <a:solidFill>
                    <a:srgbClr val="3C3C3C"/>
                  </a:solidFill>
                  <a:effectLst/>
                  <a:uLnTx/>
                  <a:uFillTx/>
                  <a:latin typeface="+mn-ea"/>
                  <a:cs typeface="+mn-cs"/>
                </a:rPr>
              </a:br>
              <a:r>
                <a:rPr kumimoji="1" lang="ja-JP" altLang="en-US" sz="2400" b="0" i="0" u="none" strike="noStrike" kern="1200" cap="none" spc="0" normalizeH="0" baseline="0" noProof="0" dirty="0">
                  <a:ln>
                    <a:noFill/>
                  </a:ln>
                  <a:solidFill>
                    <a:srgbClr val="3C3C3C"/>
                  </a:solidFill>
                  <a:effectLst/>
                  <a:uLnTx/>
                  <a:uFillTx/>
                  <a:latin typeface="+mn-ea"/>
                  <a:cs typeface="+mn-cs"/>
                </a:rPr>
                <a:t>（認知バイアス）</a:t>
              </a:r>
              <a:r>
                <a:rPr lang="ja-JP" altLang="en-US" sz="2400" dirty="0">
                  <a:solidFill>
                    <a:srgbClr val="3C3C3C"/>
                  </a:solidFill>
                  <a:latin typeface="+mn-ea"/>
                </a:rPr>
                <a:t>ので、</a:t>
              </a:r>
              <a:br>
                <a:rPr kumimoji="1" lang="ja-JP" altLang="en-US" sz="2400" b="0" i="0" u="none" strike="noStrike" kern="1200" cap="none" spc="0" normalizeH="0" baseline="0" noProof="0" dirty="0">
                  <a:ln>
                    <a:noFill/>
                  </a:ln>
                  <a:solidFill>
                    <a:srgbClr val="3C3C3C"/>
                  </a:solidFill>
                  <a:effectLst/>
                  <a:uLnTx/>
                  <a:uFillTx/>
                  <a:latin typeface="+mn-ea"/>
                  <a:cs typeface="+mn-cs"/>
                </a:rPr>
              </a:br>
              <a:r>
                <a:rPr kumimoji="1" lang="ja-JP" altLang="en-US" sz="3000" b="0" i="0" u="none" strike="noStrike" kern="1200" cap="none" spc="0" normalizeH="0" baseline="0" noProof="0" dirty="0">
                  <a:ln>
                    <a:noFill/>
                  </a:ln>
                  <a:solidFill>
                    <a:schemeClr val="accent3"/>
                  </a:solidFill>
                  <a:effectLst/>
                  <a:uLnTx/>
                  <a:uFillTx/>
                  <a:latin typeface="+mj-ea"/>
                  <a:ea typeface="+mj-ea"/>
                  <a:cs typeface="+mn-cs"/>
                </a:rPr>
                <a:t>無意識のうちに</a:t>
              </a:r>
              <a:br>
                <a:rPr kumimoji="1" lang="en-US" altLang="ja-JP" sz="3000" b="0" i="0" u="none" strike="noStrike" kern="1200" cap="none" spc="0" normalizeH="0" baseline="0" noProof="0" dirty="0">
                  <a:ln>
                    <a:noFill/>
                  </a:ln>
                  <a:solidFill>
                    <a:schemeClr val="accent3"/>
                  </a:solidFill>
                  <a:effectLst/>
                  <a:uLnTx/>
                  <a:uFillTx/>
                  <a:latin typeface="+mj-ea"/>
                  <a:ea typeface="+mj-ea"/>
                  <a:cs typeface="+mn-cs"/>
                </a:rPr>
              </a:br>
              <a:r>
                <a:rPr kumimoji="1" lang="ja-JP" altLang="en-US" sz="3000" b="0" i="0" u="none" strike="noStrike" kern="1200" cap="none" spc="0" normalizeH="0" baseline="0" noProof="0" dirty="0">
                  <a:ln>
                    <a:noFill/>
                  </a:ln>
                  <a:solidFill>
                    <a:schemeClr val="accent3"/>
                  </a:solidFill>
                  <a:effectLst/>
                  <a:uLnTx/>
                  <a:uFillTx/>
                  <a:latin typeface="+mj-ea"/>
                  <a:ea typeface="+mj-ea"/>
                  <a:cs typeface="+mn-cs"/>
                </a:rPr>
                <a:t>合理的ではない行動、</a:t>
              </a:r>
              <a:br>
                <a:rPr kumimoji="1" lang="en-US" altLang="ja-JP" sz="3000" b="0" i="0" u="none" strike="noStrike" kern="1200" cap="none" spc="0" normalizeH="0" baseline="0" noProof="0" dirty="0">
                  <a:ln>
                    <a:noFill/>
                  </a:ln>
                  <a:solidFill>
                    <a:schemeClr val="accent3"/>
                  </a:solidFill>
                  <a:effectLst/>
                  <a:uLnTx/>
                  <a:uFillTx/>
                  <a:latin typeface="+mj-ea"/>
                  <a:ea typeface="+mj-ea"/>
                  <a:cs typeface="+mn-cs"/>
                </a:rPr>
              </a:br>
              <a:r>
                <a:rPr kumimoji="1" lang="ja-JP" altLang="en-US" sz="3000" b="0" i="0" u="none" strike="noStrike" kern="1200" cap="none" spc="0" normalizeH="0" baseline="0" noProof="0" dirty="0">
                  <a:ln>
                    <a:noFill/>
                  </a:ln>
                  <a:solidFill>
                    <a:schemeClr val="accent3"/>
                  </a:solidFill>
                  <a:effectLst/>
                  <a:uLnTx/>
                  <a:uFillTx/>
                  <a:latin typeface="+mj-ea"/>
                  <a:ea typeface="+mj-ea"/>
                  <a:cs typeface="+mn-cs"/>
                </a:rPr>
                <a:t>偏った判断をする</a:t>
              </a:r>
              <a:br>
                <a:rPr kumimoji="1" lang="en-US" altLang="ja-JP" sz="3000" b="0" i="0" u="none" strike="noStrike" kern="1200" cap="none" spc="0" normalizeH="0" baseline="0" noProof="0" dirty="0">
                  <a:ln>
                    <a:noFill/>
                  </a:ln>
                  <a:solidFill>
                    <a:schemeClr val="accent3"/>
                  </a:solidFill>
                  <a:effectLst/>
                  <a:uLnTx/>
                  <a:uFillTx/>
                  <a:latin typeface="+mj-ea"/>
                  <a:ea typeface="+mj-ea"/>
                  <a:cs typeface="+mn-cs"/>
                </a:rPr>
              </a:br>
              <a:r>
                <a:rPr kumimoji="1" lang="ja-JP" altLang="en-US" sz="2400" b="0" i="0" u="none" strike="noStrike" kern="1200" cap="none" spc="0" normalizeH="0" baseline="0" noProof="0" dirty="0">
                  <a:ln>
                    <a:noFill/>
                  </a:ln>
                  <a:effectLst/>
                  <a:uLnTx/>
                  <a:uFillTx/>
                  <a:latin typeface="+mn-ea"/>
                  <a:cs typeface="+mn-cs"/>
                </a:rPr>
                <a:t>ことがあるという意識をもつ</a:t>
              </a:r>
              <a:endParaRPr kumimoji="1" lang="ja-JP" altLang="en-US" sz="2800" b="0" i="0" u="none" strike="noStrike" kern="1200" cap="none" spc="0" normalizeH="0" baseline="0" noProof="0" dirty="0">
                <a:ln>
                  <a:noFill/>
                </a:ln>
                <a:effectLst/>
                <a:uLnTx/>
                <a:uFillTx/>
                <a:latin typeface="+mn-ea"/>
                <a:cs typeface="+mn-cs"/>
              </a:endParaRPr>
            </a:p>
          </p:txBody>
        </p:sp>
      </p:grpSp>
      <p:sp>
        <p:nvSpPr>
          <p:cNvPr id="6" name="スライド番号プレースホルダー 5">
            <a:extLst>
              <a:ext uri="{FF2B5EF4-FFF2-40B4-BE49-F238E27FC236}">
                <a16:creationId xmlns:a16="http://schemas.microsoft.com/office/drawing/2014/main" id="{9023B5BB-73B4-F008-A211-D7FFE8DC6AFA}"/>
              </a:ext>
            </a:extLst>
          </p:cNvPr>
          <p:cNvSpPr>
            <a:spLocks noGrp="1"/>
          </p:cNvSpPr>
          <p:nvPr>
            <p:ph type="sldNum" sz="quarter" idx="11"/>
          </p:nvPr>
        </p:nvSpPr>
        <p:spPr>
          <a:xfrm>
            <a:off x="17695001" y="9786651"/>
            <a:ext cx="327013" cy="307777"/>
          </a:xfrm>
        </p:spPr>
        <p:txBody>
          <a:bodyPr/>
          <a:lstStyle/>
          <a:p>
            <a:r>
              <a:rPr lang="en-US" altLang="ja-JP"/>
              <a:t>37</a:t>
            </a:r>
            <a:endParaRPr lang="ja-JP" altLang="en-US" dirty="0"/>
          </a:p>
        </p:txBody>
      </p:sp>
      <p:grpSp>
        <p:nvGrpSpPr>
          <p:cNvPr id="8" name="グループ化 7">
            <a:extLst>
              <a:ext uri="{FF2B5EF4-FFF2-40B4-BE49-F238E27FC236}">
                <a16:creationId xmlns:a16="http://schemas.microsoft.com/office/drawing/2014/main" id="{4574E4AA-AB10-5FE4-5A0E-20269AD6237B}"/>
              </a:ext>
            </a:extLst>
          </p:cNvPr>
          <p:cNvGrpSpPr/>
          <p:nvPr/>
        </p:nvGrpSpPr>
        <p:grpSpPr>
          <a:xfrm>
            <a:off x="12178602" y="1528749"/>
            <a:ext cx="5217657" cy="7876845"/>
            <a:chOff x="12178602" y="1528749"/>
            <a:chExt cx="5217657" cy="7876845"/>
          </a:xfrm>
        </p:grpSpPr>
        <p:sp>
          <p:nvSpPr>
            <p:cNvPr id="10" name="四角形: 角を丸くする 9">
              <a:extLst>
                <a:ext uri="{FF2B5EF4-FFF2-40B4-BE49-F238E27FC236}">
                  <a16:creationId xmlns:a16="http://schemas.microsoft.com/office/drawing/2014/main" id="{CC0BB648-34A8-9498-DB76-21161DCA592C}"/>
                </a:ext>
              </a:extLst>
            </p:cNvPr>
            <p:cNvSpPr/>
            <p:nvPr/>
          </p:nvSpPr>
          <p:spPr>
            <a:xfrm>
              <a:off x="12178602" y="1860332"/>
              <a:ext cx="5217657" cy="7545262"/>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484F66E0-6DAB-7395-273E-D36F3D192E23}"/>
                </a:ext>
              </a:extLst>
            </p:cNvPr>
            <p:cNvSpPr/>
            <p:nvPr/>
          </p:nvSpPr>
          <p:spPr>
            <a:xfrm>
              <a:off x="13589938" y="1528749"/>
              <a:ext cx="2394991"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ポイント３</a:t>
              </a:r>
              <a:endParaRPr kumimoji="1" lang="ja-JP" altLang="en-US" sz="2800" spc="100" dirty="0">
                <a:solidFill>
                  <a:schemeClr val="bg1"/>
                </a:solidFill>
                <a:latin typeface="+mj-ea"/>
                <a:ea typeface="+mj-ea"/>
              </a:endParaRPr>
            </a:p>
          </p:txBody>
        </p:sp>
        <p:sp>
          <p:nvSpPr>
            <p:cNvPr id="19" name="テキスト ボックス 18">
              <a:extLst>
                <a:ext uri="{FF2B5EF4-FFF2-40B4-BE49-F238E27FC236}">
                  <a16:creationId xmlns:a16="http://schemas.microsoft.com/office/drawing/2014/main" id="{A4DFC596-A32F-9F49-950F-305ABA9F406E}"/>
                </a:ext>
              </a:extLst>
            </p:cNvPr>
            <p:cNvSpPr txBox="1"/>
            <p:nvPr/>
          </p:nvSpPr>
          <p:spPr>
            <a:xfrm>
              <a:off x="12876153" y="6200587"/>
              <a:ext cx="4001095" cy="2587503"/>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2600" b="0" i="0" u="none" strike="noStrike" kern="1200" cap="none" spc="0" normalizeH="0" baseline="0" noProof="0" dirty="0">
                  <a:ln>
                    <a:noFill/>
                  </a:ln>
                  <a:solidFill>
                    <a:srgbClr val="3C3C3C"/>
                  </a:solidFill>
                  <a:effectLst/>
                  <a:uLnTx/>
                  <a:uFillTx/>
                  <a:latin typeface="+mn-ea"/>
                  <a:cs typeface="+mn-cs"/>
                </a:rPr>
                <a:t>チェックリストを用いて</a:t>
              </a:r>
              <a:br>
                <a:rPr kumimoji="1" lang="en-US" altLang="ja-JP" sz="2600" b="0" i="0" u="none" strike="noStrike" kern="1200" cap="none" spc="0" normalizeH="0" baseline="0" noProof="0" dirty="0">
                  <a:ln>
                    <a:noFill/>
                  </a:ln>
                  <a:solidFill>
                    <a:srgbClr val="3C3C3C"/>
                  </a:solidFill>
                  <a:effectLst/>
                  <a:uLnTx/>
                  <a:uFillTx/>
                  <a:latin typeface="+mn-ea"/>
                  <a:cs typeface="+mn-cs"/>
                </a:rPr>
              </a:br>
              <a:r>
                <a:rPr kumimoji="1" lang="ja-JP" altLang="en-US" sz="2600" b="0" i="0" u="none" strike="noStrike" kern="1200" cap="none" spc="0" normalizeH="0" baseline="0" noProof="0" dirty="0">
                  <a:ln>
                    <a:noFill/>
                  </a:ln>
                  <a:solidFill>
                    <a:srgbClr val="3C3C3C"/>
                  </a:solidFill>
                  <a:effectLst/>
                  <a:uLnTx/>
                  <a:uFillTx/>
                  <a:latin typeface="+mn-ea"/>
                  <a:cs typeface="+mn-cs"/>
                </a:rPr>
                <a:t>判断しても騙されるので、</a:t>
              </a:r>
              <a:br>
                <a:rPr kumimoji="1" lang="ja-JP" altLang="en-US" sz="2600" b="0" i="0" u="none" strike="noStrike" kern="1200" cap="none" spc="0" normalizeH="0" baseline="0" noProof="0" dirty="0">
                  <a:ln>
                    <a:noFill/>
                  </a:ln>
                  <a:solidFill>
                    <a:srgbClr val="3C3C3C"/>
                  </a:solidFill>
                  <a:effectLst/>
                  <a:uLnTx/>
                  <a:uFillTx/>
                  <a:latin typeface="+mn-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安易に拡散しない </a:t>
              </a:r>
              <a:r>
                <a:rPr kumimoji="1" lang="en-US" altLang="ja-JP" sz="2600" b="0" i="0" u="none" strike="noStrike" kern="1200" cap="none" spc="0" normalizeH="0" baseline="0" noProof="0" dirty="0">
                  <a:ln>
                    <a:noFill/>
                  </a:ln>
                  <a:effectLst/>
                  <a:uLnTx/>
                  <a:uFillTx/>
                  <a:latin typeface="+mn-ea"/>
                  <a:cs typeface="+mn-cs"/>
                </a:rPr>
                <a:t>/</a:t>
              </a:r>
              <a:r>
                <a:rPr kumimoji="1" lang="en-US" altLang="ja-JP" sz="2400" b="0" i="0" u="none" strike="noStrike" kern="1200" cap="none" spc="0" normalizeH="0" baseline="0" noProof="0" dirty="0">
                  <a:ln>
                    <a:noFill/>
                  </a:ln>
                  <a:effectLst/>
                  <a:uLnTx/>
                  <a:uFillTx/>
                  <a:latin typeface="+mn-ea"/>
                  <a:cs typeface="+mn-cs"/>
                </a:rPr>
                <a:t> </a:t>
              </a:r>
              <a:br>
                <a:rPr kumimoji="1" lang="en-US" altLang="ja-JP" sz="3200" b="0" i="0" u="none" strike="noStrike" kern="1200" cap="none" spc="0" normalizeH="0" baseline="0" noProof="0" dirty="0">
                  <a:ln>
                    <a:noFill/>
                  </a:ln>
                  <a:effectLst/>
                  <a:uLnTx/>
                  <a:uFillTx/>
                  <a:latin typeface="+mn-ea"/>
                  <a:cs typeface="+mn-cs"/>
                </a:rPr>
              </a:br>
              <a:r>
                <a:rPr kumimoji="1" lang="ja-JP" altLang="en-US" sz="2600" b="0" i="0" u="none" strike="noStrike" kern="1200" cap="none" spc="0" normalizeH="0" baseline="0" noProof="0" dirty="0">
                  <a:ln>
                    <a:noFill/>
                  </a:ln>
                  <a:effectLst/>
                  <a:uLnTx/>
                  <a:uFillTx/>
                  <a:latin typeface="+mn-ea"/>
                  <a:cs typeface="+mn-cs"/>
                </a:rPr>
                <a:t>拡散したいときは </a:t>
              </a:r>
              <a:br>
                <a:rPr kumimoji="1" lang="en-US" altLang="ja-JP" sz="2600" b="0" i="0" u="none" strike="noStrike" kern="1200" cap="none" spc="0" normalizeH="0" baseline="0" noProof="0" dirty="0">
                  <a:ln>
                    <a:noFill/>
                  </a:ln>
                  <a:effectLst/>
                  <a:uLnTx/>
                  <a:uFillTx/>
                  <a:latin typeface="+mn-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ひと呼吸おく</a:t>
              </a:r>
            </a:p>
          </p:txBody>
        </p:sp>
        <p:pic>
          <p:nvPicPr>
            <p:cNvPr id="7" name="図 6">
              <a:extLst>
                <a:ext uri="{FF2B5EF4-FFF2-40B4-BE49-F238E27FC236}">
                  <a16:creationId xmlns:a16="http://schemas.microsoft.com/office/drawing/2014/main" id="{08897BA7-9CE9-8E0E-292B-A01300CA909E}"/>
                </a:ext>
              </a:extLst>
            </p:cNvPr>
            <p:cNvPicPr>
              <a:picLocks noChangeAspect="1"/>
            </p:cNvPicPr>
            <p:nvPr/>
          </p:nvPicPr>
          <p:blipFill>
            <a:blip r:embed="rId4"/>
            <a:stretch>
              <a:fillRect/>
            </a:stretch>
          </p:blipFill>
          <p:spPr>
            <a:xfrm>
              <a:off x="13114803" y="2715780"/>
              <a:ext cx="3523793" cy="2883658"/>
            </a:xfrm>
            <a:prstGeom prst="rect">
              <a:avLst/>
            </a:prstGeom>
          </p:spPr>
        </p:pic>
      </p:grpSp>
      <p:grpSp>
        <p:nvGrpSpPr>
          <p:cNvPr id="21" name="グループ化 20">
            <a:extLst>
              <a:ext uri="{FF2B5EF4-FFF2-40B4-BE49-F238E27FC236}">
                <a16:creationId xmlns:a16="http://schemas.microsoft.com/office/drawing/2014/main" id="{90824FA9-E9FA-D034-7AFE-A154E68EE782}"/>
              </a:ext>
            </a:extLst>
          </p:cNvPr>
          <p:cNvGrpSpPr/>
          <p:nvPr/>
        </p:nvGrpSpPr>
        <p:grpSpPr>
          <a:xfrm>
            <a:off x="6535172" y="1528749"/>
            <a:ext cx="5217657" cy="7876845"/>
            <a:chOff x="6535172" y="1528749"/>
            <a:chExt cx="5217657" cy="7876845"/>
          </a:xfrm>
        </p:grpSpPr>
        <p:sp>
          <p:nvSpPr>
            <p:cNvPr id="5" name="四角形: 角を丸くする 4">
              <a:extLst>
                <a:ext uri="{FF2B5EF4-FFF2-40B4-BE49-F238E27FC236}">
                  <a16:creationId xmlns:a16="http://schemas.microsoft.com/office/drawing/2014/main" id="{FC94C30F-556B-C5D1-54E7-898785EE148C}"/>
                </a:ext>
              </a:extLst>
            </p:cNvPr>
            <p:cNvSpPr/>
            <p:nvPr/>
          </p:nvSpPr>
          <p:spPr>
            <a:xfrm>
              <a:off x="6535172" y="1860332"/>
              <a:ext cx="5217657" cy="7545262"/>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B3D2E9F3-F2EF-D262-D507-46E7A1589DE8}"/>
                </a:ext>
              </a:extLst>
            </p:cNvPr>
            <p:cNvSpPr/>
            <p:nvPr/>
          </p:nvSpPr>
          <p:spPr>
            <a:xfrm>
              <a:off x="7946506" y="1528749"/>
              <a:ext cx="2394991"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ポイント２</a:t>
              </a:r>
              <a:endParaRPr kumimoji="1" lang="ja-JP" altLang="en-US" sz="2800" spc="100" dirty="0">
                <a:solidFill>
                  <a:schemeClr val="bg1"/>
                </a:solidFill>
                <a:latin typeface="+mj-ea"/>
                <a:ea typeface="+mj-ea"/>
              </a:endParaRPr>
            </a:p>
          </p:txBody>
        </p:sp>
        <p:sp>
          <p:nvSpPr>
            <p:cNvPr id="18" name="テキスト ボックス 17">
              <a:extLst>
                <a:ext uri="{FF2B5EF4-FFF2-40B4-BE49-F238E27FC236}">
                  <a16:creationId xmlns:a16="http://schemas.microsoft.com/office/drawing/2014/main" id="{37DE9BC1-D201-CC25-59CE-E673B5099CA8}"/>
                </a:ext>
              </a:extLst>
            </p:cNvPr>
            <p:cNvSpPr txBox="1"/>
            <p:nvPr/>
          </p:nvSpPr>
          <p:spPr>
            <a:xfrm>
              <a:off x="6989563" y="6200587"/>
              <a:ext cx="4308873" cy="1147109"/>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チェックリスト</a:t>
              </a:r>
              <a:r>
                <a:rPr kumimoji="1" lang="ja-JP" altLang="en-US" sz="2800" b="0" i="0" u="none" strike="noStrike" kern="1200" cap="none" spc="0" normalizeH="0" baseline="0" noProof="0" dirty="0">
                  <a:ln>
                    <a:noFill/>
                  </a:ln>
                  <a:effectLst/>
                  <a:uLnTx/>
                  <a:uFillTx/>
                  <a:latin typeface="+mn-ea"/>
                  <a:cs typeface="+mn-cs"/>
                </a:rPr>
                <a:t>を用いて</a:t>
              </a:r>
              <a:br>
                <a:rPr kumimoji="1" lang="en-US" altLang="ja-JP" sz="2800" b="0" i="0" u="none" strike="noStrike" kern="1200" cap="none" spc="0" normalizeH="0" baseline="0" noProof="0" dirty="0">
                  <a:ln>
                    <a:noFill/>
                  </a:ln>
                  <a:effectLst/>
                  <a:uLnTx/>
                  <a:uFillTx/>
                  <a:latin typeface="+mn-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真偽を判断する</a:t>
              </a:r>
            </a:p>
          </p:txBody>
        </p:sp>
        <p:pic>
          <p:nvPicPr>
            <p:cNvPr id="16" name="図 15">
              <a:extLst>
                <a:ext uri="{FF2B5EF4-FFF2-40B4-BE49-F238E27FC236}">
                  <a16:creationId xmlns:a16="http://schemas.microsoft.com/office/drawing/2014/main" id="{D5A607DF-A01C-ADBC-3FAE-7C0BD913E7DB}"/>
                </a:ext>
              </a:extLst>
            </p:cNvPr>
            <p:cNvPicPr>
              <a:picLocks noChangeAspect="1"/>
            </p:cNvPicPr>
            <p:nvPr/>
          </p:nvPicPr>
          <p:blipFill>
            <a:blip r:embed="rId5"/>
            <a:stretch>
              <a:fillRect/>
            </a:stretch>
          </p:blipFill>
          <p:spPr>
            <a:xfrm>
              <a:off x="7562212" y="2860390"/>
              <a:ext cx="3517697" cy="2712955"/>
            </a:xfrm>
            <a:prstGeom prst="rect">
              <a:avLst/>
            </a:prstGeom>
          </p:spPr>
        </p:pic>
      </p:grpSp>
    </p:spTree>
    <p:extLst>
      <p:ext uri="{BB962C8B-B14F-4D97-AF65-F5344CB8AC3E}">
        <p14:creationId xmlns:p14="http://schemas.microsoft.com/office/powerpoint/2010/main" val="513453683"/>
      </p:ext>
    </p:extLst>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 name="楕円 21">
            <a:extLst>
              <a:ext uri="{FF2B5EF4-FFF2-40B4-BE49-F238E27FC236}">
                <a16:creationId xmlns:a16="http://schemas.microsoft.com/office/drawing/2014/main" id="{42B0E053-2899-9C44-AC0B-511125A7A2C1}"/>
              </a:ext>
            </a:extLst>
          </p:cNvPr>
          <p:cNvSpPr/>
          <p:nvPr/>
        </p:nvSpPr>
        <p:spPr>
          <a:xfrm>
            <a:off x="10189816" y="2704624"/>
            <a:ext cx="6160626" cy="6160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5D4E3AAE-6AE2-F97E-AF52-8C198C709301}"/>
              </a:ext>
            </a:extLst>
          </p:cNvPr>
          <p:cNvSpPr/>
          <p:nvPr/>
        </p:nvSpPr>
        <p:spPr>
          <a:xfrm>
            <a:off x="1619037" y="2704624"/>
            <a:ext cx="6160626" cy="6160626"/>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タイトル 3">
            <a:extLst>
              <a:ext uri="{FF2B5EF4-FFF2-40B4-BE49-F238E27FC236}">
                <a16:creationId xmlns:a16="http://schemas.microsoft.com/office/drawing/2014/main" id="{F6AFBC37-A02E-6E99-D492-D1FF74F7A385}"/>
              </a:ext>
            </a:extLst>
          </p:cNvPr>
          <p:cNvSpPr>
            <a:spLocks noGrp="1"/>
          </p:cNvSpPr>
          <p:nvPr>
            <p:ph type="title"/>
          </p:nvPr>
        </p:nvSpPr>
        <p:spPr>
          <a:xfrm>
            <a:off x="891741" y="506301"/>
            <a:ext cx="16504518" cy="492443"/>
          </a:xfrm>
        </p:spPr>
        <p:txBody>
          <a:bodyPr/>
          <a:lstStyle/>
          <a:p>
            <a:r>
              <a:rPr lang="ja-JP" altLang="en-US" dirty="0"/>
              <a:t>❶ 無意識のうちに合理的ではない行動、偏った判断をすることがあるという意識をもつ</a:t>
            </a:r>
          </a:p>
        </p:txBody>
      </p:sp>
      <p:sp>
        <p:nvSpPr>
          <p:cNvPr id="3" name="テキスト ボックス 2">
            <a:extLst>
              <a:ext uri="{FF2B5EF4-FFF2-40B4-BE49-F238E27FC236}">
                <a16:creationId xmlns:a16="http://schemas.microsoft.com/office/drawing/2014/main" id="{E9FE0F80-629A-E1AB-CE4D-D3E2532BA9C6}"/>
              </a:ext>
            </a:extLst>
          </p:cNvPr>
          <p:cNvSpPr txBox="1"/>
          <p:nvPr/>
        </p:nvSpPr>
        <p:spPr>
          <a:xfrm>
            <a:off x="372103" y="9832817"/>
            <a:ext cx="7739298"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総務省「インターネットとの向き合い方～ニセ・誤情報に騙されないために～」</a:t>
            </a:r>
          </a:p>
        </p:txBody>
      </p:sp>
      <p:grpSp>
        <p:nvGrpSpPr>
          <p:cNvPr id="93" name="グループ化 92">
            <a:extLst>
              <a:ext uri="{FF2B5EF4-FFF2-40B4-BE49-F238E27FC236}">
                <a16:creationId xmlns:a16="http://schemas.microsoft.com/office/drawing/2014/main" id="{E968D317-79D3-159A-A505-E9E236DAAEF3}"/>
              </a:ext>
            </a:extLst>
          </p:cNvPr>
          <p:cNvGrpSpPr/>
          <p:nvPr/>
        </p:nvGrpSpPr>
        <p:grpSpPr>
          <a:xfrm>
            <a:off x="9300788" y="3358309"/>
            <a:ext cx="3813910" cy="2961719"/>
            <a:chOff x="-2745023" y="3628402"/>
            <a:chExt cx="3813910" cy="2961719"/>
          </a:xfrm>
          <a:solidFill>
            <a:schemeClr val="accent5">
              <a:lumMod val="60000"/>
              <a:lumOff val="40000"/>
            </a:schemeClr>
          </a:solidFill>
        </p:grpSpPr>
        <p:sp>
          <p:nvSpPr>
            <p:cNvPr id="91" name="フリーフォーム: 図形 90">
              <a:extLst>
                <a:ext uri="{FF2B5EF4-FFF2-40B4-BE49-F238E27FC236}">
                  <a16:creationId xmlns:a16="http://schemas.microsoft.com/office/drawing/2014/main" id="{8BE20479-BA4B-8A3E-0697-15D120A932C3}"/>
                </a:ext>
              </a:extLst>
            </p:cNvPr>
            <p:cNvSpPr/>
            <p:nvPr/>
          </p:nvSpPr>
          <p:spPr>
            <a:xfrm rot="11610014" flipV="1">
              <a:off x="-143326" y="604223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20168" cap="flat">
              <a:noFill/>
              <a:prstDash val="solid"/>
              <a:miter/>
            </a:ln>
          </p:spPr>
          <p:txBody>
            <a:bodyPr wrap="square" lIns="0" tIns="0" rIns="0" bIns="72000" rtlCol="0" anchor="ctr" anchorCtr="1">
              <a:noAutofit/>
            </a:bodyPr>
            <a:lstStyle/>
            <a:p>
              <a:pPr algn="ctr">
                <a:lnSpc>
                  <a:spcPct val="130000"/>
                </a:lnSpc>
              </a:pPr>
              <a:endParaRPr lang="ja-JP" altLang="en-US" sz="2900" dirty="0">
                <a:latin typeface="+mj-ea"/>
                <a:ea typeface="+mj-ea"/>
              </a:endParaRPr>
            </a:p>
          </p:txBody>
        </p:sp>
        <p:sp>
          <p:nvSpPr>
            <p:cNvPr id="92" name="四角形: 角を丸くする 91">
              <a:extLst>
                <a:ext uri="{FF2B5EF4-FFF2-40B4-BE49-F238E27FC236}">
                  <a16:creationId xmlns:a16="http://schemas.microsoft.com/office/drawing/2014/main" id="{F93B01F0-3E92-87B2-0032-EE2A76758BCD}"/>
                </a:ext>
              </a:extLst>
            </p:cNvPr>
            <p:cNvSpPr/>
            <p:nvPr/>
          </p:nvSpPr>
          <p:spPr>
            <a:xfrm flipH="1">
              <a:off x="-2745023" y="3628402"/>
              <a:ext cx="3813910" cy="2647666"/>
            </a:xfrm>
            <a:prstGeom prst="roundRect">
              <a:avLst>
                <a:gd name="adj" fmla="val 6557"/>
              </a:avLst>
            </a:prstGeom>
            <a:grpFill/>
            <a:ln w="20168" cap="flat">
              <a:noFill/>
              <a:prstDash val="solid"/>
              <a:miter/>
            </a:ln>
          </p:spPr>
          <p:txBody>
            <a:bodyPr wrap="square" lIns="108000" tIns="0" rIns="0" bIns="0" rtlCol="0" anchor="ctr" anchorCtr="1">
              <a:noAutofit/>
            </a:bodyPr>
            <a:lstStyle/>
            <a:p>
              <a:pPr>
                <a:lnSpc>
                  <a:spcPct val="110000"/>
                </a:lnSpc>
                <a:spcAft>
                  <a:spcPts val="600"/>
                </a:spcAft>
              </a:pPr>
              <a:r>
                <a:rPr lang="ja-JP" altLang="en-US" sz="2800" dirty="0">
                  <a:latin typeface="+mj-ea"/>
                  <a:ea typeface="+mj-ea"/>
                </a:rPr>
                <a:t>これは出回って</a:t>
              </a:r>
              <a:br>
                <a:rPr lang="en-US" altLang="ja-JP" sz="2800" dirty="0">
                  <a:latin typeface="+mj-ea"/>
                  <a:ea typeface="+mj-ea"/>
                </a:rPr>
              </a:br>
              <a:r>
                <a:rPr lang="ja-JP" altLang="en-US" sz="2800" dirty="0">
                  <a:latin typeface="+mj-ea"/>
                  <a:ea typeface="+mj-ea"/>
                </a:rPr>
                <a:t>いない情報です！</a:t>
              </a:r>
              <a:endParaRPr lang="en-US" altLang="ja-JP" sz="2800" dirty="0">
                <a:latin typeface="+mj-ea"/>
                <a:ea typeface="+mj-ea"/>
              </a:endParaRPr>
            </a:p>
            <a:p>
              <a:pPr>
                <a:lnSpc>
                  <a:spcPct val="110000"/>
                </a:lnSpc>
                <a:spcAft>
                  <a:spcPts val="600"/>
                </a:spcAft>
              </a:pPr>
              <a:r>
                <a:rPr lang="ja-JP" altLang="en-US" sz="2800" dirty="0">
                  <a:latin typeface="+mj-ea"/>
                  <a:ea typeface="+mj-ea"/>
                </a:rPr>
                <a:t>大切な人に</a:t>
              </a:r>
              <a:br>
                <a:rPr lang="en-US" altLang="ja-JP" sz="2800" dirty="0">
                  <a:latin typeface="+mj-ea"/>
                  <a:ea typeface="+mj-ea"/>
                </a:rPr>
              </a:br>
              <a:r>
                <a:rPr lang="ja-JP" altLang="en-US" sz="2800" dirty="0">
                  <a:latin typeface="+mj-ea"/>
                  <a:ea typeface="+mj-ea"/>
                </a:rPr>
                <a:t>共有してください！</a:t>
              </a:r>
            </a:p>
          </p:txBody>
        </p:sp>
      </p:grpSp>
      <p:grpSp>
        <p:nvGrpSpPr>
          <p:cNvPr id="106" name="グループ化 105">
            <a:extLst>
              <a:ext uri="{FF2B5EF4-FFF2-40B4-BE49-F238E27FC236}">
                <a16:creationId xmlns:a16="http://schemas.microsoft.com/office/drawing/2014/main" id="{06A44A83-9784-6DF7-1795-EE7A819C94D9}"/>
              </a:ext>
            </a:extLst>
          </p:cNvPr>
          <p:cNvGrpSpPr/>
          <p:nvPr/>
        </p:nvGrpSpPr>
        <p:grpSpPr>
          <a:xfrm flipH="1">
            <a:off x="13509611" y="3358309"/>
            <a:ext cx="3886648" cy="2961719"/>
            <a:chOff x="-2817761" y="3628402"/>
            <a:chExt cx="3886648" cy="2961719"/>
          </a:xfrm>
          <a:solidFill>
            <a:schemeClr val="accent5">
              <a:lumMod val="60000"/>
              <a:lumOff val="40000"/>
            </a:schemeClr>
          </a:solidFill>
        </p:grpSpPr>
        <p:sp>
          <p:nvSpPr>
            <p:cNvPr id="107" name="フリーフォーム: 図形 106">
              <a:extLst>
                <a:ext uri="{FF2B5EF4-FFF2-40B4-BE49-F238E27FC236}">
                  <a16:creationId xmlns:a16="http://schemas.microsoft.com/office/drawing/2014/main" id="{7513AC71-BD17-53D0-50E7-65BFF8A9F116}"/>
                </a:ext>
              </a:extLst>
            </p:cNvPr>
            <p:cNvSpPr/>
            <p:nvPr/>
          </p:nvSpPr>
          <p:spPr>
            <a:xfrm rot="11610014" flipV="1">
              <a:off x="156040" y="604223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20168" cap="flat">
              <a:noFill/>
              <a:prstDash val="solid"/>
              <a:miter/>
            </a:ln>
          </p:spPr>
          <p:txBody>
            <a:bodyPr wrap="square" lIns="0" tIns="0" rIns="0" bIns="72000" rtlCol="0" anchor="ctr" anchorCtr="1">
              <a:noAutofit/>
            </a:bodyPr>
            <a:lstStyle/>
            <a:p>
              <a:pPr algn="ctr">
                <a:lnSpc>
                  <a:spcPct val="130000"/>
                </a:lnSpc>
              </a:pPr>
              <a:endParaRPr lang="ja-JP" altLang="en-US" sz="2900" dirty="0">
                <a:latin typeface="+mj-ea"/>
                <a:ea typeface="+mj-ea"/>
              </a:endParaRPr>
            </a:p>
          </p:txBody>
        </p:sp>
        <p:sp>
          <p:nvSpPr>
            <p:cNvPr id="108" name="四角形: 角を丸くする 107">
              <a:extLst>
                <a:ext uri="{FF2B5EF4-FFF2-40B4-BE49-F238E27FC236}">
                  <a16:creationId xmlns:a16="http://schemas.microsoft.com/office/drawing/2014/main" id="{8714AB8C-9F17-2CFC-6EFF-BA4E322E9E1A}"/>
                </a:ext>
              </a:extLst>
            </p:cNvPr>
            <p:cNvSpPr/>
            <p:nvPr/>
          </p:nvSpPr>
          <p:spPr>
            <a:xfrm flipH="1">
              <a:off x="-2817761" y="3628402"/>
              <a:ext cx="3886648" cy="2647666"/>
            </a:xfrm>
            <a:prstGeom prst="roundRect">
              <a:avLst>
                <a:gd name="adj" fmla="val 6557"/>
              </a:avLst>
            </a:prstGeom>
            <a:grpFill/>
            <a:ln w="20168" cap="flat">
              <a:noFill/>
              <a:prstDash val="solid"/>
              <a:miter/>
            </a:ln>
          </p:spPr>
          <p:txBody>
            <a:bodyPr wrap="square" lIns="108000" tIns="0" rIns="0" bIns="0" rtlCol="0" anchor="ctr" anchorCtr="1">
              <a:noAutofit/>
            </a:bodyPr>
            <a:lstStyle/>
            <a:p>
              <a:pPr>
                <a:lnSpc>
                  <a:spcPct val="110000"/>
                </a:lnSpc>
                <a:spcAft>
                  <a:spcPts val="600"/>
                </a:spcAft>
              </a:pPr>
              <a:r>
                <a:rPr lang="ja-JP" altLang="en-US" sz="2800" dirty="0">
                  <a:latin typeface="+mj-ea"/>
                  <a:ea typeface="+mj-ea"/>
                </a:rPr>
                <a:t>こんなこと</a:t>
              </a:r>
              <a:br>
                <a:rPr lang="en-US" altLang="ja-JP" sz="2800" dirty="0">
                  <a:latin typeface="+mj-ea"/>
                  <a:ea typeface="+mj-ea"/>
                </a:rPr>
              </a:br>
              <a:r>
                <a:rPr lang="ja-JP" altLang="en-US" sz="2800" dirty="0">
                  <a:latin typeface="+mj-ea"/>
                  <a:ea typeface="+mj-ea"/>
                </a:rPr>
                <a:t>許せません！</a:t>
              </a:r>
            </a:p>
            <a:p>
              <a:pPr>
                <a:lnSpc>
                  <a:spcPct val="110000"/>
                </a:lnSpc>
                <a:spcAft>
                  <a:spcPts val="600"/>
                </a:spcAft>
              </a:pPr>
              <a:r>
                <a:rPr lang="ja-JP" altLang="en-US" sz="2800" dirty="0">
                  <a:latin typeface="+mj-ea"/>
                  <a:ea typeface="+mj-ea"/>
                </a:rPr>
                <a:t>同じ被害がないよう</a:t>
              </a:r>
              <a:br>
                <a:rPr lang="en-US" altLang="ja-JP" sz="2800" dirty="0">
                  <a:latin typeface="+mj-ea"/>
                  <a:ea typeface="+mj-ea"/>
                </a:rPr>
              </a:br>
              <a:r>
                <a:rPr lang="ja-JP" altLang="en-US" sz="2800" dirty="0">
                  <a:latin typeface="+mj-ea"/>
                  <a:ea typeface="+mj-ea"/>
                </a:rPr>
                <a:t>拡散してください！</a:t>
              </a:r>
            </a:p>
          </p:txBody>
        </p:sp>
      </p:grpSp>
      <p:grpSp>
        <p:nvGrpSpPr>
          <p:cNvPr id="17" name="グループ化 16">
            <a:extLst>
              <a:ext uri="{FF2B5EF4-FFF2-40B4-BE49-F238E27FC236}">
                <a16:creationId xmlns:a16="http://schemas.microsoft.com/office/drawing/2014/main" id="{402ED02A-9E4B-819C-33B4-324E9DEE5D0D}"/>
              </a:ext>
            </a:extLst>
          </p:cNvPr>
          <p:cNvGrpSpPr/>
          <p:nvPr/>
        </p:nvGrpSpPr>
        <p:grpSpPr>
          <a:xfrm>
            <a:off x="1177723" y="3242263"/>
            <a:ext cx="7136833" cy="4283431"/>
            <a:chOff x="1177723" y="2723252"/>
            <a:chExt cx="7136833" cy="4283431"/>
          </a:xfrm>
        </p:grpSpPr>
        <p:sp>
          <p:nvSpPr>
            <p:cNvPr id="65" name="楕円 64">
              <a:extLst>
                <a:ext uri="{FF2B5EF4-FFF2-40B4-BE49-F238E27FC236}">
                  <a16:creationId xmlns:a16="http://schemas.microsoft.com/office/drawing/2014/main" id="{284B3CBF-6D42-D584-8870-23240026E9D1}"/>
                </a:ext>
              </a:extLst>
            </p:cNvPr>
            <p:cNvSpPr/>
            <p:nvPr/>
          </p:nvSpPr>
          <p:spPr>
            <a:xfrm>
              <a:off x="1177723" y="2839297"/>
              <a:ext cx="2516955" cy="2123834"/>
            </a:xfrm>
            <a:prstGeom prst="ellipse">
              <a:avLst/>
            </a:prstGeom>
            <a:solidFill>
              <a:schemeClr val="accent5">
                <a:lumMod val="60000"/>
                <a:lumOff val="40000"/>
              </a:schemeClr>
            </a:solidFill>
            <a:ln w="9525" cap="flat">
              <a:noFill/>
              <a:prstDash val="solid"/>
              <a:miter/>
            </a:ln>
          </p:spPr>
          <p:txBody>
            <a:bodyPr wrap="none" lIns="0" tIns="0" rIns="0" bIns="72000" rtlCol="0" anchor="ctr"/>
            <a:lstStyle/>
            <a:p>
              <a:pPr algn="ctr">
                <a:lnSpc>
                  <a:spcPct val="110000"/>
                </a:lnSpc>
              </a:pPr>
              <a:r>
                <a:rPr lang="ja-JP" altLang="en-US" sz="2800" dirty="0">
                  <a:latin typeface="+mj-ea"/>
                  <a:ea typeface="+mj-ea"/>
                </a:rPr>
                <a:t>人に</a:t>
              </a:r>
              <a:br>
                <a:rPr lang="en-US" altLang="ja-JP" sz="2800" dirty="0">
                  <a:latin typeface="+mj-ea"/>
                  <a:ea typeface="+mj-ea"/>
                </a:rPr>
              </a:br>
              <a:r>
                <a:rPr lang="ja-JP" altLang="en-US" sz="2800" dirty="0">
                  <a:latin typeface="+mj-ea"/>
                  <a:ea typeface="+mj-ea"/>
                </a:rPr>
                <a:t>言いたくなる</a:t>
              </a:r>
              <a:br>
                <a:rPr lang="en-US" altLang="ja-JP" sz="2800" dirty="0">
                  <a:latin typeface="+mj-ea"/>
                  <a:ea typeface="+mj-ea"/>
                </a:rPr>
              </a:br>
              <a:r>
                <a:rPr lang="ja-JP" altLang="en-US" sz="2800" dirty="0">
                  <a:latin typeface="+mj-ea"/>
                  <a:ea typeface="+mj-ea"/>
                </a:rPr>
                <a:t>情報</a:t>
              </a:r>
              <a:endParaRPr lang="en-US" altLang="ja-JP" sz="2800" dirty="0">
                <a:latin typeface="+mj-ea"/>
                <a:ea typeface="+mj-ea"/>
              </a:endParaRPr>
            </a:p>
          </p:txBody>
        </p:sp>
        <p:sp>
          <p:nvSpPr>
            <p:cNvPr id="47" name="楕円 46">
              <a:extLst>
                <a:ext uri="{FF2B5EF4-FFF2-40B4-BE49-F238E27FC236}">
                  <a16:creationId xmlns:a16="http://schemas.microsoft.com/office/drawing/2014/main" id="{B53C0F9F-DCE0-237C-2E82-1E483EA584B9}"/>
                </a:ext>
              </a:extLst>
            </p:cNvPr>
            <p:cNvSpPr/>
            <p:nvPr/>
          </p:nvSpPr>
          <p:spPr>
            <a:xfrm flipH="1">
              <a:off x="3935132" y="2839297"/>
              <a:ext cx="1517779" cy="1320799"/>
            </a:xfrm>
            <a:prstGeom prst="ellipse">
              <a:avLst/>
            </a:prstGeom>
            <a:solidFill>
              <a:schemeClr val="accent5">
                <a:lumMod val="60000"/>
                <a:lumOff val="40000"/>
              </a:schemeClr>
            </a:solidFill>
            <a:ln w="9525" cap="flat">
              <a:noFill/>
              <a:prstDash val="solid"/>
              <a:miter/>
            </a:ln>
          </p:spPr>
          <p:txBody>
            <a:bodyPr wrap="none" lIns="0" tIns="0" rIns="0" bIns="72000" rtlCol="0" anchor="ctr"/>
            <a:lstStyle/>
            <a:p>
              <a:pPr algn="ctr">
                <a:lnSpc>
                  <a:spcPct val="120000"/>
                </a:lnSpc>
              </a:pPr>
              <a:r>
                <a:rPr lang="ja-JP" altLang="en-US" sz="2800" dirty="0">
                  <a:latin typeface="+mj-ea"/>
                  <a:ea typeface="+mj-ea"/>
                </a:rPr>
                <a:t>意外性</a:t>
              </a:r>
              <a:endParaRPr lang="en-US" altLang="ja-JP" sz="2800" dirty="0">
                <a:latin typeface="+mj-ea"/>
                <a:ea typeface="+mj-ea"/>
              </a:endParaRPr>
            </a:p>
          </p:txBody>
        </p:sp>
        <p:sp>
          <p:nvSpPr>
            <p:cNvPr id="53" name="楕円 52">
              <a:extLst>
                <a:ext uri="{FF2B5EF4-FFF2-40B4-BE49-F238E27FC236}">
                  <a16:creationId xmlns:a16="http://schemas.microsoft.com/office/drawing/2014/main" id="{F034991E-60D2-BAD2-3F1F-49C8AFFD210F}"/>
                </a:ext>
              </a:extLst>
            </p:cNvPr>
            <p:cNvSpPr/>
            <p:nvPr/>
          </p:nvSpPr>
          <p:spPr>
            <a:xfrm flipH="1">
              <a:off x="5814747" y="5227043"/>
              <a:ext cx="2292088" cy="1779640"/>
            </a:xfrm>
            <a:prstGeom prst="ellipse">
              <a:avLst/>
            </a:prstGeom>
            <a:solidFill>
              <a:schemeClr val="accent5">
                <a:lumMod val="60000"/>
                <a:lumOff val="40000"/>
              </a:schemeClr>
            </a:solidFill>
            <a:ln w="9525" cap="flat">
              <a:noFill/>
              <a:prstDash val="solid"/>
              <a:miter/>
            </a:ln>
          </p:spPr>
          <p:txBody>
            <a:bodyPr wrap="none" lIns="0" tIns="0" rIns="0" bIns="72000" rtlCol="0" anchor="ctr"/>
            <a:lstStyle/>
            <a:p>
              <a:pPr algn="ctr">
                <a:lnSpc>
                  <a:spcPct val="110000"/>
                </a:lnSpc>
              </a:pPr>
              <a:r>
                <a:rPr lang="ja-JP" altLang="en-US" sz="2800" dirty="0">
                  <a:latin typeface="+mj-ea"/>
                  <a:ea typeface="+mj-ea"/>
                </a:rPr>
                <a:t>願望・希望</a:t>
              </a:r>
              <a:endParaRPr lang="en-US" altLang="ja-JP" sz="2800" dirty="0">
                <a:latin typeface="+mj-ea"/>
                <a:ea typeface="+mj-ea"/>
              </a:endParaRPr>
            </a:p>
          </p:txBody>
        </p:sp>
        <p:sp>
          <p:nvSpPr>
            <p:cNvPr id="59" name="楕円 58">
              <a:extLst>
                <a:ext uri="{FF2B5EF4-FFF2-40B4-BE49-F238E27FC236}">
                  <a16:creationId xmlns:a16="http://schemas.microsoft.com/office/drawing/2014/main" id="{2BC140EC-A938-2E9F-9B8F-EB363F66AE36}"/>
                </a:ext>
              </a:extLst>
            </p:cNvPr>
            <p:cNvSpPr/>
            <p:nvPr/>
          </p:nvSpPr>
          <p:spPr>
            <a:xfrm>
              <a:off x="1378350" y="5266598"/>
              <a:ext cx="2115699" cy="1740085"/>
            </a:xfrm>
            <a:prstGeom prst="ellipse">
              <a:avLst/>
            </a:prstGeom>
            <a:solidFill>
              <a:schemeClr val="accent5">
                <a:lumMod val="60000"/>
                <a:lumOff val="40000"/>
              </a:schemeClr>
            </a:solidFill>
            <a:ln w="9525" cap="flat">
              <a:noFill/>
              <a:prstDash val="solid"/>
              <a:miter/>
            </a:ln>
          </p:spPr>
          <p:txBody>
            <a:bodyPr wrap="none" lIns="0" tIns="0" rIns="0" bIns="72000" rtlCol="0" anchor="ctr"/>
            <a:lstStyle/>
            <a:p>
              <a:pPr algn="ctr">
                <a:lnSpc>
                  <a:spcPct val="110000"/>
                </a:lnSpc>
              </a:pPr>
              <a:r>
                <a:rPr lang="ja-JP" altLang="en-US" sz="2800" dirty="0">
                  <a:latin typeface="+mj-ea"/>
                  <a:ea typeface="+mj-ea"/>
                </a:rPr>
                <a:t>誰も</a:t>
              </a:r>
              <a:br>
                <a:rPr lang="en-US" altLang="ja-JP" sz="2800" dirty="0">
                  <a:latin typeface="+mj-ea"/>
                  <a:ea typeface="+mj-ea"/>
                </a:rPr>
              </a:br>
              <a:r>
                <a:rPr lang="ja-JP" altLang="en-US" sz="2800" dirty="0">
                  <a:latin typeface="+mj-ea"/>
                  <a:ea typeface="+mj-ea"/>
                </a:rPr>
                <a:t>知らない</a:t>
              </a:r>
              <a:endParaRPr lang="en-US" altLang="ja-JP" sz="2800" dirty="0">
                <a:latin typeface="+mj-ea"/>
                <a:ea typeface="+mj-ea"/>
              </a:endParaRPr>
            </a:p>
          </p:txBody>
        </p:sp>
        <p:sp>
          <p:nvSpPr>
            <p:cNvPr id="71" name="テキスト ボックス 70">
              <a:extLst>
                <a:ext uri="{FF2B5EF4-FFF2-40B4-BE49-F238E27FC236}">
                  <a16:creationId xmlns:a16="http://schemas.microsoft.com/office/drawing/2014/main" id="{635BB863-F1F8-D818-77E6-FA6FEF955E2E}"/>
                </a:ext>
              </a:extLst>
            </p:cNvPr>
            <p:cNvSpPr txBox="1"/>
            <p:nvPr/>
          </p:nvSpPr>
          <p:spPr>
            <a:xfrm>
              <a:off x="5650369" y="2723252"/>
              <a:ext cx="2664187" cy="2283597"/>
            </a:xfrm>
            <a:prstGeom prst="ellipse">
              <a:avLst/>
            </a:prstGeom>
            <a:solidFill>
              <a:schemeClr val="accent5">
                <a:lumMod val="60000"/>
                <a:lumOff val="40000"/>
              </a:schemeClr>
            </a:solidFill>
            <a:ln>
              <a:noFill/>
            </a:ln>
            <a:effectLst/>
          </p:spPr>
          <p:txBody>
            <a:bodyPr rot="0" spcFirstLastPara="0" vertOverflow="overflow" horzOverflow="overflow" vert="horz" wrap="none" lIns="0" tIns="0" rIns="0" bIns="72000" numCol="1" spcCol="0" rtlCol="0" fromWordArt="0" anchor="ctr" anchorCtr="0" forceAA="0" compatLnSpc="1">
              <a:prstTxWarp prst="textNoShape">
                <a:avLst/>
              </a:prstTxWarp>
              <a:noAutofit/>
            </a:bodyPr>
            <a:lstStyle/>
            <a:p>
              <a:pPr marL="0" marR="0" lvl="0" indent="0" algn="ctr" defTabSz="1371509" rtl="0" eaLnBrk="1" fontAlgn="auto" latinLnBrk="0" hangingPunct="1">
                <a:lnSpc>
                  <a:spcPct val="110000"/>
                </a:lnSpc>
                <a:spcBef>
                  <a:spcPts val="0"/>
                </a:spcBef>
                <a:spcAft>
                  <a:spcPts val="0"/>
                </a:spcAft>
                <a:buClrTx/>
                <a:buSzTx/>
                <a:buFontTx/>
                <a:buNone/>
                <a:tabLst/>
                <a:defRPr/>
              </a:pPr>
              <a:r>
                <a:rPr kumimoji="1" lang="ja-JP" altLang="en-US" sz="2800" b="0" i="0" u="none" strike="noStrike" kern="1200" cap="none" spc="0" normalizeH="0" baseline="0" noProof="0" dirty="0">
                  <a:ln>
                    <a:noFill/>
                  </a:ln>
                  <a:solidFill>
                    <a:srgbClr val="3C3C3C"/>
                  </a:solidFill>
                  <a:effectLst/>
                  <a:uLnTx/>
                  <a:uFillTx/>
                  <a:latin typeface="+mj-ea"/>
                  <a:ea typeface="+mj-ea"/>
                  <a:cs typeface="+mn-cs"/>
                </a:rPr>
                <a:t>その人の</a:t>
              </a:r>
              <a:br>
                <a:rPr lang="en-US" altLang="ja-JP" sz="2800" dirty="0">
                  <a:solidFill>
                    <a:srgbClr val="3C3C3C"/>
                  </a:solidFill>
                  <a:latin typeface="+mj-ea"/>
                  <a:ea typeface="+mj-ea"/>
                </a:rPr>
              </a:br>
              <a:r>
                <a:rPr kumimoji="1" lang="ja-JP" altLang="en-US" sz="2800" b="0" i="0" u="none" strike="noStrike" kern="1200" cap="none" spc="0" normalizeH="0" baseline="0" noProof="0" dirty="0">
                  <a:ln>
                    <a:noFill/>
                  </a:ln>
                  <a:solidFill>
                    <a:srgbClr val="3C3C3C"/>
                  </a:solidFill>
                  <a:effectLst/>
                  <a:uLnTx/>
                  <a:uFillTx/>
                  <a:latin typeface="+mj-ea"/>
                  <a:ea typeface="+mj-ea"/>
                  <a:cs typeface="+mn-cs"/>
                </a:rPr>
                <a:t>正義感に</a:t>
              </a:r>
              <a:br>
                <a:rPr kumimoji="1" lang="en-US" altLang="ja-JP" sz="2800" b="0" i="0" u="none" strike="noStrike" kern="1200" cap="none" spc="0" normalizeH="0" baseline="0" noProof="0" dirty="0">
                  <a:ln>
                    <a:noFill/>
                  </a:ln>
                  <a:solidFill>
                    <a:srgbClr val="3C3C3C"/>
                  </a:solidFill>
                  <a:effectLst/>
                  <a:uLnTx/>
                  <a:uFillTx/>
                  <a:latin typeface="+mj-ea"/>
                  <a:ea typeface="+mj-ea"/>
                  <a:cs typeface="+mn-cs"/>
                </a:rPr>
              </a:br>
              <a:r>
                <a:rPr kumimoji="1" lang="ja-JP" altLang="en-US" sz="2800" b="0" i="0" u="none" strike="noStrike" kern="1200" cap="none" spc="0" normalizeH="0" baseline="0" noProof="0" dirty="0">
                  <a:ln>
                    <a:noFill/>
                  </a:ln>
                  <a:solidFill>
                    <a:srgbClr val="3C3C3C"/>
                  </a:solidFill>
                  <a:effectLst/>
                  <a:uLnTx/>
                  <a:uFillTx/>
                  <a:latin typeface="+mj-ea"/>
                  <a:ea typeface="+mj-ea"/>
                  <a:cs typeface="+mn-cs"/>
                </a:rPr>
                <a:t>訴えるもの</a:t>
              </a:r>
              <a:endParaRPr kumimoji="1" lang="en-US" altLang="ja-JP" sz="2800" b="0" i="0" u="none" strike="noStrike" kern="1200" cap="none" spc="0" normalizeH="0" baseline="0" noProof="0" dirty="0">
                <a:ln>
                  <a:noFill/>
                </a:ln>
                <a:solidFill>
                  <a:srgbClr val="3C3C3C"/>
                </a:solidFill>
                <a:effectLst/>
                <a:uLnTx/>
                <a:uFillTx/>
                <a:latin typeface="+mj-ea"/>
                <a:ea typeface="+mj-ea"/>
                <a:cs typeface="+mn-cs"/>
              </a:endParaRPr>
            </a:p>
          </p:txBody>
        </p:sp>
      </p:grpSp>
      <p:pic>
        <p:nvPicPr>
          <p:cNvPr id="16" name="図 15">
            <a:extLst>
              <a:ext uri="{FF2B5EF4-FFF2-40B4-BE49-F238E27FC236}">
                <a16:creationId xmlns:a16="http://schemas.microsoft.com/office/drawing/2014/main" id="{651DA4EA-DBAD-08D9-62CF-B512E1A14F2E}"/>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179516" y="5683864"/>
            <a:ext cx="4492555" cy="3423188"/>
          </a:xfrm>
          <a:prstGeom prst="rect">
            <a:avLst/>
          </a:prstGeom>
        </p:spPr>
      </p:pic>
      <p:sp>
        <p:nvSpPr>
          <p:cNvPr id="23" name="四角形: 角を丸くする 22">
            <a:extLst>
              <a:ext uri="{FF2B5EF4-FFF2-40B4-BE49-F238E27FC236}">
                <a16:creationId xmlns:a16="http://schemas.microsoft.com/office/drawing/2014/main" id="{85CC485B-C50D-857F-9649-722937CD7E7B}"/>
              </a:ext>
            </a:extLst>
          </p:cNvPr>
          <p:cNvSpPr/>
          <p:nvPr/>
        </p:nvSpPr>
        <p:spPr>
          <a:xfrm>
            <a:off x="9606885" y="2941684"/>
            <a:ext cx="3406025" cy="570468"/>
          </a:xfrm>
          <a:prstGeom prst="roundRect">
            <a:avLst>
              <a:gd name="adj" fmla="val 50000"/>
            </a:avLst>
          </a:prstGeom>
          <a:solidFill>
            <a:schemeClr val="accent3"/>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400" spc="100" dirty="0">
                <a:solidFill>
                  <a:schemeClr val="bg1"/>
                </a:solidFill>
                <a:latin typeface="+mj-ea"/>
                <a:ea typeface="+mj-ea"/>
              </a:rPr>
              <a:t>誰かに教えたい要素</a:t>
            </a:r>
          </a:p>
        </p:txBody>
      </p:sp>
      <p:sp>
        <p:nvSpPr>
          <p:cNvPr id="24" name="四角形: 角を丸くする 23">
            <a:extLst>
              <a:ext uri="{FF2B5EF4-FFF2-40B4-BE49-F238E27FC236}">
                <a16:creationId xmlns:a16="http://schemas.microsoft.com/office/drawing/2014/main" id="{FE53A105-AF4E-A4A6-2BAF-476C60611C6B}"/>
              </a:ext>
            </a:extLst>
          </p:cNvPr>
          <p:cNvSpPr/>
          <p:nvPr/>
        </p:nvSpPr>
        <p:spPr>
          <a:xfrm>
            <a:off x="13770548" y="2941684"/>
            <a:ext cx="3069922" cy="570468"/>
          </a:xfrm>
          <a:prstGeom prst="roundRect">
            <a:avLst>
              <a:gd name="adj" fmla="val 50000"/>
            </a:avLst>
          </a:prstGeom>
          <a:solidFill>
            <a:schemeClr val="accent3"/>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400" spc="100" dirty="0">
                <a:solidFill>
                  <a:schemeClr val="bg1"/>
                </a:solidFill>
                <a:latin typeface="+mj-ea"/>
                <a:ea typeface="+mj-ea"/>
              </a:rPr>
              <a:t>感情に訴える要素</a:t>
            </a:r>
          </a:p>
        </p:txBody>
      </p:sp>
      <p:grpSp>
        <p:nvGrpSpPr>
          <p:cNvPr id="25" name="グループ化 24">
            <a:extLst>
              <a:ext uri="{FF2B5EF4-FFF2-40B4-BE49-F238E27FC236}">
                <a16:creationId xmlns:a16="http://schemas.microsoft.com/office/drawing/2014/main" id="{DBDD2407-EEE4-3364-C92F-2C6DC5BF32E4}"/>
              </a:ext>
            </a:extLst>
          </p:cNvPr>
          <p:cNvGrpSpPr/>
          <p:nvPr/>
        </p:nvGrpSpPr>
        <p:grpSpPr>
          <a:xfrm>
            <a:off x="9867525" y="1691692"/>
            <a:ext cx="6805144" cy="625684"/>
            <a:chOff x="5949387" y="2277388"/>
            <a:chExt cx="6805144" cy="625684"/>
          </a:xfrm>
        </p:grpSpPr>
        <p:sp>
          <p:nvSpPr>
            <p:cNvPr id="26" name="テキスト ボックス 25">
              <a:extLst>
                <a:ext uri="{FF2B5EF4-FFF2-40B4-BE49-F238E27FC236}">
                  <a16:creationId xmlns:a16="http://schemas.microsoft.com/office/drawing/2014/main" id="{57BDBCF7-F633-7F78-C2CE-39D63740E2FB}"/>
                </a:ext>
              </a:extLst>
            </p:cNvPr>
            <p:cNvSpPr txBox="1"/>
            <p:nvPr/>
          </p:nvSpPr>
          <p:spPr>
            <a:xfrm>
              <a:off x="6543498" y="2277388"/>
              <a:ext cx="5616922" cy="625684"/>
            </a:xfrm>
            <a:prstGeom prst="rect">
              <a:avLst/>
            </a:prstGeom>
            <a:noFill/>
          </p:spPr>
          <p:txBody>
            <a:bodyPr wrap="none" lIns="0" tIns="0" rIns="0" bIns="0" rtlCol="0" anchor="t">
              <a:spAutoFit/>
            </a:bodyPr>
            <a:lstStyle/>
            <a:p>
              <a:pPr algn="ctr">
                <a:lnSpc>
                  <a:spcPct val="120000"/>
                </a:lnSpc>
                <a:spcAft>
                  <a:spcPts val="1500"/>
                </a:spcAft>
              </a:pPr>
              <a:r>
                <a:rPr lang="ja-JP" altLang="en-US" sz="3600" spc="50" dirty="0">
                  <a:solidFill>
                    <a:schemeClr val="accent1"/>
                  </a:solidFill>
                  <a:latin typeface="+mj-ea"/>
                  <a:ea typeface="+mj-ea"/>
                </a:rPr>
                <a:t>共感・拡散されやすい要素</a:t>
              </a:r>
            </a:p>
          </p:txBody>
        </p:sp>
        <p:grpSp>
          <p:nvGrpSpPr>
            <p:cNvPr id="27" name="グループ化 26">
              <a:extLst>
                <a:ext uri="{FF2B5EF4-FFF2-40B4-BE49-F238E27FC236}">
                  <a16:creationId xmlns:a16="http://schemas.microsoft.com/office/drawing/2014/main" id="{14129F21-8528-C70C-C7B3-4079C28BDA85}"/>
                </a:ext>
              </a:extLst>
            </p:cNvPr>
            <p:cNvGrpSpPr/>
            <p:nvPr/>
          </p:nvGrpSpPr>
          <p:grpSpPr>
            <a:xfrm>
              <a:off x="5949387" y="2331313"/>
              <a:ext cx="6805144" cy="556178"/>
              <a:chOff x="5949387" y="2277388"/>
              <a:chExt cx="6805144" cy="556178"/>
            </a:xfrm>
          </p:grpSpPr>
          <p:cxnSp>
            <p:nvCxnSpPr>
              <p:cNvPr id="28" name="直線コネクタ 27">
                <a:extLst>
                  <a:ext uri="{FF2B5EF4-FFF2-40B4-BE49-F238E27FC236}">
                    <a16:creationId xmlns:a16="http://schemas.microsoft.com/office/drawing/2014/main" id="{4DACA654-43D2-C252-55A1-806771C99805}"/>
                  </a:ext>
                </a:extLst>
              </p:cNvPr>
              <p:cNvCxnSpPr>
                <a:cxnSpLocks/>
              </p:cNvCxnSpPr>
              <p:nvPr/>
            </p:nvCxnSpPr>
            <p:spPr>
              <a:xfrm>
                <a:off x="5949387"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9" name="直線コネクタ 28">
                <a:extLst>
                  <a:ext uri="{FF2B5EF4-FFF2-40B4-BE49-F238E27FC236}">
                    <a16:creationId xmlns:a16="http://schemas.microsoft.com/office/drawing/2014/main" id="{E7726C76-8189-2AA5-25D1-7F578F22CA1B}"/>
                  </a:ext>
                </a:extLst>
              </p:cNvPr>
              <p:cNvCxnSpPr>
                <a:cxnSpLocks/>
              </p:cNvCxnSpPr>
              <p:nvPr/>
            </p:nvCxnSpPr>
            <p:spPr>
              <a:xfrm flipH="1">
                <a:off x="12453589"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30" name="グループ化 29">
            <a:extLst>
              <a:ext uri="{FF2B5EF4-FFF2-40B4-BE49-F238E27FC236}">
                <a16:creationId xmlns:a16="http://schemas.microsoft.com/office/drawing/2014/main" id="{0BCB4C65-B21B-ADEC-43B1-41477BDD916A}"/>
              </a:ext>
            </a:extLst>
          </p:cNvPr>
          <p:cNvGrpSpPr/>
          <p:nvPr/>
        </p:nvGrpSpPr>
        <p:grpSpPr>
          <a:xfrm>
            <a:off x="1290952" y="1691692"/>
            <a:ext cx="6805144" cy="923330"/>
            <a:chOff x="5949387" y="2310465"/>
            <a:chExt cx="6805144" cy="923330"/>
          </a:xfrm>
        </p:grpSpPr>
        <p:sp>
          <p:nvSpPr>
            <p:cNvPr id="31" name="テキスト ボックス 30">
              <a:extLst>
                <a:ext uri="{FF2B5EF4-FFF2-40B4-BE49-F238E27FC236}">
                  <a16:creationId xmlns:a16="http://schemas.microsoft.com/office/drawing/2014/main" id="{2AB250CF-F1C3-0393-50D8-83613C4D9E35}"/>
                </a:ext>
              </a:extLst>
            </p:cNvPr>
            <p:cNvSpPr txBox="1"/>
            <p:nvPr/>
          </p:nvSpPr>
          <p:spPr>
            <a:xfrm>
              <a:off x="6671738" y="2310465"/>
              <a:ext cx="5360442" cy="923330"/>
            </a:xfrm>
            <a:prstGeom prst="rect">
              <a:avLst/>
            </a:prstGeom>
            <a:noFill/>
          </p:spPr>
          <p:txBody>
            <a:bodyPr wrap="none" lIns="0" tIns="0" rIns="0" bIns="0" rtlCol="0" anchor="t">
              <a:spAutoFit/>
            </a:bodyPr>
            <a:lstStyle/>
            <a:p>
              <a:pPr algn="ctr"/>
              <a:r>
                <a:rPr kumimoji="1" lang="ja-JP" altLang="en-US" sz="3600" spc="200" dirty="0">
                  <a:solidFill>
                    <a:schemeClr val="accent1"/>
                  </a:solidFill>
                  <a:latin typeface="+mj-ea"/>
                  <a:ea typeface="+mj-ea"/>
                </a:rPr>
                <a:t>人は信じたいものを選ぶ</a:t>
              </a:r>
              <a:br>
                <a:rPr kumimoji="1" lang="en-US" altLang="ja-JP" sz="3600" spc="200" dirty="0">
                  <a:solidFill>
                    <a:schemeClr val="accent1"/>
                  </a:solidFill>
                  <a:latin typeface="+mj-ea"/>
                  <a:ea typeface="+mj-ea"/>
                </a:rPr>
              </a:br>
              <a:r>
                <a:rPr kumimoji="1" lang="ja-JP" altLang="en-US" sz="2400" spc="200" dirty="0">
                  <a:solidFill>
                    <a:schemeClr val="accent1"/>
                  </a:solidFill>
                  <a:latin typeface="+mj-ea"/>
                  <a:ea typeface="+mj-ea"/>
                </a:rPr>
                <a:t>（認知バイアス）</a:t>
              </a:r>
              <a:endParaRPr kumimoji="1" lang="ja-JP" altLang="en-US" sz="3200" spc="200" dirty="0">
                <a:solidFill>
                  <a:schemeClr val="accent1"/>
                </a:solidFill>
                <a:latin typeface="+mj-ea"/>
                <a:ea typeface="+mj-ea"/>
              </a:endParaRPr>
            </a:p>
          </p:txBody>
        </p:sp>
        <p:grpSp>
          <p:nvGrpSpPr>
            <p:cNvPr id="32" name="グループ化 31">
              <a:extLst>
                <a:ext uri="{FF2B5EF4-FFF2-40B4-BE49-F238E27FC236}">
                  <a16:creationId xmlns:a16="http://schemas.microsoft.com/office/drawing/2014/main" id="{29E36C71-729F-6504-7BBE-233F769CB5BA}"/>
                </a:ext>
              </a:extLst>
            </p:cNvPr>
            <p:cNvGrpSpPr/>
            <p:nvPr/>
          </p:nvGrpSpPr>
          <p:grpSpPr>
            <a:xfrm>
              <a:off x="5949387" y="2331313"/>
              <a:ext cx="6805144" cy="556178"/>
              <a:chOff x="5949387" y="2277388"/>
              <a:chExt cx="6805144" cy="556178"/>
            </a:xfrm>
          </p:grpSpPr>
          <p:cxnSp>
            <p:nvCxnSpPr>
              <p:cNvPr id="33" name="直線コネクタ 32">
                <a:extLst>
                  <a:ext uri="{FF2B5EF4-FFF2-40B4-BE49-F238E27FC236}">
                    <a16:creationId xmlns:a16="http://schemas.microsoft.com/office/drawing/2014/main" id="{482416A4-EF26-8630-C01A-37D75EB7129D}"/>
                  </a:ext>
                </a:extLst>
              </p:cNvPr>
              <p:cNvCxnSpPr>
                <a:cxnSpLocks/>
              </p:cNvCxnSpPr>
              <p:nvPr/>
            </p:nvCxnSpPr>
            <p:spPr>
              <a:xfrm>
                <a:off x="5949387"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34" name="直線コネクタ 33">
                <a:extLst>
                  <a:ext uri="{FF2B5EF4-FFF2-40B4-BE49-F238E27FC236}">
                    <a16:creationId xmlns:a16="http://schemas.microsoft.com/office/drawing/2014/main" id="{FEDE91C3-7B6D-2D4D-949F-523A63DD6025}"/>
                  </a:ext>
                </a:extLst>
              </p:cNvPr>
              <p:cNvCxnSpPr>
                <a:cxnSpLocks/>
              </p:cNvCxnSpPr>
              <p:nvPr/>
            </p:nvCxnSpPr>
            <p:spPr>
              <a:xfrm flipH="1">
                <a:off x="12453589"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sp>
        <p:nvSpPr>
          <p:cNvPr id="5" name="スライド番号プレースホルダー 4">
            <a:extLst>
              <a:ext uri="{FF2B5EF4-FFF2-40B4-BE49-F238E27FC236}">
                <a16:creationId xmlns:a16="http://schemas.microsoft.com/office/drawing/2014/main" id="{244E6044-EC12-5B82-7B27-523D9CEAC57B}"/>
              </a:ext>
            </a:extLst>
          </p:cNvPr>
          <p:cNvSpPr>
            <a:spLocks noGrp="1"/>
          </p:cNvSpPr>
          <p:nvPr>
            <p:ph type="sldNum" sz="quarter" idx="11"/>
          </p:nvPr>
        </p:nvSpPr>
        <p:spPr>
          <a:xfrm>
            <a:off x="17695001" y="9786651"/>
            <a:ext cx="327013" cy="307777"/>
          </a:xfrm>
        </p:spPr>
        <p:txBody>
          <a:bodyPr/>
          <a:lstStyle/>
          <a:p>
            <a:r>
              <a:rPr lang="en-US" altLang="ja-JP"/>
              <a:t>38</a:t>
            </a:r>
            <a:endParaRPr lang="ja-JP" altLang="en-US" dirty="0"/>
          </a:p>
        </p:txBody>
      </p:sp>
      <p:pic>
        <p:nvPicPr>
          <p:cNvPr id="10" name="図 9">
            <a:extLst>
              <a:ext uri="{FF2B5EF4-FFF2-40B4-BE49-F238E27FC236}">
                <a16:creationId xmlns:a16="http://schemas.microsoft.com/office/drawing/2014/main" id="{873F2FDA-D1B4-83DD-B8B0-0039B0880ADF}"/>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a:off x="1496643" y="5064455"/>
            <a:ext cx="6335878" cy="4042597"/>
          </a:xfrm>
          <a:prstGeom prst="rect">
            <a:avLst/>
          </a:prstGeom>
        </p:spPr>
      </p:pic>
    </p:spTree>
    <p:extLst>
      <p:ext uri="{BB962C8B-B14F-4D97-AF65-F5344CB8AC3E}">
        <p14:creationId xmlns:p14="http://schemas.microsoft.com/office/powerpoint/2010/main" val="1460735014"/>
      </p:ext>
    </p:extLst>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9C5A2C62-F3E4-7E7B-4350-9D160389BEB8}"/>
              </a:ext>
            </a:extLst>
          </p:cNvPr>
          <p:cNvSpPr>
            <a:spLocks noGrp="1"/>
          </p:cNvSpPr>
          <p:nvPr>
            <p:ph type="title"/>
          </p:nvPr>
        </p:nvSpPr>
        <p:spPr>
          <a:xfrm>
            <a:off x="891741" y="506301"/>
            <a:ext cx="8178521" cy="492443"/>
          </a:xfrm>
        </p:spPr>
        <p:txBody>
          <a:bodyPr/>
          <a:lstStyle/>
          <a:p>
            <a:r>
              <a:rPr lang="ja-JP" altLang="en-US" dirty="0"/>
              <a:t>❷ チェックリストを用いて真偽を判断する</a:t>
            </a:r>
          </a:p>
        </p:txBody>
      </p:sp>
      <p:sp>
        <p:nvSpPr>
          <p:cNvPr id="3" name="テキスト ボックス 2">
            <a:extLst>
              <a:ext uri="{FF2B5EF4-FFF2-40B4-BE49-F238E27FC236}">
                <a16:creationId xmlns:a16="http://schemas.microsoft.com/office/drawing/2014/main" id="{A200A4CD-417E-2052-232C-56C64102D171}"/>
              </a:ext>
            </a:extLst>
          </p:cNvPr>
          <p:cNvSpPr txBox="1"/>
          <p:nvPr/>
        </p:nvSpPr>
        <p:spPr>
          <a:xfrm>
            <a:off x="372103" y="9832817"/>
            <a:ext cx="7739298"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総務省「インターネットとの向き合い方～ニセ・誤情報に騙されないために～」</a:t>
            </a:r>
          </a:p>
        </p:txBody>
      </p:sp>
      <p:sp>
        <p:nvSpPr>
          <p:cNvPr id="5" name="テキスト ボックス 4">
            <a:extLst>
              <a:ext uri="{FF2B5EF4-FFF2-40B4-BE49-F238E27FC236}">
                <a16:creationId xmlns:a16="http://schemas.microsoft.com/office/drawing/2014/main" id="{169FD07C-48DF-372E-F010-1B45A860700A}"/>
              </a:ext>
            </a:extLst>
          </p:cNvPr>
          <p:cNvSpPr txBox="1"/>
          <p:nvPr/>
        </p:nvSpPr>
        <p:spPr>
          <a:xfrm>
            <a:off x="372103" y="9191690"/>
            <a:ext cx="9879308" cy="430887"/>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1</a:t>
            </a:r>
            <a:r>
              <a:rPr kumimoji="1" lang="ja-JP" altLang="en-US" sz="1400" spc="100" dirty="0">
                <a:solidFill>
                  <a:schemeClr val="tx2"/>
                </a:solidFill>
                <a:latin typeface="+mn-ea"/>
              </a:rPr>
              <a:t>：ファクトチェックとは、情報・ニュースや言説が「事実に基づいているか」を調査、公表する営みのこと。</a:t>
            </a:r>
            <a:br>
              <a:rPr kumimoji="1" lang="en-US" altLang="ja-JP" sz="1400" spc="100" dirty="0">
                <a:solidFill>
                  <a:schemeClr val="tx2"/>
                </a:solidFill>
                <a:latin typeface="+mn-ea"/>
              </a:rPr>
            </a:br>
            <a:r>
              <a:rPr kumimoji="1" lang="ja-JP" altLang="en-US" sz="1400" spc="100" dirty="0">
                <a:solidFill>
                  <a:schemeClr val="tx2"/>
                </a:solidFill>
                <a:latin typeface="+mn-ea"/>
              </a:rPr>
              <a:t>大手メディアやネットメディア、非営利組織などが実施している様々なファクトチェックがあります。</a:t>
            </a:r>
          </a:p>
        </p:txBody>
      </p:sp>
      <p:grpSp>
        <p:nvGrpSpPr>
          <p:cNvPr id="28" name="グループ化 27">
            <a:extLst>
              <a:ext uri="{FF2B5EF4-FFF2-40B4-BE49-F238E27FC236}">
                <a16:creationId xmlns:a16="http://schemas.microsoft.com/office/drawing/2014/main" id="{7654DF31-8942-6C8D-C8EC-D884346F7B8F}"/>
              </a:ext>
            </a:extLst>
          </p:cNvPr>
          <p:cNvGrpSpPr/>
          <p:nvPr/>
        </p:nvGrpSpPr>
        <p:grpSpPr>
          <a:xfrm>
            <a:off x="9501612" y="1694328"/>
            <a:ext cx="7809590" cy="6801778"/>
            <a:chOff x="10239896" y="2660787"/>
            <a:chExt cx="7259704" cy="6801778"/>
          </a:xfrm>
          <a:effectLst/>
        </p:grpSpPr>
        <p:sp>
          <p:nvSpPr>
            <p:cNvPr id="29" name="四角形: 角を丸くする 28">
              <a:extLst>
                <a:ext uri="{FF2B5EF4-FFF2-40B4-BE49-F238E27FC236}">
                  <a16:creationId xmlns:a16="http://schemas.microsoft.com/office/drawing/2014/main" id="{1EE1C98E-608B-8F27-67D0-3CFA80D2172E}"/>
                </a:ext>
              </a:extLst>
            </p:cNvPr>
            <p:cNvSpPr/>
            <p:nvPr/>
          </p:nvSpPr>
          <p:spPr>
            <a:xfrm>
              <a:off x="10239896" y="2817627"/>
              <a:ext cx="7259704" cy="6644938"/>
            </a:xfrm>
            <a:prstGeom prst="roundRect">
              <a:avLst>
                <a:gd name="adj" fmla="val 2090"/>
              </a:avLst>
            </a:prstGeom>
            <a:solidFill>
              <a:schemeClr val="bg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6000" dirty="0">
                <a:solidFill>
                  <a:schemeClr val="bg1"/>
                </a:solidFill>
              </a:endParaRPr>
            </a:p>
          </p:txBody>
        </p:sp>
        <p:sp>
          <p:nvSpPr>
            <p:cNvPr id="30" name="四角形: 上の 2 つの角を丸める 29">
              <a:extLst>
                <a:ext uri="{FF2B5EF4-FFF2-40B4-BE49-F238E27FC236}">
                  <a16:creationId xmlns:a16="http://schemas.microsoft.com/office/drawing/2014/main" id="{819C61CC-3858-CFD5-4994-DE168A31C82F}"/>
                </a:ext>
              </a:extLst>
            </p:cNvPr>
            <p:cNvSpPr/>
            <p:nvPr/>
          </p:nvSpPr>
          <p:spPr>
            <a:xfrm>
              <a:off x="10239896" y="2660787"/>
              <a:ext cx="7259704" cy="937393"/>
            </a:xfrm>
            <a:prstGeom prst="round2SameRect">
              <a:avLst/>
            </a:prstGeom>
            <a:solidFill>
              <a:schemeClr val="tx1"/>
            </a:solidFill>
            <a:ln w="381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600" b="1" dirty="0">
                  <a:solidFill>
                    <a:schemeClr val="bg1"/>
                  </a:solidFill>
                  <a:latin typeface="+mj-ea"/>
                  <a:ea typeface="+mj-ea"/>
                </a:rPr>
                <a:t>応 用</a:t>
              </a:r>
              <a:endParaRPr kumimoji="1" lang="ja-JP" altLang="en-US" sz="3600" b="1" dirty="0">
                <a:solidFill>
                  <a:schemeClr val="bg1"/>
                </a:solidFill>
                <a:latin typeface="+mj-ea"/>
                <a:ea typeface="+mj-ea"/>
              </a:endParaRPr>
            </a:p>
          </p:txBody>
        </p:sp>
      </p:grpSp>
      <p:grpSp>
        <p:nvGrpSpPr>
          <p:cNvPr id="31" name="グループ化 30">
            <a:extLst>
              <a:ext uri="{FF2B5EF4-FFF2-40B4-BE49-F238E27FC236}">
                <a16:creationId xmlns:a16="http://schemas.microsoft.com/office/drawing/2014/main" id="{C53602C1-D699-0609-3D64-D9708BB9A792}"/>
              </a:ext>
            </a:extLst>
          </p:cNvPr>
          <p:cNvGrpSpPr/>
          <p:nvPr/>
        </p:nvGrpSpPr>
        <p:grpSpPr>
          <a:xfrm>
            <a:off x="976799" y="1694328"/>
            <a:ext cx="7809590" cy="6801777"/>
            <a:chOff x="2504480" y="2660787"/>
            <a:chExt cx="7259704" cy="6801777"/>
          </a:xfrm>
          <a:effectLst/>
        </p:grpSpPr>
        <p:sp>
          <p:nvSpPr>
            <p:cNvPr id="32" name="四角形: 角を丸くする 31">
              <a:extLst>
                <a:ext uri="{FF2B5EF4-FFF2-40B4-BE49-F238E27FC236}">
                  <a16:creationId xmlns:a16="http://schemas.microsoft.com/office/drawing/2014/main" id="{3F2ACEAC-F3E3-2A86-4B5A-EFC82A93EF76}"/>
                </a:ext>
              </a:extLst>
            </p:cNvPr>
            <p:cNvSpPr/>
            <p:nvPr/>
          </p:nvSpPr>
          <p:spPr>
            <a:xfrm>
              <a:off x="2504480" y="3479602"/>
              <a:ext cx="7259704" cy="5982962"/>
            </a:xfrm>
            <a:prstGeom prst="roundRect">
              <a:avLst>
                <a:gd name="adj" fmla="val 2090"/>
              </a:avLst>
            </a:prstGeom>
            <a:solidFill>
              <a:schemeClr val="bg1"/>
            </a:solidFill>
            <a:ln w="38100">
              <a:solidFill>
                <a:schemeClr val="tx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6000" dirty="0">
                <a:solidFill>
                  <a:schemeClr val="bg1"/>
                </a:solidFill>
              </a:endParaRPr>
            </a:p>
          </p:txBody>
        </p:sp>
        <p:sp>
          <p:nvSpPr>
            <p:cNvPr id="33" name="四角形: 上の 2 つの角を丸める 32">
              <a:extLst>
                <a:ext uri="{FF2B5EF4-FFF2-40B4-BE49-F238E27FC236}">
                  <a16:creationId xmlns:a16="http://schemas.microsoft.com/office/drawing/2014/main" id="{27F14CFB-3DA5-F680-0AB2-2A8935DC0C55}"/>
                </a:ext>
              </a:extLst>
            </p:cNvPr>
            <p:cNvSpPr/>
            <p:nvPr/>
          </p:nvSpPr>
          <p:spPr>
            <a:xfrm>
              <a:off x="2504480" y="2660787"/>
              <a:ext cx="7259704" cy="937393"/>
            </a:xfrm>
            <a:prstGeom prst="round2SameRect">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600" b="1" dirty="0">
                  <a:solidFill>
                    <a:schemeClr val="bg1"/>
                  </a:solidFill>
                  <a:latin typeface="+mj-ea"/>
                  <a:ea typeface="+mj-ea"/>
                </a:rPr>
                <a:t>基 本</a:t>
              </a:r>
              <a:endParaRPr kumimoji="1" lang="ja-JP" altLang="en-US" sz="3600" b="1" dirty="0">
                <a:solidFill>
                  <a:schemeClr val="bg1"/>
                </a:solidFill>
                <a:latin typeface="+mj-ea"/>
                <a:ea typeface="+mj-ea"/>
              </a:endParaRPr>
            </a:p>
          </p:txBody>
        </p:sp>
      </p:grpSp>
      <p:grpSp>
        <p:nvGrpSpPr>
          <p:cNvPr id="106" name="グループ化 105">
            <a:extLst>
              <a:ext uri="{FF2B5EF4-FFF2-40B4-BE49-F238E27FC236}">
                <a16:creationId xmlns:a16="http://schemas.microsoft.com/office/drawing/2014/main" id="{A496EFDE-7C79-8841-7C5A-89EC0401302A}"/>
              </a:ext>
            </a:extLst>
          </p:cNvPr>
          <p:cNvGrpSpPr/>
          <p:nvPr/>
        </p:nvGrpSpPr>
        <p:grpSpPr>
          <a:xfrm>
            <a:off x="2082064" y="3014101"/>
            <a:ext cx="3723933" cy="667234"/>
            <a:chOff x="2082064" y="3025676"/>
            <a:chExt cx="3723933" cy="667234"/>
          </a:xfrm>
        </p:grpSpPr>
        <p:cxnSp>
          <p:nvCxnSpPr>
            <p:cNvPr id="35" name="直線コネクタ 34">
              <a:extLst>
                <a:ext uri="{FF2B5EF4-FFF2-40B4-BE49-F238E27FC236}">
                  <a16:creationId xmlns:a16="http://schemas.microsoft.com/office/drawing/2014/main" id="{5CDE51C4-1D05-6B40-AE70-615B85BC36D8}"/>
                </a:ext>
              </a:extLst>
            </p:cNvPr>
            <p:cNvCxnSpPr>
              <a:cxnSpLocks/>
            </p:cNvCxnSpPr>
            <p:nvPr/>
          </p:nvCxnSpPr>
          <p:spPr>
            <a:xfrm>
              <a:off x="2760738" y="3594570"/>
              <a:ext cx="1364725"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37" name="グループ化 36">
              <a:extLst>
                <a:ext uri="{FF2B5EF4-FFF2-40B4-BE49-F238E27FC236}">
                  <a16:creationId xmlns:a16="http://schemas.microsoft.com/office/drawing/2014/main" id="{806E7267-2A92-35E4-3606-839A875426A4}"/>
                </a:ext>
              </a:extLst>
            </p:cNvPr>
            <p:cNvGrpSpPr/>
            <p:nvPr/>
          </p:nvGrpSpPr>
          <p:grpSpPr>
            <a:xfrm>
              <a:off x="2082064" y="3136861"/>
              <a:ext cx="481424" cy="481422"/>
              <a:chOff x="8585167" y="4739785"/>
              <a:chExt cx="1076327" cy="1076324"/>
            </a:xfrm>
          </p:grpSpPr>
          <p:sp>
            <p:nvSpPr>
              <p:cNvPr id="39" name="フリーフォーム: 図形 38">
                <a:extLst>
                  <a:ext uri="{FF2B5EF4-FFF2-40B4-BE49-F238E27FC236}">
                    <a16:creationId xmlns:a16="http://schemas.microsoft.com/office/drawing/2014/main" id="{A7D46437-69C5-A385-03BD-386104558A4B}"/>
                  </a:ext>
                </a:extLst>
              </p:cNvPr>
              <p:cNvSpPr/>
              <p:nvPr/>
            </p:nvSpPr>
            <p:spPr>
              <a:xfrm>
                <a:off x="8585167" y="4892185"/>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40" name="フリーフォーム: 図形 39">
                <a:extLst>
                  <a:ext uri="{FF2B5EF4-FFF2-40B4-BE49-F238E27FC236}">
                    <a16:creationId xmlns:a16="http://schemas.microsoft.com/office/drawing/2014/main" id="{0F14E854-DC6C-556F-3109-48EC30B4A35B}"/>
                  </a:ext>
                </a:extLst>
              </p:cNvPr>
              <p:cNvSpPr/>
              <p:nvPr/>
            </p:nvSpPr>
            <p:spPr>
              <a:xfrm>
                <a:off x="8861490" y="4739785"/>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dirty="0"/>
              </a:p>
            </p:txBody>
          </p:sp>
        </p:grpSp>
        <p:sp>
          <p:nvSpPr>
            <p:cNvPr id="38" name="テキスト ボックス 37">
              <a:extLst>
                <a:ext uri="{FF2B5EF4-FFF2-40B4-BE49-F238E27FC236}">
                  <a16:creationId xmlns:a16="http://schemas.microsoft.com/office/drawing/2014/main" id="{A6560AAD-96AD-5FF5-FA20-B3EADFF402C5}"/>
                </a:ext>
              </a:extLst>
            </p:cNvPr>
            <p:cNvSpPr txBox="1"/>
            <p:nvPr/>
          </p:nvSpPr>
          <p:spPr>
            <a:xfrm>
              <a:off x="2779527" y="3025676"/>
              <a:ext cx="3026470"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600" dirty="0">
                  <a:latin typeface="+mj-ea"/>
                  <a:ea typeface="+mj-ea"/>
                </a:rPr>
                <a:t>情報源</a:t>
              </a:r>
              <a:r>
                <a:rPr lang="ja-JP" altLang="en-US" sz="3200" dirty="0">
                  <a:latin typeface="+mn-ea"/>
                </a:rPr>
                <a:t>はある？</a:t>
              </a:r>
              <a:endParaRPr lang="ja-JP" altLang="en-US" sz="3600" dirty="0">
                <a:latin typeface="+mn-ea"/>
              </a:endParaRPr>
            </a:p>
          </p:txBody>
        </p:sp>
      </p:grpSp>
      <p:grpSp>
        <p:nvGrpSpPr>
          <p:cNvPr id="107" name="グループ化 106">
            <a:extLst>
              <a:ext uri="{FF2B5EF4-FFF2-40B4-BE49-F238E27FC236}">
                <a16:creationId xmlns:a16="http://schemas.microsoft.com/office/drawing/2014/main" id="{C2FE20EE-3A95-96B7-E096-765810EB5891}"/>
              </a:ext>
            </a:extLst>
          </p:cNvPr>
          <p:cNvGrpSpPr/>
          <p:nvPr/>
        </p:nvGrpSpPr>
        <p:grpSpPr>
          <a:xfrm>
            <a:off x="2082063" y="4380874"/>
            <a:ext cx="4595967" cy="667234"/>
            <a:chOff x="2082063" y="4393387"/>
            <a:chExt cx="4595967" cy="667234"/>
          </a:xfrm>
        </p:grpSpPr>
        <p:cxnSp>
          <p:nvCxnSpPr>
            <p:cNvPr id="42" name="直線コネクタ 41">
              <a:extLst>
                <a:ext uri="{FF2B5EF4-FFF2-40B4-BE49-F238E27FC236}">
                  <a16:creationId xmlns:a16="http://schemas.microsoft.com/office/drawing/2014/main" id="{EC9E7982-5436-399F-69B8-7210FE3D772C}"/>
                </a:ext>
              </a:extLst>
            </p:cNvPr>
            <p:cNvCxnSpPr>
              <a:cxnSpLocks/>
            </p:cNvCxnSpPr>
            <p:nvPr/>
          </p:nvCxnSpPr>
          <p:spPr>
            <a:xfrm>
              <a:off x="4793783" y="4991761"/>
              <a:ext cx="1364725"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44" name="グループ化 43">
              <a:extLst>
                <a:ext uri="{FF2B5EF4-FFF2-40B4-BE49-F238E27FC236}">
                  <a16:creationId xmlns:a16="http://schemas.microsoft.com/office/drawing/2014/main" id="{09EDC28D-F827-CB90-5261-C43014FB46E1}"/>
                </a:ext>
              </a:extLst>
            </p:cNvPr>
            <p:cNvGrpSpPr/>
            <p:nvPr/>
          </p:nvGrpSpPr>
          <p:grpSpPr>
            <a:xfrm>
              <a:off x="2082063" y="4519337"/>
              <a:ext cx="481423" cy="481423"/>
              <a:chOff x="8585167" y="4643403"/>
              <a:chExt cx="1076325" cy="1076326"/>
            </a:xfrm>
          </p:grpSpPr>
          <p:sp>
            <p:nvSpPr>
              <p:cNvPr id="46" name="フリーフォーム: 図形 45">
                <a:extLst>
                  <a:ext uri="{FF2B5EF4-FFF2-40B4-BE49-F238E27FC236}">
                    <a16:creationId xmlns:a16="http://schemas.microsoft.com/office/drawing/2014/main" id="{B5A41967-3CDD-6855-9E5C-6D94D4728F57}"/>
                  </a:ext>
                </a:extLst>
              </p:cNvPr>
              <p:cNvSpPr/>
              <p:nvPr/>
            </p:nvSpPr>
            <p:spPr>
              <a:xfrm>
                <a:off x="8585167" y="4795805"/>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47" name="フリーフォーム: 図形 46">
                <a:extLst>
                  <a:ext uri="{FF2B5EF4-FFF2-40B4-BE49-F238E27FC236}">
                    <a16:creationId xmlns:a16="http://schemas.microsoft.com/office/drawing/2014/main" id="{13D630CA-13AC-22AC-9F92-99732D8472AC}"/>
                  </a:ext>
                </a:extLst>
              </p:cNvPr>
              <p:cNvSpPr/>
              <p:nvPr/>
            </p:nvSpPr>
            <p:spPr>
              <a:xfrm>
                <a:off x="8861488" y="4643403"/>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45" name="テキスト ボックス 44">
              <a:extLst>
                <a:ext uri="{FF2B5EF4-FFF2-40B4-BE49-F238E27FC236}">
                  <a16:creationId xmlns:a16="http://schemas.microsoft.com/office/drawing/2014/main" id="{551D8E0D-76BF-81AD-74B3-1F5A5C178BEC}"/>
                </a:ext>
              </a:extLst>
            </p:cNvPr>
            <p:cNvSpPr txBox="1"/>
            <p:nvPr/>
          </p:nvSpPr>
          <p:spPr>
            <a:xfrm>
              <a:off x="2779527" y="4393387"/>
              <a:ext cx="3898503"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200" dirty="0">
                  <a:latin typeface="+mn-ea"/>
                </a:rPr>
                <a:t>その分野の</a:t>
              </a:r>
              <a:r>
                <a:rPr lang="ja-JP" altLang="en-US" sz="3600" dirty="0">
                  <a:latin typeface="+mj-ea"/>
                  <a:ea typeface="+mj-ea"/>
                </a:rPr>
                <a:t>専門家</a:t>
              </a:r>
              <a:r>
                <a:rPr lang="ja-JP" altLang="en-US" sz="3600" dirty="0">
                  <a:latin typeface="+mn-ea"/>
                </a:rPr>
                <a:t>？</a:t>
              </a:r>
            </a:p>
          </p:txBody>
        </p:sp>
      </p:grpSp>
      <p:grpSp>
        <p:nvGrpSpPr>
          <p:cNvPr id="108" name="グループ化 107">
            <a:extLst>
              <a:ext uri="{FF2B5EF4-FFF2-40B4-BE49-F238E27FC236}">
                <a16:creationId xmlns:a16="http://schemas.microsoft.com/office/drawing/2014/main" id="{B210157D-22DB-B5F3-13A5-4A8E4E05D8E1}"/>
              </a:ext>
            </a:extLst>
          </p:cNvPr>
          <p:cNvGrpSpPr/>
          <p:nvPr/>
        </p:nvGrpSpPr>
        <p:grpSpPr>
          <a:xfrm>
            <a:off x="2082063" y="5840510"/>
            <a:ext cx="5775777" cy="667234"/>
            <a:chOff x="2082063" y="5876847"/>
            <a:chExt cx="5775777" cy="667234"/>
          </a:xfrm>
        </p:grpSpPr>
        <p:cxnSp>
          <p:nvCxnSpPr>
            <p:cNvPr id="49" name="直線コネクタ 48">
              <a:extLst>
                <a:ext uri="{FF2B5EF4-FFF2-40B4-BE49-F238E27FC236}">
                  <a16:creationId xmlns:a16="http://schemas.microsoft.com/office/drawing/2014/main" id="{6D1D446C-3CAC-3357-51E5-9A5DF78E58A2}"/>
                </a:ext>
              </a:extLst>
            </p:cNvPr>
            <p:cNvCxnSpPr>
              <a:cxnSpLocks/>
            </p:cNvCxnSpPr>
            <p:nvPr/>
          </p:nvCxnSpPr>
          <p:spPr>
            <a:xfrm>
              <a:off x="2721670" y="6442213"/>
              <a:ext cx="1364725"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51" name="グループ化 50">
              <a:extLst>
                <a:ext uri="{FF2B5EF4-FFF2-40B4-BE49-F238E27FC236}">
                  <a16:creationId xmlns:a16="http://schemas.microsoft.com/office/drawing/2014/main" id="{E32D4D4B-4DEC-450C-2095-C3BB501593B0}"/>
                </a:ext>
              </a:extLst>
            </p:cNvPr>
            <p:cNvGrpSpPr/>
            <p:nvPr/>
          </p:nvGrpSpPr>
          <p:grpSpPr>
            <a:xfrm>
              <a:off x="2082063" y="5993554"/>
              <a:ext cx="481423" cy="481422"/>
              <a:chOff x="8585167" y="4752131"/>
              <a:chExt cx="1076325" cy="1076324"/>
            </a:xfrm>
          </p:grpSpPr>
          <p:sp>
            <p:nvSpPr>
              <p:cNvPr id="53" name="フリーフォーム: 図形 52">
                <a:extLst>
                  <a:ext uri="{FF2B5EF4-FFF2-40B4-BE49-F238E27FC236}">
                    <a16:creationId xmlns:a16="http://schemas.microsoft.com/office/drawing/2014/main" id="{A21507B7-4FFE-B796-2649-0A16E205A78C}"/>
                  </a:ext>
                </a:extLst>
              </p:cNvPr>
              <p:cNvSpPr/>
              <p:nvPr/>
            </p:nvSpPr>
            <p:spPr>
              <a:xfrm>
                <a:off x="8585167" y="4904531"/>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54" name="フリーフォーム: 図形 53">
                <a:extLst>
                  <a:ext uri="{FF2B5EF4-FFF2-40B4-BE49-F238E27FC236}">
                    <a16:creationId xmlns:a16="http://schemas.microsoft.com/office/drawing/2014/main" id="{0D6539A2-138E-0FA8-5D47-2E7E8274E9AB}"/>
                  </a:ext>
                </a:extLst>
              </p:cNvPr>
              <p:cNvSpPr/>
              <p:nvPr/>
            </p:nvSpPr>
            <p:spPr>
              <a:xfrm>
                <a:off x="8861488" y="4752131"/>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52" name="テキスト ボックス 51">
              <a:extLst>
                <a:ext uri="{FF2B5EF4-FFF2-40B4-BE49-F238E27FC236}">
                  <a16:creationId xmlns:a16="http://schemas.microsoft.com/office/drawing/2014/main" id="{2E41DCF9-267B-9B6B-B46E-0BDC68718344}"/>
                </a:ext>
              </a:extLst>
            </p:cNvPr>
            <p:cNvSpPr txBox="1"/>
            <p:nvPr/>
          </p:nvSpPr>
          <p:spPr>
            <a:xfrm>
              <a:off x="2779527" y="5876847"/>
              <a:ext cx="5078313"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600" dirty="0">
                  <a:latin typeface="+mj-ea"/>
                  <a:ea typeface="+mj-ea"/>
                </a:rPr>
                <a:t>他では</a:t>
              </a:r>
              <a:r>
                <a:rPr lang="ja-JP" altLang="en-US" sz="3200" dirty="0">
                  <a:latin typeface="+mn-ea"/>
                </a:rPr>
                <a:t>どう言われている？</a:t>
              </a:r>
              <a:endParaRPr lang="ja-JP" altLang="en-US" sz="3600" dirty="0">
                <a:latin typeface="+mn-ea"/>
              </a:endParaRPr>
            </a:p>
          </p:txBody>
        </p:sp>
      </p:grpSp>
      <p:grpSp>
        <p:nvGrpSpPr>
          <p:cNvPr id="110" name="グループ化 109">
            <a:extLst>
              <a:ext uri="{FF2B5EF4-FFF2-40B4-BE49-F238E27FC236}">
                <a16:creationId xmlns:a16="http://schemas.microsoft.com/office/drawing/2014/main" id="{CB39463B-7886-C779-6A5C-808150DD88E5}"/>
              </a:ext>
            </a:extLst>
          </p:cNvPr>
          <p:cNvGrpSpPr/>
          <p:nvPr/>
        </p:nvGrpSpPr>
        <p:grpSpPr>
          <a:xfrm>
            <a:off x="2082063" y="7315749"/>
            <a:ext cx="4134302" cy="667234"/>
            <a:chOff x="2082063" y="7256133"/>
            <a:chExt cx="4134302" cy="667234"/>
          </a:xfrm>
        </p:grpSpPr>
        <p:cxnSp>
          <p:nvCxnSpPr>
            <p:cNvPr id="56" name="直線コネクタ 55">
              <a:extLst>
                <a:ext uri="{FF2B5EF4-FFF2-40B4-BE49-F238E27FC236}">
                  <a16:creationId xmlns:a16="http://schemas.microsoft.com/office/drawing/2014/main" id="{438BD1B5-079F-7EE7-0E68-96D49E0AC759}"/>
                </a:ext>
              </a:extLst>
            </p:cNvPr>
            <p:cNvCxnSpPr>
              <a:cxnSpLocks/>
            </p:cNvCxnSpPr>
            <p:nvPr/>
          </p:nvCxnSpPr>
          <p:spPr>
            <a:xfrm>
              <a:off x="4805006" y="7842510"/>
              <a:ext cx="941807"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58" name="グループ化 57">
              <a:extLst>
                <a:ext uri="{FF2B5EF4-FFF2-40B4-BE49-F238E27FC236}">
                  <a16:creationId xmlns:a16="http://schemas.microsoft.com/office/drawing/2014/main" id="{030430D2-0362-CB5A-335B-CA86DB8BBE43}"/>
                </a:ext>
              </a:extLst>
            </p:cNvPr>
            <p:cNvGrpSpPr/>
            <p:nvPr/>
          </p:nvGrpSpPr>
          <p:grpSpPr>
            <a:xfrm>
              <a:off x="2082063" y="7383297"/>
              <a:ext cx="481423" cy="481425"/>
              <a:chOff x="8585167" y="4671995"/>
              <a:chExt cx="1076325" cy="1076331"/>
            </a:xfrm>
          </p:grpSpPr>
          <p:sp>
            <p:nvSpPr>
              <p:cNvPr id="60" name="フリーフォーム: 図形 59">
                <a:extLst>
                  <a:ext uri="{FF2B5EF4-FFF2-40B4-BE49-F238E27FC236}">
                    <a16:creationId xmlns:a16="http://schemas.microsoft.com/office/drawing/2014/main" id="{546D3350-D910-B2B3-FBE5-4203387B0049}"/>
                  </a:ext>
                </a:extLst>
              </p:cNvPr>
              <p:cNvSpPr/>
              <p:nvPr/>
            </p:nvSpPr>
            <p:spPr>
              <a:xfrm>
                <a:off x="8585167" y="4824402"/>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61" name="フリーフォーム: 図形 60">
                <a:extLst>
                  <a:ext uri="{FF2B5EF4-FFF2-40B4-BE49-F238E27FC236}">
                    <a16:creationId xmlns:a16="http://schemas.microsoft.com/office/drawing/2014/main" id="{643F5482-579F-AF98-C1ED-A68323EACD9D}"/>
                  </a:ext>
                </a:extLst>
              </p:cNvPr>
              <p:cNvSpPr/>
              <p:nvPr/>
            </p:nvSpPr>
            <p:spPr>
              <a:xfrm>
                <a:off x="8861488" y="4671995"/>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59" name="テキスト ボックス 58">
              <a:extLst>
                <a:ext uri="{FF2B5EF4-FFF2-40B4-BE49-F238E27FC236}">
                  <a16:creationId xmlns:a16="http://schemas.microsoft.com/office/drawing/2014/main" id="{53649EC1-0C44-C46C-545B-B8F6A192F18E}"/>
                </a:ext>
              </a:extLst>
            </p:cNvPr>
            <p:cNvSpPr txBox="1"/>
            <p:nvPr/>
          </p:nvSpPr>
          <p:spPr>
            <a:xfrm>
              <a:off x="2779527" y="7256133"/>
              <a:ext cx="3436838"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200" dirty="0">
                  <a:latin typeface="+mn-ea"/>
                </a:rPr>
                <a:t>その画像は</a:t>
              </a:r>
              <a:r>
                <a:rPr lang="ja-JP" altLang="en-US" sz="3600" dirty="0">
                  <a:latin typeface="+mj-ea"/>
                  <a:ea typeface="+mj-ea"/>
                </a:rPr>
                <a:t>本物</a:t>
              </a:r>
              <a:r>
                <a:rPr lang="ja-JP" altLang="en-US" sz="3600" dirty="0">
                  <a:latin typeface="+mn-ea"/>
                </a:rPr>
                <a:t>？</a:t>
              </a:r>
            </a:p>
          </p:txBody>
        </p:sp>
      </p:grpSp>
      <p:sp>
        <p:nvSpPr>
          <p:cNvPr id="62" name="フリーフォーム: 図形 61">
            <a:extLst>
              <a:ext uri="{FF2B5EF4-FFF2-40B4-BE49-F238E27FC236}">
                <a16:creationId xmlns:a16="http://schemas.microsoft.com/office/drawing/2014/main" id="{D23CA474-0B3E-6454-DCC9-B429FFAED319}"/>
              </a:ext>
            </a:extLst>
          </p:cNvPr>
          <p:cNvSpPr>
            <a:spLocks noChangeAspect="1"/>
          </p:cNvSpPr>
          <p:nvPr/>
        </p:nvSpPr>
        <p:spPr>
          <a:xfrm>
            <a:off x="1299594" y="4053510"/>
            <a:ext cx="7164000" cy="37152"/>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a:p>
        </p:txBody>
      </p:sp>
      <p:sp>
        <p:nvSpPr>
          <p:cNvPr id="63" name="フリーフォーム: 図形 62">
            <a:extLst>
              <a:ext uri="{FF2B5EF4-FFF2-40B4-BE49-F238E27FC236}">
                <a16:creationId xmlns:a16="http://schemas.microsoft.com/office/drawing/2014/main" id="{604C737C-B23F-D034-D8FC-339CCCF70A23}"/>
              </a:ext>
            </a:extLst>
          </p:cNvPr>
          <p:cNvSpPr>
            <a:spLocks noChangeAspect="1"/>
          </p:cNvSpPr>
          <p:nvPr/>
        </p:nvSpPr>
        <p:spPr>
          <a:xfrm>
            <a:off x="1299594" y="5502246"/>
            <a:ext cx="7164000" cy="37152"/>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a:p>
        </p:txBody>
      </p:sp>
      <p:sp>
        <p:nvSpPr>
          <p:cNvPr id="64" name="フリーフォーム: 図形 63">
            <a:extLst>
              <a:ext uri="{FF2B5EF4-FFF2-40B4-BE49-F238E27FC236}">
                <a16:creationId xmlns:a16="http://schemas.microsoft.com/office/drawing/2014/main" id="{4E0FB9D7-8057-DDC8-7D35-495426605D82}"/>
              </a:ext>
            </a:extLst>
          </p:cNvPr>
          <p:cNvSpPr>
            <a:spLocks noChangeAspect="1"/>
          </p:cNvSpPr>
          <p:nvPr/>
        </p:nvSpPr>
        <p:spPr>
          <a:xfrm>
            <a:off x="1299594" y="6950982"/>
            <a:ext cx="7164000" cy="37152"/>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dirty="0"/>
          </a:p>
        </p:txBody>
      </p:sp>
      <p:grpSp>
        <p:nvGrpSpPr>
          <p:cNvPr id="112" name="グループ化 111">
            <a:extLst>
              <a:ext uri="{FF2B5EF4-FFF2-40B4-BE49-F238E27FC236}">
                <a16:creationId xmlns:a16="http://schemas.microsoft.com/office/drawing/2014/main" id="{50608A4B-41B7-0874-781D-6223D7117CE1}"/>
              </a:ext>
            </a:extLst>
          </p:cNvPr>
          <p:cNvGrpSpPr/>
          <p:nvPr/>
        </p:nvGrpSpPr>
        <p:grpSpPr>
          <a:xfrm>
            <a:off x="10270324" y="7302433"/>
            <a:ext cx="6272167" cy="667234"/>
            <a:chOff x="10270324" y="7302433"/>
            <a:chExt cx="6272167" cy="667234"/>
          </a:xfrm>
        </p:grpSpPr>
        <p:cxnSp>
          <p:nvCxnSpPr>
            <p:cNvPr id="66" name="直線コネクタ 65">
              <a:extLst>
                <a:ext uri="{FF2B5EF4-FFF2-40B4-BE49-F238E27FC236}">
                  <a16:creationId xmlns:a16="http://schemas.microsoft.com/office/drawing/2014/main" id="{BDEEB096-7D52-A670-A5DC-F5A09D8A3D69}"/>
                </a:ext>
              </a:extLst>
            </p:cNvPr>
            <p:cNvCxnSpPr>
              <a:cxnSpLocks/>
            </p:cNvCxnSpPr>
            <p:nvPr/>
          </p:nvCxnSpPr>
          <p:spPr>
            <a:xfrm>
              <a:off x="10979380" y="7865663"/>
              <a:ext cx="3593147"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68" name="グループ化 67">
              <a:extLst>
                <a:ext uri="{FF2B5EF4-FFF2-40B4-BE49-F238E27FC236}">
                  <a16:creationId xmlns:a16="http://schemas.microsoft.com/office/drawing/2014/main" id="{5713D95C-D2F9-07F7-0D69-65CF1CECC8E2}"/>
                </a:ext>
              </a:extLst>
            </p:cNvPr>
            <p:cNvGrpSpPr/>
            <p:nvPr/>
          </p:nvGrpSpPr>
          <p:grpSpPr>
            <a:xfrm>
              <a:off x="10270324" y="7429597"/>
              <a:ext cx="481423" cy="481425"/>
              <a:chOff x="8585167" y="4671995"/>
              <a:chExt cx="1076325" cy="1076331"/>
            </a:xfrm>
          </p:grpSpPr>
          <p:sp>
            <p:nvSpPr>
              <p:cNvPr id="70" name="フリーフォーム: 図形 69">
                <a:extLst>
                  <a:ext uri="{FF2B5EF4-FFF2-40B4-BE49-F238E27FC236}">
                    <a16:creationId xmlns:a16="http://schemas.microsoft.com/office/drawing/2014/main" id="{E1FAD0EC-BAFB-2185-E68B-F15DAECDD4E0}"/>
                  </a:ext>
                </a:extLst>
              </p:cNvPr>
              <p:cNvSpPr/>
              <p:nvPr/>
            </p:nvSpPr>
            <p:spPr>
              <a:xfrm>
                <a:off x="8585167" y="4824402"/>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71" name="フリーフォーム: 図形 70">
                <a:extLst>
                  <a:ext uri="{FF2B5EF4-FFF2-40B4-BE49-F238E27FC236}">
                    <a16:creationId xmlns:a16="http://schemas.microsoft.com/office/drawing/2014/main" id="{0431ED0F-A4C2-5C17-815E-848108F51E82}"/>
                  </a:ext>
                </a:extLst>
              </p:cNvPr>
              <p:cNvSpPr/>
              <p:nvPr/>
            </p:nvSpPr>
            <p:spPr>
              <a:xfrm>
                <a:off x="8861488" y="4671995"/>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69" name="テキスト ボックス 68">
              <a:extLst>
                <a:ext uri="{FF2B5EF4-FFF2-40B4-BE49-F238E27FC236}">
                  <a16:creationId xmlns:a16="http://schemas.microsoft.com/office/drawing/2014/main" id="{85E4627B-84F5-807F-DDDC-1741C63D92D5}"/>
                </a:ext>
              </a:extLst>
            </p:cNvPr>
            <p:cNvSpPr txBox="1"/>
            <p:nvPr/>
          </p:nvSpPr>
          <p:spPr>
            <a:xfrm>
              <a:off x="11002513" y="7302433"/>
              <a:ext cx="5539978"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600" dirty="0">
                  <a:latin typeface="+mj-ea"/>
                  <a:ea typeface="+mj-ea"/>
                </a:rPr>
                <a:t>ファクトチェック</a:t>
              </a:r>
              <a:r>
                <a:rPr lang="ja-JP" altLang="en-US" sz="3200" dirty="0">
                  <a:latin typeface="+mn-ea"/>
                </a:rPr>
                <a:t>結果は？</a:t>
              </a:r>
              <a:endParaRPr lang="ja-JP" altLang="en-US" sz="3600" dirty="0">
                <a:latin typeface="+mn-ea"/>
              </a:endParaRPr>
            </a:p>
          </p:txBody>
        </p:sp>
      </p:grpSp>
      <p:grpSp>
        <p:nvGrpSpPr>
          <p:cNvPr id="116" name="グループ化 115">
            <a:extLst>
              <a:ext uri="{FF2B5EF4-FFF2-40B4-BE49-F238E27FC236}">
                <a16:creationId xmlns:a16="http://schemas.microsoft.com/office/drawing/2014/main" id="{D4F40EBF-A0AE-5AC9-30A1-560DBF23285A}"/>
              </a:ext>
            </a:extLst>
          </p:cNvPr>
          <p:cNvGrpSpPr/>
          <p:nvPr/>
        </p:nvGrpSpPr>
        <p:grpSpPr>
          <a:xfrm>
            <a:off x="10270324" y="2941678"/>
            <a:ext cx="6259343" cy="1313308"/>
            <a:chOff x="10270324" y="2941678"/>
            <a:chExt cx="6259343" cy="1313308"/>
          </a:xfrm>
        </p:grpSpPr>
        <p:cxnSp>
          <p:nvCxnSpPr>
            <p:cNvPr id="73" name="直線コネクタ 72">
              <a:extLst>
                <a:ext uri="{FF2B5EF4-FFF2-40B4-BE49-F238E27FC236}">
                  <a16:creationId xmlns:a16="http://schemas.microsoft.com/office/drawing/2014/main" id="{2D9D4BDD-26AE-47FF-A2E7-EC45084C941C}"/>
                </a:ext>
              </a:extLst>
            </p:cNvPr>
            <p:cNvCxnSpPr>
              <a:cxnSpLocks/>
            </p:cNvCxnSpPr>
            <p:nvPr/>
          </p:nvCxnSpPr>
          <p:spPr>
            <a:xfrm>
              <a:off x="11088938" y="3515541"/>
              <a:ext cx="3958151"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75" name="グループ化 74">
              <a:extLst>
                <a:ext uri="{FF2B5EF4-FFF2-40B4-BE49-F238E27FC236}">
                  <a16:creationId xmlns:a16="http://schemas.microsoft.com/office/drawing/2014/main" id="{D16D16FE-2EBC-A2C5-326C-5472E2ECCF3B}"/>
                </a:ext>
              </a:extLst>
            </p:cNvPr>
            <p:cNvGrpSpPr/>
            <p:nvPr/>
          </p:nvGrpSpPr>
          <p:grpSpPr>
            <a:xfrm>
              <a:off x="10270324" y="3066848"/>
              <a:ext cx="481423" cy="481422"/>
              <a:chOff x="8585167" y="4739785"/>
              <a:chExt cx="1076325" cy="1076324"/>
            </a:xfrm>
          </p:grpSpPr>
          <p:sp>
            <p:nvSpPr>
              <p:cNvPr id="77" name="フリーフォーム: 図形 76">
                <a:extLst>
                  <a:ext uri="{FF2B5EF4-FFF2-40B4-BE49-F238E27FC236}">
                    <a16:creationId xmlns:a16="http://schemas.microsoft.com/office/drawing/2014/main" id="{310CF6F5-88E7-82F8-2752-3D4A99380E3A}"/>
                  </a:ext>
                </a:extLst>
              </p:cNvPr>
              <p:cNvSpPr/>
              <p:nvPr/>
            </p:nvSpPr>
            <p:spPr>
              <a:xfrm>
                <a:off x="8585167" y="4892185"/>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78" name="フリーフォーム: 図形 77">
                <a:extLst>
                  <a:ext uri="{FF2B5EF4-FFF2-40B4-BE49-F238E27FC236}">
                    <a16:creationId xmlns:a16="http://schemas.microsoft.com/office/drawing/2014/main" id="{6FAF53DF-28E8-375B-7F34-D4280FE90F44}"/>
                  </a:ext>
                </a:extLst>
              </p:cNvPr>
              <p:cNvSpPr/>
              <p:nvPr/>
            </p:nvSpPr>
            <p:spPr>
              <a:xfrm>
                <a:off x="8861488" y="4739785"/>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76" name="テキスト ボックス 75">
              <a:extLst>
                <a:ext uri="{FF2B5EF4-FFF2-40B4-BE49-F238E27FC236}">
                  <a16:creationId xmlns:a16="http://schemas.microsoft.com/office/drawing/2014/main" id="{4CDE0448-E53B-0DCB-ABE6-FC0CCC6B9ADA}"/>
                </a:ext>
              </a:extLst>
            </p:cNvPr>
            <p:cNvSpPr txBox="1"/>
            <p:nvPr/>
          </p:nvSpPr>
          <p:spPr>
            <a:xfrm>
              <a:off x="11002513" y="2941678"/>
              <a:ext cx="5527154" cy="1313308"/>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600" dirty="0">
                  <a:latin typeface="+mj-ea"/>
                  <a:ea typeface="+mj-ea"/>
                </a:rPr>
                <a:t>「知り合いだから」 </a:t>
              </a:r>
              <a:r>
                <a:rPr lang="ja-JP" altLang="en-US" sz="3200" dirty="0">
                  <a:latin typeface="+mn-ea"/>
                </a:rPr>
                <a:t>という</a:t>
              </a:r>
              <a:br>
                <a:rPr lang="en-US" altLang="ja-JP" sz="3200" dirty="0">
                  <a:latin typeface="+mn-ea"/>
                </a:rPr>
              </a:br>
              <a:r>
                <a:rPr lang="ja-JP" altLang="en-US" sz="3200" dirty="0">
                  <a:latin typeface="+mn-ea"/>
                </a:rPr>
                <a:t>理由だけで信じていないか？</a:t>
              </a:r>
              <a:endParaRPr lang="ja-JP" altLang="en-US" sz="3600" dirty="0">
                <a:latin typeface="+mn-ea"/>
              </a:endParaRPr>
            </a:p>
          </p:txBody>
        </p:sp>
      </p:grpSp>
      <p:sp>
        <p:nvSpPr>
          <p:cNvPr id="79" name="フリーフォーム: 図形 78">
            <a:extLst>
              <a:ext uri="{FF2B5EF4-FFF2-40B4-BE49-F238E27FC236}">
                <a16:creationId xmlns:a16="http://schemas.microsoft.com/office/drawing/2014/main" id="{2B6BCD69-6E56-0BFF-BE39-01F1974C30B1}"/>
              </a:ext>
            </a:extLst>
          </p:cNvPr>
          <p:cNvSpPr>
            <a:spLocks noChangeAspect="1"/>
          </p:cNvSpPr>
          <p:nvPr/>
        </p:nvSpPr>
        <p:spPr>
          <a:xfrm>
            <a:off x="9824407" y="4521925"/>
            <a:ext cx="7164000" cy="37114"/>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dirty="0"/>
          </a:p>
        </p:txBody>
      </p:sp>
      <p:grpSp>
        <p:nvGrpSpPr>
          <p:cNvPr id="115" name="グループ化 114">
            <a:extLst>
              <a:ext uri="{FF2B5EF4-FFF2-40B4-BE49-F238E27FC236}">
                <a16:creationId xmlns:a16="http://schemas.microsoft.com/office/drawing/2014/main" id="{099DDF0E-0797-B825-1648-BB9E8C735A88}"/>
              </a:ext>
            </a:extLst>
          </p:cNvPr>
          <p:cNvGrpSpPr/>
          <p:nvPr/>
        </p:nvGrpSpPr>
        <p:grpSpPr>
          <a:xfrm>
            <a:off x="10270324" y="4757825"/>
            <a:ext cx="5913094" cy="667234"/>
            <a:chOff x="10270324" y="4807101"/>
            <a:chExt cx="5913094" cy="667234"/>
          </a:xfrm>
        </p:grpSpPr>
        <p:cxnSp>
          <p:nvCxnSpPr>
            <p:cNvPr id="81" name="直線コネクタ 80">
              <a:extLst>
                <a:ext uri="{FF2B5EF4-FFF2-40B4-BE49-F238E27FC236}">
                  <a16:creationId xmlns:a16="http://schemas.microsoft.com/office/drawing/2014/main" id="{D7832F67-1F13-2636-1D00-ABC1690DCC78}"/>
                </a:ext>
              </a:extLst>
            </p:cNvPr>
            <p:cNvCxnSpPr>
              <a:cxnSpLocks/>
            </p:cNvCxnSpPr>
            <p:nvPr/>
          </p:nvCxnSpPr>
          <p:spPr>
            <a:xfrm>
              <a:off x="10944654" y="5362155"/>
              <a:ext cx="2366182"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83" name="グループ化 82">
              <a:extLst>
                <a:ext uri="{FF2B5EF4-FFF2-40B4-BE49-F238E27FC236}">
                  <a16:creationId xmlns:a16="http://schemas.microsoft.com/office/drawing/2014/main" id="{ED9F9FD1-526F-5F17-8285-8806A429605F}"/>
                </a:ext>
              </a:extLst>
            </p:cNvPr>
            <p:cNvGrpSpPr/>
            <p:nvPr/>
          </p:nvGrpSpPr>
          <p:grpSpPr>
            <a:xfrm>
              <a:off x="10270324" y="4921476"/>
              <a:ext cx="481423" cy="481423"/>
              <a:chOff x="8585167" y="4643403"/>
              <a:chExt cx="1076325" cy="1076326"/>
            </a:xfrm>
          </p:grpSpPr>
          <p:sp>
            <p:nvSpPr>
              <p:cNvPr id="85" name="フリーフォーム: 図形 84">
                <a:extLst>
                  <a:ext uri="{FF2B5EF4-FFF2-40B4-BE49-F238E27FC236}">
                    <a16:creationId xmlns:a16="http://schemas.microsoft.com/office/drawing/2014/main" id="{9BDA1F06-0EC5-7F9C-101C-BABB933AE1F2}"/>
                  </a:ext>
                </a:extLst>
              </p:cNvPr>
              <p:cNvSpPr/>
              <p:nvPr/>
            </p:nvSpPr>
            <p:spPr>
              <a:xfrm>
                <a:off x="8585167" y="4795805"/>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86" name="フリーフォーム: 図形 85">
                <a:extLst>
                  <a:ext uri="{FF2B5EF4-FFF2-40B4-BE49-F238E27FC236}">
                    <a16:creationId xmlns:a16="http://schemas.microsoft.com/office/drawing/2014/main" id="{6F478EB5-F04A-B75C-3BB3-2B28ECDCE9DD}"/>
                  </a:ext>
                </a:extLst>
              </p:cNvPr>
              <p:cNvSpPr/>
              <p:nvPr/>
            </p:nvSpPr>
            <p:spPr>
              <a:xfrm>
                <a:off x="8861488" y="4643403"/>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84" name="テキスト ボックス 83">
              <a:extLst>
                <a:ext uri="{FF2B5EF4-FFF2-40B4-BE49-F238E27FC236}">
                  <a16:creationId xmlns:a16="http://schemas.microsoft.com/office/drawing/2014/main" id="{88FF681C-DB7B-F015-17A6-0DF977FED2FA}"/>
                </a:ext>
              </a:extLst>
            </p:cNvPr>
            <p:cNvSpPr txBox="1"/>
            <p:nvPr/>
          </p:nvSpPr>
          <p:spPr>
            <a:xfrm>
              <a:off x="11002513" y="4807101"/>
              <a:ext cx="5180905"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600" dirty="0">
                  <a:latin typeface="+mj-ea"/>
                  <a:ea typeface="+mj-ea"/>
                </a:rPr>
                <a:t>表やグラフ</a:t>
              </a:r>
              <a:r>
                <a:rPr lang="ja-JP" altLang="en-US" sz="3200" dirty="0">
                  <a:latin typeface="+mn-ea"/>
                </a:rPr>
                <a:t>も疑ってみた？</a:t>
              </a:r>
              <a:endParaRPr lang="ja-JP" altLang="en-US" sz="3600" dirty="0">
                <a:latin typeface="+mn-ea"/>
              </a:endParaRPr>
            </a:p>
          </p:txBody>
        </p:sp>
      </p:grpSp>
      <p:sp>
        <p:nvSpPr>
          <p:cNvPr id="87" name="フリーフォーム: 図形 86">
            <a:extLst>
              <a:ext uri="{FF2B5EF4-FFF2-40B4-BE49-F238E27FC236}">
                <a16:creationId xmlns:a16="http://schemas.microsoft.com/office/drawing/2014/main" id="{12DA02CB-DDE5-E71F-CF74-BFA3F1D183A0}"/>
              </a:ext>
            </a:extLst>
          </p:cNvPr>
          <p:cNvSpPr>
            <a:spLocks noChangeAspect="1"/>
          </p:cNvSpPr>
          <p:nvPr/>
        </p:nvSpPr>
        <p:spPr>
          <a:xfrm>
            <a:off x="9824407" y="5760152"/>
            <a:ext cx="7164000" cy="37114"/>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dirty="0"/>
          </a:p>
        </p:txBody>
      </p:sp>
      <p:grpSp>
        <p:nvGrpSpPr>
          <p:cNvPr id="114" name="グループ化 113">
            <a:extLst>
              <a:ext uri="{FF2B5EF4-FFF2-40B4-BE49-F238E27FC236}">
                <a16:creationId xmlns:a16="http://schemas.microsoft.com/office/drawing/2014/main" id="{EF711FB2-F17B-C58C-F619-EF7BA8371292}"/>
              </a:ext>
            </a:extLst>
          </p:cNvPr>
          <p:cNvGrpSpPr/>
          <p:nvPr/>
        </p:nvGrpSpPr>
        <p:grpSpPr>
          <a:xfrm>
            <a:off x="10270324" y="5993063"/>
            <a:ext cx="5348836" cy="667234"/>
            <a:chOff x="10270324" y="6016069"/>
            <a:chExt cx="5348836" cy="667234"/>
          </a:xfrm>
        </p:grpSpPr>
        <p:cxnSp>
          <p:nvCxnSpPr>
            <p:cNvPr id="89" name="直線コネクタ 88">
              <a:extLst>
                <a:ext uri="{FF2B5EF4-FFF2-40B4-BE49-F238E27FC236}">
                  <a16:creationId xmlns:a16="http://schemas.microsoft.com/office/drawing/2014/main" id="{02F13245-49BD-DEBC-28D9-90C12ADC970F}"/>
                </a:ext>
              </a:extLst>
            </p:cNvPr>
            <p:cNvCxnSpPr>
              <a:cxnSpLocks/>
            </p:cNvCxnSpPr>
            <p:nvPr/>
          </p:nvCxnSpPr>
          <p:spPr>
            <a:xfrm>
              <a:off x="12980807" y="6601251"/>
              <a:ext cx="1091741" cy="0"/>
            </a:xfrm>
            <a:prstGeom prst="line">
              <a:avLst/>
            </a:prstGeom>
            <a:ln w="152400">
              <a:solidFill>
                <a:schemeClr val="accent5">
                  <a:alpha val="90000"/>
                </a:schemeClr>
              </a:solidFill>
            </a:ln>
          </p:spPr>
          <p:style>
            <a:lnRef idx="1">
              <a:schemeClr val="accent1"/>
            </a:lnRef>
            <a:fillRef idx="0">
              <a:schemeClr val="accent1"/>
            </a:fillRef>
            <a:effectRef idx="0">
              <a:schemeClr val="accent1"/>
            </a:effectRef>
            <a:fontRef idx="minor">
              <a:schemeClr val="tx1"/>
            </a:fontRef>
          </p:style>
        </p:cxnSp>
        <p:grpSp>
          <p:nvGrpSpPr>
            <p:cNvPr id="91" name="グループ化 90">
              <a:extLst>
                <a:ext uri="{FF2B5EF4-FFF2-40B4-BE49-F238E27FC236}">
                  <a16:creationId xmlns:a16="http://schemas.microsoft.com/office/drawing/2014/main" id="{26A13F62-E7DC-DAF7-8375-0B6B65D83843}"/>
                </a:ext>
              </a:extLst>
            </p:cNvPr>
            <p:cNvGrpSpPr/>
            <p:nvPr/>
          </p:nvGrpSpPr>
          <p:grpSpPr>
            <a:xfrm>
              <a:off x="10270324" y="6155926"/>
              <a:ext cx="481422" cy="481422"/>
              <a:chOff x="8585167" y="4752131"/>
              <a:chExt cx="1076325" cy="1076324"/>
            </a:xfrm>
          </p:grpSpPr>
          <p:sp>
            <p:nvSpPr>
              <p:cNvPr id="93" name="フリーフォーム: 図形 92">
                <a:extLst>
                  <a:ext uri="{FF2B5EF4-FFF2-40B4-BE49-F238E27FC236}">
                    <a16:creationId xmlns:a16="http://schemas.microsoft.com/office/drawing/2014/main" id="{21F5B7F4-DA81-9BD5-8C41-707883B8BCAB}"/>
                  </a:ext>
                </a:extLst>
              </p:cNvPr>
              <p:cNvSpPr/>
              <p:nvPr/>
            </p:nvSpPr>
            <p:spPr>
              <a:xfrm>
                <a:off x="8585167" y="4904531"/>
                <a:ext cx="923925" cy="923924"/>
              </a:xfrm>
              <a:custGeom>
                <a:avLst/>
                <a:gdLst>
                  <a:gd name="connsiteX0" fmla="*/ 923925 w 923925"/>
                  <a:gd name="connsiteY0" fmla="*/ 314325 h 923924"/>
                  <a:gd name="connsiteX1" fmla="*/ 923925 w 923925"/>
                  <a:gd name="connsiteY1" fmla="*/ 923925 h 923924"/>
                  <a:gd name="connsiteX2" fmla="*/ 0 w 923925"/>
                  <a:gd name="connsiteY2" fmla="*/ 923925 h 923924"/>
                  <a:gd name="connsiteX3" fmla="*/ 0 w 923925"/>
                  <a:gd name="connsiteY3" fmla="*/ 0 h 923924"/>
                  <a:gd name="connsiteX4" fmla="*/ 714375 w 923925"/>
                  <a:gd name="connsiteY4" fmla="*/ 0 h 92392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923925" h="923924">
                    <a:moveTo>
                      <a:pt x="923925" y="314325"/>
                    </a:moveTo>
                    <a:lnTo>
                      <a:pt x="923925" y="923925"/>
                    </a:lnTo>
                    <a:lnTo>
                      <a:pt x="0" y="923925"/>
                    </a:lnTo>
                    <a:lnTo>
                      <a:pt x="0" y="0"/>
                    </a:lnTo>
                    <a:lnTo>
                      <a:pt x="714375" y="0"/>
                    </a:lnTo>
                  </a:path>
                </a:pathLst>
              </a:custGeom>
              <a:solidFill>
                <a:srgbClr val="FFFFFF"/>
              </a:solidFill>
              <a:ln w="38100" cap="flat">
                <a:solidFill>
                  <a:schemeClr val="tx2"/>
                </a:solidFill>
                <a:prstDash val="solid"/>
                <a:miter/>
              </a:ln>
            </p:spPr>
            <p:txBody>
              <a:bodyPr rtlCol="0" anchor="ctr"/>
              <a:lstStyle/>
              <a:p>
                <a:endParaRPr lang="ja-JP" altLang="en-US" sz="1600"/>
              </a:p>
            </p:txBody>
          </p:sp>
          <p:sp>
            <p:nvSpPr>
              <p:cNvPr id="94" name="フリーフォーム: 図形 93">
                <a:extLst>
                  <a:ext uri="{FF2B5EF4-FFF2-40B4-BE49-F238E27FC236}">
                    <a16:creationId xmlns:a16="http://schemas.microsoft.com/office/drawing/2014/main" id="{FA53C4DC-0ECB-AF80-E5E7-84259F724625}"/>
                  </a:ext>
                </a:extLst>
              </p:cNvPr>
              <p:cNvSpPr/>
              <p:nvPr/>
            </p:nvSpPr>
            <p:spPr>
              <a:xfrm>
                <a:off x="8861488" y="4752131"/>
                <a:ext cx="800004" cy="723899"/>
              </a:xfrm>
              <a:custGeom>
                <a:avLst/>
                <a:gdLst>
                  <a:gd name="connsiteX0" fmla="*/ 0 w 800004"/>
                  <a:gd name="connsiteY0" fmla="*/ 504825 h 723899"/>
                  <a:gd name="connsiteX1" fmla="*/ 247650 w 800004"/>
                  <a:gd name="connsiteY1" fmla="*/ 723900 h 723899"/>
                  <a:gd name="connsiteX2" fmla="*/ 800005 w 800004"/>
                  <a:gd name="connsiteY2" fmla="*/ 0 h 723899"/>
                </a:gdLst>
                <a:ahLst/>
                <a:cxnLst>
                  <a:cxn ang="0">
                    <a:pos x="connsiteX0" y="connsiteY0"/>
                  </a:cxn>
                  <a:cxn ang="0">
                    <a:pos x="connsiteX1" y="connsiteY1"/>
                  </a:cxn>
                  <a:cxn ang="0">
                    <a:pos x="connsiteX2" y="connsiteY2"/>
                  </a:cxn>
                </a:cxnLst>
                <a:rect l="l" t="t" r="r" b="b"/>
                <a:pathLst>
                  <a:path w="800004" h="723899">
                    <a:moveTo>
                      <a:pt x="0" y="504825"/>
                    </a:moveTo>
                    <a:lnTo>
                      <a:pt x="247650" y="723900"/>
                    </a:lnTo>
                    <a:lnTo>
                      <a:pt x="800005" y="0"/>
                    </a:lnTo>
                  </a:path>
                </a:pathLst>
              </a:custGeom>
              <a:noFill/>
              <a:ln w="88900" cap="rnd">
                <a:solidFill>
                  <a:schemeClr val="accent2"/>
                </a:solidFill>
                <a:prstDash val="solid"/>
                <a:round/>
              </a:ln>
            </p:spPr>
            <p:txBody>
              <a:bodyPr rtlCol="0" anchor="ctr"/>
              <a:lstStyle/>
              <a:p>
                <a:endParaRPr lang="ja-JP" altLang="en-US" sz="1600"/>
              </a:p>
            </p:txBody>
          </p:sp>
        </p:grpSp>
        <p:sp>
          <p:nvSpPr>
            <p:cNvPr id="92" name="テキスト ボックス 91">
              <a:extLst>
                <a:ext uri="{FF2B5EF4-FFF2-40B4-BE49-F238E27FC236}">
                  <a16:creationId xmlns:a16="http://schemas.microsoft.com/office/drawing/2014/main" id="{9A047A34-3551-B35F-D8AC-7CCBDC778032}"/>
                </a:ext>
              </a:extLst>
            </p:cNvPr>
            <p:cNvSpPr txBox="1"/>
            <p:nvPr/>
          </p:nvSpPr>
          <p:spPr>
            <a:xfrm>
              <a:off x="11002512" y="6016069"/>
              <a:ext cx="4616648" cy="667234"/>
            </a:xfrm>
            <a:prstGeom prst="rect">
              <a:avLst/>
            </a:prstGeom>
            <a:noFill/>
          </p:spPr>
          <p:txBody>
            <a:bodyPr wrap="none" lIns="0" tIns="0" rIns="0" bIns="0" rtlCol="0">
              <a:spAutoFit/>
            </a:bodyPr>
            <a:lstStyle/>
            <a:p>
              <a:pPr marL="0" marR="0" lvl="0" indent="0" defTabSz="1371509" rtl="0" eaLnBrk="1" fontAlgn="auto" latinLnBrk="0" hangingPunct="1">
                <a:lnSpc>
                  <a:spcPct val="130000"/>
                </a:lnSpc>
                <a:spcBef>
                  <a:spcPts val="0"/>
                </a:spcBef>
                <a:spcAft>
                  <a:spcPts val="1800"/>
                </a:spcAft>
                <a:buClrTx/>
                <a:buSzTx/>
                <a:buFontTx/>
                <a:buNone/>
                <a:tabLst>
                  <a:tab pos="10494963" algn="l"/>
                </a:tabLst>
                <a:defRPr/>
              </a:pPr>
              <a:r>
                <a:rPr lang="ja-JP" altLang="en-US" sz="3200" dirty="0">
                  <a:latin typeface="+mn-ea"/>
                </a:rPr>
                <a:t>その情報に</a:t>
              </a:r>
              <a:r>
                <a:rPr lang="ja-JP" altLang="en-US" sz="3600" dirty="0">
                  <a:latin typeface="+mj-ea"/>
                  <a:ea typeface="+mj-ea"/>
                </a:rPr>
                <a:t>動機</a:t>
              </a:r>
              <a:r>
                <a:rPr lang="ja-JP" altLang="en-US" sz="3200" dirty="0">
                  <a:latin typeface="+mn-ea"/>
                </a:rPr>
                <a:t>はある？</a:t>
              </a:r>
              <a:endParaRPr lang="ja-JP" altLang="en-US" sz="3600" dirty="0">
                <a:latin typeface="+mn-ea"/>
              </a:endParaRPr>
            </a:p>
          </p:txBody>
        </p:sp>
      </p:grpSp>
      <p:sp>
        <p:nvSpPr>
          <p:cNvPr id="95" name="フリーフォーム: 図形 94">
            <a:extLst>
              <a:ext uri="{FF2B5EF4-FFF2-40B4-BE49-F238E27FC236}">
                <a16:creationId xmlns:a16="http://schemas.microsoft.com/office/drawing/2014/main" id="{BF525D33-502A-18F2-BD66-1DB30AD8ECFE}"/>
              </a:ext>
            </a:extLst>
          </p:cNvPr>
          <p:cNvSpPr>
            <a:spLocks noChangeAspect="1"/>
          </p:cNvSpPr>
          <p:nvPr/>
        </p:nvSpPr>
        <p:spPr>
          <a:xfrm>
            <a:off x="9824407" y="6998380"/>
            <a:ext cx="7164000" cy="37114"/>
          </a:xfrm>
          <a:custGeom>
            <a:avLst/>
            <a:gdLst>
              <a:gd name="connsiteX0" fmla="*/ 6406729 w 6424234"/>
              <a:gd name="connsiteY0" fmla="*/ 0 h 34464"/>
              <a:gd name="connsiteX1" fmla="*/ 6424234 w 6424234"/>
              <a:gd name="connsiteY1" fmla="*/ 17232 h 34464"/>
              <a:gd name="connsiteX2" fmla="*/ 6406729 w 6424234"/>
              <a:gd name="connsiteY2" fmla="*/ 34464 h 34464"/>
              <a:gd name="connsiteX3" fmla="*/ 6389224 w 6424234"/>
              <a:gd name="connsiteY3" fmla="*/ 17232 h 34464"/>
              <a:gd name="connsiteX4" fmla="*/ 6406729 w 6424234"/>
              <a:gd name="connsiteY4" fmla="*/ 0 h 34464"/>
              <a:gd name="connsiteX5" fmla="*/ 6319206 w 6424234"/>
              <a:gd name="connsiteY5" fmla="*/ 0 h 34464"/>
              <a:gd name="connsiteX6" fmla="*/ 6336710 w 6424234"/>
              <a:gd name="connsiteY6" fmla="*/ 17232 h 34464"/>
              <a:gd name="connsiteX7" fmla="*/ 6319206 w 6424234"/>
              <a:gd name="connsiteY7" fmla="*/ 34464 h 34464"/>
              <a:gd name="connsiteX8" fmla="*/ 6301701 w 6424234"/>
              <a:gd name="connsiteY8" fmla="*/ 17232 h 34464"/>
              <a:gd name="connsiteX9" fmla="*/ 6319206 w 6424234"/>
              <a:gd name="connsiteY9" fmla="*/ 0 h 34464"/>
              <a:gd name="connsiteX10" fmla="*/ 6231682 w 6424234"/>
              <a:gd name="connsiteY10" fmla="*/ 0 h 34464"/>
              <a:gd name="connsiteX11" fmla="*/ 6249187 w 6424234"/>
              <a:gd name="connsiteY11" fmla="*/ 17232 h 34464"/>
              <a:gd name="connsiteX12" fmla="*/ 6231682 w 6424234"/>
              <a:gd name="connsiteY12" fmla="*/ 34464 h 34464"/>
              <a:gd name="connsiteX13" fmla="*/ 6214177 w 6424234"/>
              <a:gd name="connsiteY13" fmla="*/ 17232 h 34464"/>
              <a:gd name="connsiteX14" fmla="*/ 6231682 w 6424234"/>
              <a:gd name="connsiteY14" fmla="*/ 0 h 34464"/>
              <a:gd name="connsiteX15" fmla="*/ 6144158 w 6424234"/>
              <a:gd name="connsiteY15" fmla="*/ 0 h 34464"/>
              <a:gd name="connsiteX16" fmla="*/ 6161663 w 6424234"/>
              <a:gd name="connsiteY16" fmla="*/ 17232 h 34464"/>
              <a:gd name="connsiteX17" fmla="*/ 6144158 w 6424234"/>
              <a:gd name="connsiteY17" fmla="*/ 34464 h 34464"/>
              <a:gd name="connsiteX18" fmla="*/ 6126654 w 6424234"/>
              <a:gd name="connsiteY18" fmla="*/ 17232 h 34464"/>
              <a:gd name="connsiteX19" fmla="*/ 6144158 w 6424234"/>
              <a:gd name="connsiteY19" fmla="*/ 0 h 34464"/>
              <a:gd name="connsiteX20" fmla="*/ 6056635 w 6424234"/>
              <a:gd name="connsiteY20" fmla="*/ 0 h 34464"/>
              <a:gd name="connsiteX21" fmla="*/ 6074139 w 6424234"/>
              <a:gd name="connsiteY21" fmla="*/ 17232 h 34464"/>
              <a:gd name="connsiteX22" fmla="*/ 6056635 w 6424234"/>
              <a:gd name="connsiteY22" fmla="*/ 34464 h 34464"/>
              <a:gd name="connsiteX23" fmla="*/ 6039130 w 6424234"/>
              <a:gd name="connsiteY23" fmla="*/ 17232 h 34464"/>
              <a:gd name="connsiteX24" fmla="*/ 6056635 w 6424234"/>
              <a:gd name="connsiteY24" fmla="*/ 0 h 34464"/>
              <a:gd name="connsiteX25" fmla="*/ 5969111 w 6424234"/>
              <a:gd name="connsiteY25" fmla="*/ 0 h 34464"/>
              <a:gd name="connsiteX26" fmla="*/ 5986616 w 6424234"/>
              <a:gd name="connsiteY26" fmla="*/ 17232 h 34464"/>
              <a:gd name="connsiteX27" fmla="*/ 5969111 w 6424234"/>
              <a:gd name="connsiteY27" fmla="*/ 34464 h 34464"/>
              <a:gd name="connsiteX28" fmla="*/ 5951606 w 6424234"/>
              <a:gd name="connsiteY28" fmla="*/ 17232 h 34464"/>
              <a:gd name="connsiteX29" fmla="*/ 5969111 w 6424234"/>
              <a:gd name="connsiteY29" fmla="*/ 0 h 34464"/>
              <a:gd name="connsiteX30" fmla="*/ 5881587 w 6424234"/>
              <a:gd name="connsiteY30" fmla="*/ 0 h 34464"/>
              <a:gd name="connsiteX31" fmla="*/ 5899092 w 6424234"/>
              <a:gd name="connsiteY31" fmla="*/ 17232 h 34464"/>
              <a:gd name="connsiteX32" fmla="*/ 5881587 w 6424234"/>
              <a:gd name="connsiteY32" fmla="*/ 34464 h 34464"/>
              <a:gd name="connsiteX33" fmla="*/ 5864083 w 6424234"/>
              <a:gd name="connsiteY33" fmla="*/ 17232 h 34464"/>
              <a:gd name="connsiteX34" fmla="*/ 5881587 w 6424234"/>
              <a:gd name="connsiteY34" fmla="*/ 0 h 34464"/>
              <a:gd name="connsiteX35" fmla="*/ 5794064 w 6424234"/>
              <a:gd name="connsiteY35" fmla="*/ 0 h 34464"/>
              <a:gd name="connsiteX36" fmla="*/ 5811569 w 6424234"/>
              <a:gd name="connsiteY36" fmla="*/ 17232 h 34464"/>
              <a:gd name="connsiteX37" fmla="*/ 5794064 w 6424234"/>
              <a:gd name="connsiteY37" fmla="*/ 34464 h 34464"/>
              <a:gd name="connsiteX38" fmla="*/ 5776559 w 6424234"/>
              <a:gd name="connsiteY38" fmla="*/ 17232 h 34464"/>
              <a:gd name="connsiteX39" fmla="*/ 5794064 w 6424234"/>
              <a:gd name="connsiteY39" fmla="*/ 0 h 34464"/>
              <a:gd name="connsiteX40" fmla="*/ 5706540 w 6424234"/>
              <a:gd name="connsiteY40" fmla="*/ 0 h 34464"/>
              <a:gd name="connsiteX41" fmla="*/ 5724045 w 6424234"/>
              <a:gd name="connsiteY41" fmla="*/ 17232 h 34464"/>
              <a:gd name="connsiteX42" fmla="*/ 5706540 w 6424234"/>
              <a:gd name="connsiteY42" fmla="*/ 34464 h 34464"/>
              <a:gd name="connsiteX43" fmla="*/ 5689035 w 6424234"/>
              <a:gd name="connsiteY43" fmla="*/ 17232 h 34464"/>
              <a:gd name="connsiteX44" fmla="*/ 5706540 w 6424234"/>
              <a:gd name="connsiteY44" fmla="*/ 0 h 34464"/>
              <a:gd name="connsiteX45" fmla="*/ 5619017 w 6424234"/>
              <a:gd name="connsiteY45" fmla="*/ 0 h 34464"/>
              <a:gd name="connsiteX46" fmla="*/ 5636521 w 6424234"/>
              <a:gd name="connsiteY46" fmla="*/ 17232 h 34464"/>
              <a:gd name="connsiteX47" fmla="*/ 5619017 w 6424234"/>
              <a:gd name="connsiteY47" fmla="*/ 34464 h 34464"/>
              <a:gd name="connsiteX48" fmla="*/ 5601512 w 6424234"/>
              <a:gd name="connsiteY48" fmla="*/ 17232 h 34464"/>
              <a:gd name="connsiteX49" fmla="*/ 5619017 w 6424234"/>
              <a:gd name="connsiteY49" fmla="*/ 0 h 34464"/>
              <a:gd name="connsiteX50" fmla="*/ 5531493 w 6424234"/>
              <a:gd name="connsiteY50" fmla="*/ 0 h 34464"/>
              <a:gd name="connsiteX51" fmla="*/ 5548998 w 6424234"/>
              <a:gd name="connsiteY51" fmla="*/ 17232 h 34464"/>
              <a:gd name="connsiteX52" fmla="*/ 5531493 w 6424234"/>
              <a:gd name="connsiteY52" fmla="*/ 34464 h 34464"/>
              <a:gd name="connsiteX53" fmla="*/ 5513988 w 6424234"/>
              <a:gd name="connsiteY53" fmla="*/ 17232 h 34464"/>
              <a:gd name="connsiteX54" fmla="*/ 5531493 w 6424234"/>
              <a:gd name="connsiteY54" fmla="*/ 0 h 34464"/>
              <a:gd name="connsiteX55" fmla="*/ 5443969 w 6424234"/>
              <a:gd name="connsiteY55" fmla="*/ 0 h 34464"/>
              <a:gd name="connsiteX56" fmla="*/ 5461474 w 6424234"/>
              <a:gd name="connsiteY56" fmla="*/ 17232 h 34464"/>
              <a:gd name="connsiteX57" fmla="*/ 5443969 w 6424234"/>
              <a:gd name="connsiteY57" fmla="*/ 34464 h 34464"/>
              <a:gd name="connsiteX58" fmla="*/ 5426465 w 6424234"/>
              <a:gd name="connsiteY58" fmla="*/ 17232 h 34464"/>
              <a:gd name="connsiteX59" fmla="*/ 5443969 w 6424234"/>
              <a:gd name="connsiteY59" fmla="*/ 0 h 34464"/>
              <a:gd name="connsiteX60" fmla="*/ 5356446 w 6424234"/>
              <a:gd name="connsiteY60" fmla="*/ 0 h 34464"/>
              <a:gd name="connsiteX61" fmla="*/ 5373950 w 6424234"/>
              <a:gd name="connsiteY61" fmla="*/ 17232 h 34464"/>
              <a:gd name="connsiteX62" fmla="*/ 5356446 w 6424234"/>
              <a:gd name="connsiteY62" fmla="*/ 34464 h 34464"/>
              <a:gd name="connsiteX63" fmla="*/ 5338941 w 6424234"/>
              <a:gd name="connsiteY63" fmla="*/ 17232 h 34464"/>
              <a:gd name="connsiteX64" fmla="*/ 5356446 w 6424234"/>
              <a:gd name="connsiteY64" fmla="*/ 0 h 34464"/>
              <a:gd name="connsiteX65" fmla="*/ 5268922 w 6424234"/>
              <a:gd name="connsiteY65" fmla="*/ 0 h 34464"/>
              <a:gd name="connsiteX66" fmla="*/ 5286428 w 6424234"/>
              <a:gd name="connsiteY66" fmla="*/ 17232 h 34464"/>
              <a:gd name="connsiteX67" fmla="*/ 5268922 w 6424234"/>
              <a:gd name="connsiteY67" fmla="*/ 34464 h 34464"/>
              <a:gd name="connsiteX68" fmla="*/ 5251417 w 6424234"/>
              <a:gd name="connsiteY68" fmla="*/ 17232 h 34464"/>
              <a:gd name="connsiteX69" fmla="*/ 5268922 w 6424234"/>
              <a:gd name="connsiteY69" fmla="*/ 0 h 34464"/>
              <a:gd name="connsiteX70" fmla="*/ 5181399 w 6424234"/>
              <a:gd name="connsiteY70" fmla="*/ 0 h 34464"/>
              <a:gd name="connsiteX71" fmla="*/ 5198903 w 6424234"/>
              <a:gd name="connsiteY71" fmla="*/ 17232 h 34464"/>
              <a:gd name="connsiteX72" fmla="*/ 5181399 w 6424234"/>
              <a:gd name="connsiteY72" fmla="*/ 34464 h 34464"/>
              <a:gd name="connsiteX73" fmla="*/ 5163895 w 6424234"/>
              <a:gd name="connsiteY73" fmla="*/ 17232 h 34464"/>
              <a:gd name="connsiteX74" fmla="*/ 5181399 w 6424234"/>
              <a:gd name="connsiteY74" fmla="*/ 0 h 34464"/>
              <a:gd name="connsiteX75" fmla="*/ 5093875 w 6424234"/>
              <a:gd name="connsiteY75" fmla="*/ 0 h 34464"/>
              <a:gd name="connsiteX76" fmla="*/ 5111380 w 6424234"/>
              <a:gd name="connsiteY76" fmla="*/ 17232 h 34464"/>
              <a:gd name="connsiteX77" fmla="*/ 5093875 w 6424234"/>
              <a:gd name="connsiteY77" fmla="*/ 34464 h 34464"/>
              <a:gd name="connsiteX78" fmla="*/ 5076370 w 6424234"/>
              <a:gd name="connsiteY78" fmla="*/ 17232 h 34464"/>
              <a:gd name="connsiteX79" fmla="*/ 5093875 w 6424234"/>
              <a:gd name="connsiteY79" fmla="*/ 0 h 34464"/>
              <a:gd name="connsiteX80" fmla="*/ 5006351 w 6424234"/>
              <a:gd name="connsiteY80" fmla="*/ 0 h 34464"/>
              <a:gd name="connsiteX81" fmla="*/ 5023856 w 6424234"/>
              <a:gd name="connsiteY81" fmla="*/ 17232 h 34464"/>
              <a:gd name="connsiteX82" fmla="*/ 5006351 w 6424234"/>
              <a:gd name="connsiteY82" fmla="*/ 34464 h 34464"/>
              <a:gd name="connsiteX83" fmla="*/ 4988846 w 6424234"/>
              <a:gd name="connsiteY83" fmla="*/ 17232 h 34464"/>
              <a:gd name="connsiteX84" fmla="*/ 5006351 w 6424234"/>
              <a:gd name="connsiteY84" fmla="*/ 0 h 34464"/>
              <a:gd name="connsiteX85" fmla="*/ 4918828 w 6424234"/>
              <a:gd name="connsiteY85" fmla="*/ 0 h 34464"/>
              <a:gd name="connsiteX86" fmla="*/ 4936332 w 6424234"/>
              <a:gd name="connsiteY86" fmla="*/ 17232 h 34464"/>
              <a:gd name="connsiteX87" fmla="*/ 4918828 w 6424234"/>
              <a:gd name="connsiteY87" fmla="*/ 34464 h 34464"/>
              <a:gd name="connsiteX88" fmla="*/ 4901323 w 6424234"/>
              <a:gd name="connsiteY88" fmla="*/ 17232 h 34464"/>
              <a:gd name="connsiteX89" fmla="*/ 4918828 w 6424234"/>
              <a:gd name="connsiteY89" fmla="*/ 0 h 34464"/>
              <a:gd name="connsiteX90" fmla="*/ 4831305 w 6424234"/>
              <a:gd name="connsiteY90" fmla="*/ 0 h 34464"/>
              <a:gd name="connsiteX91" fmla="*/ 4848809 w 6424234"/>
              <a:gd name="connsiteY91" fmla="*/ 17232 h 34464"/>
              <a:gd name="connsiteX92" fmla="*/ 4831305 w 6424234"/>
              <a:gd name="connsiteY92" fmla="*/ 34464 h 34464"/>
              <a:gd name="connsiteX93" fmla="*/ 4813799 w 6424234"/>
              <a:gd name="connsiteY93" fmla="*/ 17232 h 34464"/>
              <a:gd name="connsiteX94" fmla="*/ 4831305 w 6424234"/>
              <a:gd name="connsiteY94" fmla="*/ 0 h 34464"/>
              <a:gd name="connsiteX95" fmla="*/ 4743780 w 6424234"/>
              <a:gd name="connsiteY95" fmla="*/ 0 h 34464"/>
              <a:gd name="connsiteX96" fmla="*/ 4761285 w 6424234"/>
              <a:gd name="connsiteY96" fmla="*/ 17232 h 34464"/>
              <a:gd name="connsiteX97" fmla="*/ 4743780 w 6424234"/>
              <a:gd name="connsiteY97" fmla="*/ 34464 h 34464"/>
              <a:gd name="connsiteX98" fmla="*/ 4726276 w 6424234"/>
              <a:gd name="connsiteY98" fmla="*/ 17232 h 34464"/>
              <a:gd name="connsiteX99" fmla="*/ 4743780 w 6424234"/>
              <a:gd name="connsiteY99" fmla="*/ 0 h 34464"/>
              <a:gd name="connsiteX100" fmla="*/ 4656257 w 6424234"/>
              <a:gd name="connsiteY100" fmla="*/ 0 h 34464"/>
              <a:gd name="connsiteX101" fmla="*/ 4673761 w 6424234"/>
              <a:gd name="connsiteY101" fmla="*/ 17232 h 34464"/>
              <a:gd name="connsiteX102" fmla="*/ 4656257 w 6424234"/>
              <a:gd name="connsiteY102" fmla="*/ 34464 h 34464"/>
              <a:gd name="connsiteX103" fmla="*/ 4638752 w 6424234"/>
              <a:gd name="connsiteY103" fmla="*/ 17232 h 34464"/>
              <a:gd name="connsiteX104" fmla="*/ 4656257 w 6424234"/>
              <a:gd name="connsiteY104" fmla="*/ 0 h 34464"/>
              <a:gd name="connsiteX105" fmla="*/ 4568733 w 6424234"/>
              <a:gd name="connsiteY105" fmla="*/ 0 h 34464"/>
              <a:gd name="connsiteX106" fmla="*/ 4586238 w 6424234"/>
              <a:gd name="connsiteY106" fmla="*/ 17232 h 34464"/>
              <a:gd name="connsiteX107" fmla="*/ 4568733 w 6424234"/>
              <a:gd name="connsiteY107" fmla="*/ 34464 h 34464"/>
              <a:gd name="connsiteX108" fmla="*/ 4551228 w 6424234"/>
              <a:gd name="connsiteY108" fmla="*/ 17232 h 34464"/>
              <a:gd name="connsiteX109" fmla="*/ 4568733 w 6424234"/>
              <a:gd name="connsiteY109" fmla="*/ 0 h 34464"/>
              <a:gd name="connsiteX110" fmla="*/ 4481209 w 6424234"/>
              <a:gd name="connsiteY110" fmla="*/ 0 h 34464"/>
              <a:gd name="connsiteX111" fmla="*/ 4498715 w 6424234"/>
              <a:gd name="connsiteY111" fmla="*/ 17232 h 34464"/>
              <a:gd name="connsiteX112" fmla="*/ 4481209 w 6424234"/>
              <a:gd name="connsiteY112" fmla="*/ 34464 h 34464"/>
              <a:gd name="connsiteX113" fmla="*/ 4463705 w 6424234"/>
              <a:gd name="connsiteY113" fmla="*/ 17232 h 34464"/>
              <a:gd name="connsiteX114" fmla="*/ 4481209 w 6424234"/>
              <a:gd name="connsiteY114" fmla="*/ 0 h 34464"/>
              <a:gd name="connsiteX115" fmla="*/ 4393686 w 6424234"/>
              <a:gd name="connsiteY115" fmla="*/ 0 h 34464"/>
              <a:gd name="connsiteX116" fmla="*/ 4411191 w 6424234"/>
              <a:gd name="connsiteY116" fmla="*/ 17232 h 34464"/>
              <a:gd name="connsiteX117" fmla="*/ 4393686 w 6424234"/>
              <a:gd name="connsiteY117" fmla="*/ 34464 h 34464"/>
              <a:gd name="connsiteX118" fmla="*/ 4376182 w 6424234"/>
              <a:gd name="connsiteY118" fmla="*/ 17232 h 34464"/>
              <a:gd name="connsiteX119" fmla="*/ 4393686 w 6424234"/>
              <a:gd name="connsiteY119" fmla="*/ 0 h 34464"/>
              <a:gd name="connsiteX120" fmla="*/ 4306162 w 6424234"/>
              <a:gd name="connsiteY120" fmla="*/ 0 h 34464"/>
              <a:gd name="connsiteX121" fmla="*/ 4323667 w 6424234"/>
              <a:gd name="connsiteY121" fmla="*/ 17232 h 34464"/>
              <a:gd name="connsiteX122" fmla="*/ 4306162 w 6424234"/>
              <a:gd name="connsiteY122" fmla="*/ 34464 h 34464"/>
              <a:gd name="connsiteX123" fmla="*/ 4288658 w 6424234"/>
              <a:gd name="connsiteY123" fmla="*/ 17232 h 34464"/>
              <a:gd name="connsiteX124" fmla="*/ 4306162 w 6424234"/>
              <a:gd name="connsiteY124" fmla="*/ 0 h 34464"/>
              <a:gd name="connsiteX125" fmla="*/ 4218639 w 6424234"/>
              <a:gd name="connsiteY125" fmla="*/ 0 h 34464"/>
              <a:gd name="connsiteX126" fmla="*/ 4236143 w 6424234"/>
              <a:gd name="connsiteY126" fmla="*/ 17232 h 34464"/>
              <a:gd name="connsiteX127" fmla="*/ 4218639 w 6424234"/>
              <a:gd name="connsiteY127" fmla="*/ 34464 h 34464"/>
              <a:gd name="connsiteX128" fmla="*/ 4201134 w 6424234"/>
              <a:gd name="connsiteY128" fmla="*/ 17232 h 34464"/>
              <a:gd name="connsiteX129" fmla="*/ 4218639 w 6424234"/>
              <a:gd name="connsiteY129" fmla="*/ 0 h 34464"/>
              <a:gd name="connsiteX130" fmla="*/ 4131115 w 6424234"/>
              <a:gd name="connsiteY130" fmla="*/ 0 h 34464"/>
              <a:gd name="connsiteX131" fmla="*/ 4148621 w 6424234"/>
              <a:gd name="connsiteY131" fmla="*/ 17232 h 34464"/>
              <a:gd name="connsiteX132" fmla="*/ 4131115 w 6424234"/>
              <a:gd name="connsiteY132" fmla="*/ 34464 h 34464"/>
              <a:gd name="connsiteX133" fmla="*/ 4113610 w 6424234"/>
              <a:gd name="connsiteY133" fmla="*/ 17232 h 34464"/>
              <a:gd name="connsiteX134" fmla="*/ 4131115 w 6424234"/>
              <a:gd name="connsiteY134" fmla="*/ 0 h 34464"/>
              <a:gd name="connsiteX135" fmla="*/ 4043592 w 6424234"/>
              <a:gd name="connsiteY135" fmla="*/ 0 h 34464"/>
              <a:gd name="connsiteX136" fmla="*/ 4061096 w 6424234"/>
              <a:gd name="connsiteY136" fmla="*/ 17232 h 34464"/>
              <a:gd name="connsiteX137" fmla="*/ 4043592 w 6424234"/>
              <a:gd name="connsiteY137" fmla="*/ 34464 h 34464"/>
              <a:gd name="connsiteX138" fmla="*/ 4026088 w 6424234"/>
              <a:gd name="connsiteY138" fmla="*/ 17232 h 34464"/>
              <a:gd name="connsiteX139" fmla="*/ 4043592 w 6424234"/>
              <a:gd name="connsiteY139" fmla="*/ 0 h 34464"/>
              <a:gd name="connsiteX140" fmla="*/ 3956068 w 6424234"/>
              <a:gd name="connsiteY140" fmla="*/ 0 h 34464"/>
              <a:gd name="connsiteX141" fmla="*/ 3973572 w 6424234"/>
              <a:gd name="connsiteY141" fmla="*/ 17232 h 34464"/>
              <a:gd name="connsiteX142" fmla="*/ 3956068 w 6424234"/>
              <a:gd name="connsiteY142" fmla="*/ 34464 h 34464"/>
              <a:gd name="connsiteX143" fmla="*/ 3938564 w 6424234"/>
              <a:gd name="connsiteY143" fmla="*/ 17232 h 34464"/>
              <a:gd name="connsiteX144" fmla="*/ 3956068 w 6424234"/>
              <a:gd name="connsiteY144" fmla="*/ 0 h 34464"/>
              <a:gd name="connsiteX145" fmla="*/ 3868544 w 6424234"/>
              <a:gd name="connsiteY145" fmla="*/ 0 h 34464"/>
              <a:gd name="connsiteX146" fmla="*/ 3886049 w 6424234"/>
              <a:gd name="connsiteY146" fmla="*/ 17232 h 34464"/>
              <a:gd name="connsiteX147" fmla="*/ 3868544 w 6424234"/>
              <a:gd name="connsiteY147" fmla="*/ 34464 h 34464"/>
              <a:gd name="connsiteX148" fmla="*/ 3851039 w 6424234"/>
              <a:gd name="connsiteY148" fmla="*/ 17232 h 34464"/>
              <a:gd name="connsiteX149" fmla="*/ 3868544 w 6424234"/>
              <a:gd name="connsiteY149" fmla="*/ 0 h 34464"/>
              <a:gd name="connsiteX150" fmla="*/ 3781020 w 6424234"/>
              <a:gd name="connsiteY150" fmla="*/ 0 h 34464"/>
              <a:gd name="connsiteX151" fmla="*/ 3798525 w 6424234"/>
              <a:gd name="connsiteY151" fmla="*/ 17232 h 34464"/>
              <a:gd name="connsiteX152" fmla="*/ 3781020 w 6424234"/>
              <a:gd name="connsiteY152" fmla="*/ 34464 h 34464"/>
              <a:gd name="connsiteX153" fmla="*/ 3763516 w 6424234"/>
              <a:gd name="connsiteY153" fmla="*/ 17232 h 34464"/>
              <a:gd name="connsiteX154" fmla="*/ 3781020 w 6424234"/>
              <a:gd name="connsiteY154" fmla="*/ 0 h 34464"/>
              <a:gd name="connsiteX155" fmla="*/ 3693498 w 6424234"/>
              <a:gd name="connsiteY155" fmla="*/ 0 h 34464"/>
              <a:gd name="connsiteX156" fmla="*/ 3711002 w 6424234"/>
              <a:gd name="connsiteY156" fmla="*/ 17232 h 34464"/>
              <a:gd name="connsiteX157" fmla="*/ 3693498 w 6424234"/>
              <a:gd name="connsiteY157" fmla="*/ 34464 h 34464"/>
              <a:gd name="connsiteX158" fmla="*/ 3675992 w 6424234"/>
              <a:gd name="connsiteY158" fmla="*/ 17232 h 34464"/>
              <a:gd name="connsiteX159" fmla="*/ 3693498 w 6424234"/>
              <a:gd name="connsiteY159" fmla="*/ 0 h 34464"/>
              <a:gd name="connsiteX160" fmla="*/ 3605974 w 6424234"/>
              <a:gd name="connsiteY160" fmla="*/ 0 h 34464"/>
              <a:gd name="connsiteX161" fmla="*/ 3623478 w 6424234"/>
              <a:gd name="connsiteY161" fmla="*/ 17232 h 34464"/>
              <a:gd name="connsiteX162" fmla="*/ 3605974 w 6424234"/>
              <a:gd name="connsiteY162" fmla="*/ 34464 h 34464"/>
              <a:gd name="connsiteX163" fmla="*/ 3588468 w 6424234"/>
              <a:gd name="connsiteY163" fmla="*/ 17232 h 34464"/>
              <a:gd name="connsiteX164" fmla="*/ 3605974 w 6424234"/>
              <a:gd name="connsiteY164" fmla="*/ 0 h 34464"/>
              <a:gd name="connsiteX165" fmla="*/ 3518449 w 6424234"/>
              <a:gd name="connsiteY165" fmla="*/ 0 h 34464"/>
              <a:gd name="connsiteX166" fmla="*/ 3535954 w 6424234"/>
              <a:gd name="connsiteY166" fmla="*/ 17232 h 34464"/>
              <a:gd name="connsiteX167" fmla="*/ 3518449 w 6424234"/>
              <a:gd name="connsiteY167" fmla="*/ 34464 h 34464"/>
              <a:gd name="connsiteX168" fmla="*/ 3500945 w 6424234"/>
              <a:gd name="connsiteY168" fmla="*/ 17232 h 34464"/>
              <a:gd name="connsiteX169" fmla="*/ 3518449 w 6424234"/>
              <a:gd name="connsiteY169" fmla="*/ 0 h 34464"/>
              <a:gd name="connsiteX170" fmla="*/ 3430926 w 6424234"/>
              <a:gd name="connsiteY170" fmla="*/ 0 h 34464"/>
              <a:gd name="connsiteX171" fmla="*/ 3448431 w 6424234"/>
              <a:gd name="connsiteY171" fmla="*/ 17232 h 34464"/>
              <a:gd name="connsiteX172" fmla="*/ 3430926 w 6424234"/>
              <a:gd name="connsiteY172" fmla="*/ 34464 h 34464"/>
              <a:gd name="connsiteX173" fmla="*/ 3413421 w 6424234"/>
              <a:gd name="connsiteY173" fmla="*/ 17232 h 34464"/>
              <a:gd name="connsiteX174" fmla="*/ 3430926 w 6424234"/>
              <a:gd name="connsiteY174" fmla="*/ 0 h 34464"/>
              <a:gd name="connsiteX175" fmla="*/ 3343402 w 6424234"/>
              <a:gd name="connsiteY175" fmla="*/ 0 h 34464"/>
              <a:gd name="connsiteX176" fmla="*/ 3360908 w 6424234"/>
              <a:gd name="connsiteY176" fmla="*/ 17232 h 34464"/>
              <a:gd name="connsiteX177" fmla="*/ 3343402 w 6424234"/>
              <a:gd name="connsiteY177" fmla="*/ 34464 h 34464"/>
              <a:gd name="connsiteX178" fmla="*/ 3325898 w 6424234"/>
              <a:gd name="connsiteY178" fmla="*/ 17232 h 34464"/>
              <a:gd name="connsiteX179" fmla="*/ 3343402 w 6424234"/>
              <a:gd name="connsiteY179" fmla="*/ 0 h 34464"/>
              <a:gd name="connsiteX180" fmla="*/ 3255880 w 6424234"/>
              <a:gd name="connsiteY180" fmla="*/ 0 h 34464"/>
              <a:gd name="connsiteX181" fmla="*/ 3273384 w 6424234"/>
              <a:gd name="connsiteY181" fmla="*/ 17232 h 34464"/>
              <a:gd name="connsiteX182" fmla="*/ 3255880 w 6424234"/>
              <a:gd name="connsiteY182" fmla="*/ 34464 h 34464"/>
              <a:gd name="connsiteX183" fmla="*/ 3238374 w 6424234"/>
              <a:gd name="connsiteY183" fmla="*/ 17232 h 34464"/>
              <a:gd name="connsiteX184" fmla="*/ 3255880 w 6424234"/>
              <a:gd name="connsiteY184" fmla="*/ 0 h 34464"/>
              <a:gd name="connsiteX185" fmla="*/ 3168355 w 6424234"/>
              <a:gd name="connsiteY185" fmla="*/ 0 h 34464"/>
              <a:gd name="connsiteX186" fmla="*/ 3185860 w 6424234"/>
              <a:gd name="connsiteY186" fmla="*/ 17232 h 34464"/>
              <a:gd name="connsiteX187" fmla="*/ 3168355 w 6424234"/>
              <a:gd name="connsiteY187" fmla="*/ 34464 h 34464"/>
              <a:gd name="connsiteX188" fmla="*/ 3150851 w 6424234"/>
              <a:gd name="connsiteY188" fmla="*/ 17232 h 34464"/>
              <a:gd name="connsiteX189" fmla="*/ 3168355 w 6424234"/>
              <a:gd name="connsiteY189" fmla="*/ 0 h 34464"/>
              <a:gd name="connsiteX190" fmla="*/ 3080831 w 6424234"/>
              <a:gd name="connsiteY190" fmla="*/ 0 h 34464"/>
              <a:gd name="connsiteX191" fmla="*/ 3098336 w 6424234"/>
              <a:gd name="connsiteY191" fmla="*/ 17232 h 34464"/>
              <a:gd name="connsiteX192" fmla="*/ 3080831 w 6424234"/>
              <a:gd name="connsiteY192" fmla="*/ 34464 h 34464"/>
              <a:gd name="connsiteX193" fmla="*/ 3063327 w 6424234"/>
              <a:gd name="connsiteY193" fmla="*/ 17232 h 34464"/>
              <a:gd name="connsiteX194" fmla="*/ 3080831 w 6424234"/>
              <a:gd name="connsiteY194" fmla="*/ 0 h 34464"/>
              <a:gd name="connsiteX195" fmla="*/ 2993308 w 6424234"/>
              <a:gd name="connsiteY195" fmla="*/ 0 h 34464"/>
              <a:gd name="connsiteX196" fmla="*/ 3010812 w 6424234"/>
              <a:gd name="connsiteY196" fmla="*/ 17232 h 34464"/>
              <a:gd name="connsiteX197" fmla="*/ 2993308 w 6424234"/>
              <a:gd name="connsiteY197" fmla="*/ 34464 h 34464"/>
              <a:gd name="connsiteX198" fmla="*/ 2975803 w 6424234"/>
              <a:gd name="connsiteY198" fmla="*/ 17232 h 34464"/>
              <a:gd name="connsiteX199" fmla="*/ 2993308 w 6424234"/>
              <a:gd name="connsiteY199" fmla="*/ 0 h 34464"/>
              <a:gd name="connsiteX200" fmla="*/ 2905784 w 6424234"/>
              <a:gd name="connsiteY200" fmla="*/ 0 h 34464"/>
              <a:gd name="connsiteX201" fmla="*/ 2923290 w 6424234"/>
              <a:gd name="connsiteY201" fmla="*/ 17232 h 34464"/>
              <a:gd name="connsiteX202" fmla="*/ 2905784 w 6424234"/>
              <a:gd name="connsiteY202" fmla="*/ 34464 h 34464"/>
              <a:gd name="connsiteX203" fmla="*/ 2888279 w 6424234"/>
              <a:gd name="connsiteY203" fmla="*/ 17232 h 34464"/>
              <a:gd name="connsiteX204" fmla="*/ 2905784 w 6424234"/>
              <a:gd name="connsiteY204" fmla="*/ 0 h 34464"/>
              <a:gd name="connsiteX205" fmla="*/ 2818261 w 6424234"/>
              <a:gd name="connsiteY205" fmla="*/ 0 h 34464"/>
              <a:gd name="connsiteX206" fmla="*/ 2835765 w 6424234"/>
              <a:gd name="connsiteY206" fmla="*/ 17232 h 34464"/>
              <a:gd name="connsiteX207" fmla="*/ 2818261 w 6424234"/>
              <a:gd name="connsiteY207" fmla="*/ 34464 h 34464"/>
              <a:gd name="connsiteX208" fmla="*/ 2800757 w 6424234"/>
              <a:gd name="connsiteY208" fmla="*/ 17232 h 34464"/>
              <a:gd name="connsiteX209" fmla="*/ 2818261 w 6424234"/>
              <a:gd name="connsiteY209" fmla="*/ 0 h 34464"/>
              <a:gd name="connsiteX210" fmla="*/ 2730737 w 6424234"/>
              <a:gd name="connsiteY210" fmla="*/ 0 h 34464"/>
              <a:gd name="connsiteX211" fmla="*/ 2748242 w 6424234"/>
              <a:gd name="connsiteY211" fmla="*/ 17232 h 34464"/>
              <a:gd name="connsiteX212" fmla="*/ 2730737 w 6424234"/>
              <a:gd name="connsiteY212" fmla="*/ 34464 h 34464"/>
              <a:gd name="connsiteX213" fmla="*/ 2713232 w 6424234"/>
              <a:gd name="connsiteY213" fmla="*/ 17232 h 34464"/>
              <a:gd name="connsiteX214" fmla="*/ 2730737 w 6424234"/>
              <a:gd name="connsiteY214" fmla="*/ 0 h 34464"/>
              <a:gd name="connsiteX215" fmla="*/ 2643213 w 6424234"/>
              <a:gd name="connsiteY215" fmla="*/ 0 h 34464"/>
              <a:gd name="connsiteX216" fmla="*/ 2660718 w 6424234"/>
              <a:gd name="connsiteY216" fmla="*/ 17232 h 34464"/>
              <a:gd name="connsiteX217" fmla="*/ 2643213 w 6424234"/>
              <a:gd name="connsiteY217" fmla="*/ 34464 h 34464"/>
              <a:gd name="connsiteX218" fmla="*/ 2625709 w 6424234"/>
              <a:gd name="connsiteY218" fmla="*/ 17232 h 34464"/>
              <a:gd name="connsiteX219" fmla="*/ 2643213 w 6424234"/>
              <a:gd name="connsiteY219" fmla="*/ 0 h 34464"/>
              <a:gd name="connsiteX220" fmla="*/ 2555690 w 6424234"/>
              <a:gd name="connsiteY220" fmla="*/ 0 h 34464"/>
              <a:gd name="connsiteX221" fmla="*/ 2573194 w 6424234"/>
              <a:gd name="connsiteY221" fmla="*/ 17232 h 34464"/>
              <a:gd name="connsiteX222" fmla="*/ 2555690 w 6424234"/>
              <a:gd name="connsiteY222" fmla="*/ 34464 h 34464"/>
              <a:gd name="connsiteX223" fmla="*/ 2538185 w 6424234"/>
              <a:gd name="connsiteY223" fmla="*/ 17232 h 34464"/>
              <a:gd name="connsiteX224" fmla="*/ 2555690 w 6424234"/>
              <a:gd name="connsiteY224" fmla="*/ 0 h 34464"/>
              <a:gd name="connsiteX225" fmla="*/ 2468167 w 6424234"/>
              <a:gd name="connsiteY225" fmla="*/ 0 h 34464"/>
              <a:gd name="connsiteX226" fmla="*/ 2485671 w 6424234"/>
              <a:gd name="connsiteY226" fmla="*/ 17232 h 34464"/>
              <a:gd name="connsiteX227" fmla="*/ 2468167 w 6424234"/>
              <a:gd name="connsiteY227" fmla="*/ 34464 h 34464"/>
              <a:gd name="connsiteX228" fmla="*/ 2450661 w 6424234"/>
              <a:gd name="connsiteY228" fmla="*/ 17232 h 34464"/>
              <a:gd name="connsiteX229" fmla="*/ 2468167 w 6424234"/>
              <a:gd name="connsiteY229" fmla="*/ 0 h 34464"/>
              <a:gd name="connsiteX230" fmla="*/ 2380642 w 6424234"/>
              <a:gd name="connsiteY230" fmla="*/ 0 h 34464"/>
              <a:gd name="connsiteX231" fmla="*/ 2398147 w 6424234"/>
              <a:gd name="connsiteY231" fmla="*/ 17232 h 34464"/>
              <a:gd name="connsiteX232" fmla="*/ 2380642 w 6424234"/>
              <a:gd name="connsiteY232" fmla="*/ 34464 h 34464"/>
              <a:gd name="connsiteX233" fmla="*/ 2363138 w 6424234"/>
              <a:gd name="connsiteY233" fmla="*/ 17232 h 34464"/>
              <a:gd name="connsiteX234" fmla="*/ 2380642 w 6424234"/>
              <a:gd name="connsiteY234" fmla="*/ 0 h 34464"/>
              <a:gd name="connsiteX235" fmla="*/ 2293119 w 6424234"/>
              <a:gd name="connsiteY235" fmla="*/ 0 h 34464"/>
              <a:gd name="connsiteX236" fmla="*/ 2310623 w 6424234"/>
              <a:gd name="connsiteY236" fmla="*/ 17232 h 34464"/>
              <a:gd name="connsiteX237" fmla="*/ 2293119 w 6424234"/>
              <a:gd name="connsiteY237" fmla="*/ 34464 h 34464"/>
              <a:gd name="connsiteX238" fmla="*/ 2275614 w 6424234"/>
              <a:gd name="connsiteY238" fmla="*/ 17232 h 34464"/>
              <a:gd name="connsiteX239" fmla="*/ 2293119 w 6424234"/>
              <a:gd name="connsiteY239" fmla="*/ 0 h 34464"/>
              <a:gd name="connsiteX240" fmla="*/ 2205595 w 6424234"/>
              <a:gd name="connsiteY240" fmla="*/ 0 h 34464"/>
              <a:gd name="connsiteX241" fmla="*/ 2223100 w 6424234"/>
              <a:gd name="connsiteY241" fmla="*/ 17232 h 34464"/>
              <a:gd name="connsiteX242" fmla="*/ 2205595 w 6424234"/>
              <a:gd name="connsiteY242" fmla="*/ 34464 h 34464"/>
              <a:gd name="connsiteX243" fmla="*/ 2188090 w 6424234"/>
              <a:gd name="connsiteY243" fmla="*/ 17232 h 34464"/>
              <a:gd name="connsiteX244" fmla="*/ 2205595 w 6424234"/>
              <a:gd name="connsiteY244" fmla="*/ 0 h 34464"/>
              <a:gd name="connsiteX245" fmla="*/ 2118073 w 6424234"/>
              <a:gd name="connsiteY245" fmla="*/ 0 h 34464"/>
              <a:gd name="connsiteX246" fmla="*/ 2135577 w 6424234"/>
              <a:gd name="connsiteY246" fmla="*/ 17232 h 34464"/>
              <a:gd name="connsiteX247" fmla="*/ 2118073 w 6424234"/>
              <a:gd name="connsiteY247" fmla="*/ 34464 h 34464"/>
              <a:gd name="connsiteX248" fmla="*/ 2100567 w 6424234"/>
              <a:gd name="connsiteY248" fmla="*/ 17232 h 34464"/>
              <a:gd name="connsiteX249" fmla="*/ 2118073 w 6424234"/>
              <a:gd name="connsiteY249" fmla="*/ 0 h 34464"/>
              <a:gd name="connsiteX250" fmla="*/ 2030548 w 6424234"/>
              <a:gd name="connsiteY250" fmla="*/ 0 h 34464"/>
              <a:gd name="connsiteX251" fmla="*/ 2048053 w 6424234"/>
              <a:gd name="connsiteY251" fmla="*/ 17232 h 34464"/>
              <a:gd name="connsiteX252" fmla="*/ 2030548 w 6424234"/>
              <a:gd name="connsiteY252" fmla="*/ 34464 h 34464"/>
              <a:gd name="connsiteX253" fmla="*/ 2013044 w 6424234"/>
              <a:gd name="connsiteY253" fmla="*/ 17232 h 34464"/>
              <a:gd name="connsiteX254" fmla="*/ 2030548 w 6424234"/>
              <a:gd name="connsiteY254" fmla="*/ 0 h 34464"/>
              <a:gd name="connsiteX255" fmla="*/ 1943024 w 6424234"/>
              <a:gd name="connsiteY255" fmla="*/ 0 h 34464"/>
              <a:gd name="connsiteX256" fmla="*/ 1960529 w 6424234"/>
              <a:gd name="connsiteY256" fmla="*/ 17232 h 34464"/>
              <a:gd name="connsiteX257" fmla="*/ 1943024 w 6424234"/>
              <a:gd name="connsiteY257" fmla="*/ 34464 h 34464"/>
              <a:gd name="connsiteX258" fmla="*/ 1925520 w 6424234"/>
              <a:gd name="connsiteY258" fmla="*/ 17232 h 34464"/>
              <a:gd name="connsiteX259" fmla="*/ 1943024 w 6424234"/>
              <a:gd name="connsiteY259" fmla="*/ 0 h 34464"/>
              <a:gd name="connsiteX260" fmla="*/ 1855501 w 6424234"/>
              <a:gd name="connsiteY260" fmla="*/ 0 h 34464"/>
              <a:gd name="connsiteX261" fmla="*/ 1873005 w 6424234"/>
              <a:gd name="connsiteY261" fmla="*/ 17232 h 34464"/>
              <a:gd name="connsiteX262" fmla="*/ 1855501 w 6424234"/>
              <a:gd name="connsiteY262" fmla="*/ 34464 h 34464"/>
              <a:gd name="connsiteX263" fmla="*/ 1837996 w 6424234"/>
              <a:gd name="connsiteY263" fmla="*/ 17232 h 34464"/>
              <a:gd name="connsiteX264" fmla="*/ 1855501 w 6424234"/>
              <a:gd name="connsiteY264" fmla="*/ 0 h 34464"/>
              <a:gd name="connsiteX265" fmla="*/ 1767977 w 6424234"/>
              <a:gd name="connsiteY265" fmla="*/ 0 h 34464"/>
              <a:gd name="connsiteX266" fmla="*/ 1785483 w 6424234"/>
              <a:gd name="connsiteY266" fmla="*/ 17232 h 34464"/>
              <a:gd name="connsiteX267" fmla="*/ 1767977 w 6424234"/>
              <a:gd name="connsiteY267" fmla="*/ 34464 h 34464"/>
              <a:gd name="connsiteX268" fmla="*/ 1750472 w 6424234"/>
              <a:gd name="connsiteY268" fmla="*/ 17232 h 34464"/>
              <a:gd name="connsiteX269" fmla="*/ 1767977 w 6424234"/>
              <a:gd name="connsiteY269" fmla="*/ 0 h 34464"/>
              <a:gd name="connsiteX270" fmla="*/ 1680454 w 6424234"/>
              <a:gd name="connsiteY270" fmla="*/ 0 h 34464"/>
              <a:gd name="connsiteX271" fmla="*/ 1697958 w 6424234"/>
              <a:gd name="connsiteY271" fmla="*/ 17232 h 34464"/>
              <a:gd name="connsiteX272" fmla="*/ 1680454 w 6424234"/>
              <a:gd name="connsiteY272" fmla="*/ 34464 h 34464"/>
              <a:gd name="connsiteX273" fmla="*/ 1662949 w 6424234"/>
              <a:gd name="connsiteY273" fmla="*/ 17232 h 34464"/>
              <a:gd name="connsiteX274" fmla="*/ 1680454 w 6424234"/>
              <a:gd name="connsiteY274" fmla="*/ 0 h 34464"/>
              <a:gd name="connsiteX275" fmla="*/ 1592930 w 6424234"/>
              <a:gd name="connsiteY275" fmla="*/ 0 h 34464"/>
              <a:gd name="connsiteX276" fmla="*/ 1610434 w 6424234"/>
              <a:gd name="connsiteY276" fmla="*/ 17232 h 34464"/>
              <a:gd name="connsiteX277" fmla="*/ 1592930 w 6424234"/>
              <a:gd name="connsiteY277" fmla="*/ 34464 h 34464"/>
              <a:gd name="connsiteX278" fmla="*/ 1575426 w 6424234"/>
              <a:gd name="connsiteY278" fmla="*/ 17232 h 34464"/>
              <a:gd name="connsiteX279" fmla="*/ 1592930 w 6424234"/>
              <a:gd name="connsiteY279" fmla="*/ 0 h 34464"/>
              <a:gd name="connsiteX280" fmla="*/ 1505406 w 6424234"/>
              <a:gd name="connsiteY280" fmla="*/ 0 h 34464"/>
              <a:gd name="connsiteX281" fmla="*/ 1522911 w 6424234"/>
              <a:gd name="connsiteY281" fmla="*/ 17232 h 34464"/>
              <a:gd name="connsiteX282" fmla="*/ 1505406 w 6424234"/>
              <a:gd name="connsiteY282" fmla="*/ 34464 h 34464"/>
              <a:gd name="connsiteX283" fmla="*/ 1487901 w 6424234"/>
              <a:gd name="connsiteY283" fmla="*/ 17232 h 34464"/>
              <a:gd name="connsiteX284" fmla="*/ 1505406 w 6424234"/>
              <a:gd name="connsiteY284" fmla="*/ 0 h 34464"/>
              <a:gd name="connsiteX285" fmla="*/ 1417882 w 6424234"/>
              <a:gd name="connsiteY285" fmla="*/ 0 h 34464"/>
              <a:gd name="connsiteX286" fmla="*/ 1435387 w 6424234"/>
              <a:gd name="connsiteY286" fmla="*/ 17232 h 34464"/>
              <a:gd name="connsiteX287" fmla="*/ 1417882 w 6424234"/>
              <a:gd name="connsiteY287" fmla="*/ 34464 h 34464"/>
              <a:gd name="connsiteX288" fmla="*/ 1400378 w 6424234"/>
              <a:gd name="connsiteY288" fmla="*/ 17232 h 34464"/>
              <a:gd name="connsiteX289" fmla="*/ 1417882 w 6424234"/>
              <a:gd name="connsiteY289" fmla="*/ 0 h 34464"/>
              <a:gd name="connsiteX290" fmla="*/ 1330359 w 6424234"/>
              <a:gd name="connsiteY290" fmla="*/ 0 h 34464"/>
              <a:gd name="connsiteX291" fmla="*/ 1347865 w 6424234"/>
              <a:gd name="connsiteY291" fmla="*/ 17232 h 34464"/>
              <a:gd name="connsiteX292" fmla="*/ 1330359 w 6424234"/>
              <a:gd name="connsiteY292" fmla="*/ 34464 h 34464"/>
              <a:gd name="connsiteX293" fmla="*/ 1312854 w 6424234"/>
              <a:gd name="connsiteY293" fmla="*/ 17232 h 34464"/>
              <a:gd name="connsiteX294" fmla="*/ 1330359 w 6424234"/>
              <a:gd name="connsiteY294" fmla="*/ 0 h 34464"/>
              <a:gd name="connsiteX295" fmla="*/ 1242835 w 6424234"/>
              <a:gd name="connsiteY295" fmla="*/ 0 h 34464"/>
              <a:gd name="connsiteX296" fmla="*/ 1260340 w 6424234"/>
              <a:gd name="connsiteY296" fmla="*/ 17232 h 34464"/>
              <a:gd name="connsiteX297" fmla="*/ 1242835 w 6424234"/>
              <a:gd name="connsiteY297" fmla="*/ 34464 h 34464"/>
              <a:gd name="connsiteX298" fmla="*/ 1225330 w 6424234"/>
              <a:gd name="connsiteY298" fmla="*/ 17232 h 34464"/>
              <a:gd name="connsiteX299" fmla="*/ 1242835 w 6424234"/>
              <a:gd name="connsiteY299" fmla="*/ 0 h 34464"/>
              <a:gd name="connsiteX300" fmla="*/ 1155312 w 6424234"/>
              <a:gd name="connsiteY300" fmla="*/ 0 h 34464"/>
              <a:gd name="connsiteX301" fmla="*/ 1172816 w 6424234"/>
              <a:gd name="connsiteY301" fmla="*/ 17232 h 34464"/>
              <a:gd name="connsiteX302" fmla="*/ 1155312 w 6424234"/>
              <a:gd name="connsiteY302" fmla="*/ 34464 h 34464"/>
              <a:gd name="connsiteX303" fmla="*/ 1137807 w 6424234"/>
              <a:gd name="connsiteY303" fmla="*/ 17232 h 34464"/>
              <a:gd name="connsiteX304" fmla="*/ 1155312 w 6424234"/>
              <a:gd name="connsiteY304" fmla="*/ 0 h 34464"/>
              <a:gd name="connsiteX305" fmla="*/ 1067788 w 6424234"/>
              <a:gd name="connsiteY305" fmla="*/ 0 h 34464"/>
              <a:gd name="connsiteX306" fmla="*/ 1085293 w 6424234"/>
              <a:gd name="connsiteY306" fmla="*/ 17232 h 34464"/>
              <a:gd name="connsiteX307" fmla="*/ 1067788 w 6424234"/>
              <a:gd name="connsiteY307" fmla="*/ 34464 h 34464"/>
              <a:gd name="connsiteX308" fmla="*/ 1050283 w 6424234"/>
              <a:gd name="connsiteY308" fmla="*/ 17232 h 34464"/>
              <a:gd name="connsiteX309" fmla="*/ 1067788 w 6424234"/>
              <a:gd name="connsiteY309" fmla="*/ 0 h 34464"/>
              <a:gd name="connsiteX310" fmla="*/ 980264 w 6424234"/>
              <a:gd name="connsiteY310" fmla="*/ 0 h 34464"/>
              <a:gd name="connsiteX311" fmla="*/ 997769 w 6424234"/>
              <a:gd name="connsiteY311" fmla="*/ 17232 h 34464"/>
              <a:gd name="connsiteX312" fmla="*/ 980264 w 6424234"/>
              <a:gd name="connsiteY312" fmla="*/ 34464 h 34464"/>
              <a:gd name="connsiteX313" fmla="*/ 962760 w 6424234"/>
              <a:gd name="connsiteY313" fmla="*/ 17232 h 34464"/>
              <a:gd name="connsiteX314" fmla="*/ 980264 w 6424234"/>
              <a:gd name="connsiteY314" fmla="*/ 0 h 34464"/>
              <a:gd name="connsiteX315" fmla="*/ 892741 w 6424234"/>
              <a:gd name="connsiteY315" fmla="*/ 0 h 34464"/>
              <a:gd name="connsiteX316" fmla="*/ 910245 w 6424234"/>
              <a:gd name="connsiteY316" fmla="*/ 17232 h 34464"/>
              <a:gd name="connsiteX317" fmla="*/ 892741 w 6424234"/>
              <a:gd name="connsiteY317" fmla="*/ 34464 h 34464"/>
              <a:gd name="connsiteX318" fmla="*/ 875236 w 6424234"/>
              <a:gd name="connsiteY318" fmla="*/ 17232 h 34464"/>
              <a:gd name="connsiteX319" fmla="*/ 892741 w 6424234"/>
              <a:gd name="connsiteY319" fmla="*/ 0 h 34464"/>
              <a:gd name="connsiteX320" fmla="*/ 805217 w 6424234"/>
              <a:gd name="connsiteY320" fmla="*/ 0 h 34464"/>
              <a:gd name="connsiteX321" fmla="*/ 822722 w 6424234"/>
              <a:gd name="connsiteY321" fmla="*/ 17232 h 34464"/>
              <a:gd name="connsiteX322" fmla="*/ 805217 w 6424234"/>
              <a:gd name="connsiteY322" fmla="*/ 34464 h 34464"/>
              <a:gd name="connsiteX323" fmla="*/ 787712 w 6424234"/>
              <a:gd name="connsiteY323" fmla="*/ 17232 h 34464"/>
              <a:gd name="connsiteX324" fmla="*/ 805217 w 6424234"/>
              <a:gd name="connsiteY324" fmla="*/ 0 h 34464"/>
              <a:gd name="connsiteX325" fmla="*/ 717693 w 6424234"/>
              <a:gd name="connsiteY325" fmla="*/ 0 h 34464"/>
              <a:gd name="connsiteX326" fmla="*/ 735198 w 6424234"/>
              <a:gd name="connsiteY326" fmla="*/ 17232 h 34464"/>
              <a:gd name="connsiteX327" fmla="*/ 717693 w 6424234"/>
              <a:gd name="connsiteY327" fmla="*/ 34464 h 34464"/>
              <a:gd name="connsiteX328" fmla="*/ 700189 w 6424234"/>
              <a:gd name="connsiteY328" fmla="*/ 17232 h 34464"/>
              <a:gd name="connsiteX329" fmla="*/ 717693 w 6424234"/>
              <a:gd name="connsiteY329" fmla="*/ 0 h 34464"/>
              <a:gd name="connsiteX330" fmla="*/ 630170 w 6424234"/>
              <a:gd name="connsiteY330" fmla="*/ 0 h 34464"/>
              <a:gd name="connsiteX331" fmla="*/ 647675 w 6424234"/>
              <a:gd name="connsiteY331" fmla="*/ 17232 h 34464"/>
              <a:gd name="connsiteX332" fmla="*/ 630170 w 6424234"/>
              <a:gd name="connsiteY332" fmla="*/ 34464 h 34464"/>
              <a:gd name="connsiteX333" fmla="*/ 612665 w 6424234"/>
              <a:gd name="connsiteY333" fmla="*/ 17232 h 34464"/>
              <a:gd name="connsiteX334" fmla="*/ 630170 w 6424234"/>
              <a:gd name="connsiteY334" fmla="*/ 0 h 34464"/>
              <a:gd name="connsiteX335" fmla="*/ 542646 w 6424234"/>
              <a:gd name="connsiteY335" fmla="*/ 0 h 34464"/>
              <a:gd name="connsiteX336" fmla="*/ 560151 w 6424234"/>
              <a:gd name="connsiteY336" fmla="*/ 17232 h 34464"/>
              <a:gd name="connsiteX337" fmla="*/ 542646 w 6424234"/>
              <a:gd name="connsiteY337" fmla="*/ 34464 h 34464"/>
              <a:gd name="connsiteX338" fmla="*/ 525141 w 6424234"/>
              <a:gd name="connsiteY338" fmla="*/ 17232 h 34464"/>
              <a:gd name="connsiteX339" fmla="*/ 542646 w 6424234"/>
              <a:gd name="connsiteY339" fmla="*/ 0 h 34464"/>
              <a:gd name="connsiteX340" fmla="*/ 455123 w 6424234"/>
              <a:gd name="connsiteY340" fmla="*/ 0 h 34464"/>
              <a:gd name="connsiteX341" fmla="*/ 472627 w 6424234"/>
              <a:gd name="connsiteY341" fmla="*/ 17232 h 34464"/>
              <a:gd name="connsiteX342" fmla="*/ 455123 w 6424234"/>
              <a:gd name="connsiteY342" fmla="*/ 34464 h 34464"/>
              <a:gd name="connsiteX343" fmla="*/ 437618 w 6424234"/>
              <a:gd name="connsiteY343" fmla="*/ 17232 h 34464"/>
              <a:gd name="connsiteX344" fmla="*/ 455123 w 6424234"/>
              <a:gd name="connsiteY344" fmla="*/ 0 h 34464"/>
              <a:gd name="connsiteX345" fmla="*/ 367599 w 6424234"/>
              <a:gd name="connsiteY345" fmla="*/ 0 h 34464"/>
              <a:gd name="connsiteX346" fmla="*/ 385104 w 6424234"/>
              <a:gd name="connsiteY346" fmla="*/ 17232 h 34464"/>
              <a:gd name="connsiteX347" fmla="*/ 367599 w 6424234"/>
              <a:gd name="connsiteY347" fmla="*/ 34464 h 34464"/>
              <a:gd name="connsiteX348" fmla="*/ 350094 w 6424234"/>
              <a:gd name="connsiteY348" fmla="*/ 17232 h 34464"/>
              <a:gd name="connsiteX349" fmla="*/ 367599 w 6424234"/>
              <a:gd name="connsiteY349" fmla="*/ 0 h 34464"/>
              <a:gd name="connsiteX350" fmla="*/ 280075 w 6424234"/>
              <a:gd name="connsiteY350" fmla="*/ 0 h 34464"/>
              <a:gd name="connsiteX351" fmla="*/ 297580 w 6424234"/>
              <a:gd name="connsiteY351" fmla="*/ 17232 h 34464"/>
              <a:gd name="connsiteX352" fmla="*/ 280075 w 6424234"/>
              <a:gd name="connsiteY352" fmla="*/ 34464 h 34464"/>
              <a:gd name="connsiteX353" fmla="*/ 262571 w 6424234"/>
              <a:gd name="connsiteY353" fmla="*/ 17232 h 34464"/>
              <a:gd name="connsiteX354" fmla="*/ 280075 w 6424234"/>
              <a:gd name="connsiteY354" fmla="*/ 0 h 34464"/>
              <a:gd name="connsiteX355" fmla="*/ 192552 w 6424234"/>
              <a:gd name="connsiteY355" fmla="*/ 0 h 34464"/>
              <a:gd name="connsiteX356" fmla="*/ 210056 w 6424234"/>
              <a:gd name="connsiteY356" fmla="*/ 17232 h 34464"/>
              <a:gd name="connsiteX357" fmla="*/ 192552 w 6424234"/>
              <a:gd name="connsiteY357" fmla="*/ 34464 h 34464"/>
              <a:gd name="connsiteX358" fmla="*/ 175047 w 6424234"/>
              <a:gd name="connsiteY358" fmla="*/ 17232 h 34464"/>
              <a:gd name="connsiteX359" fmla="*/ 192552 w 6424234"/>
              <a:gd name="connsiteY359" fmla="*/ 0 h 34464"/>
              <a:gd name="connsiteX360" fmla="*/ 105028 w 6424234"/>
              <a:gd name="connsiteY360" fmla="*/ 0 h 34464"/>
              <a:gd name="connsiteX361" fmla="*/ 122533 w 6424234"/>
              <a:gd name="connsiteY361" fmla="*/ 17232 h 34464"/>
              <a:gd name="connsiteX362" fmla="*/ 105028 w 6424234"/>
              <a:gd name="connsiteY362" fmla="*/ 34464 h 34464"/>
              <a:gd name="connsiteX363" fmla="*/ 87523 w 6424234"/>
              <a:gd name="connsiteY363" fmla="*/ 17232 h 34464"/>
              <a:gd name="connsiteX364" fmla="*/ 105028 w 6424234"/>
              <a:gd name="connsiteY364" fmla="*/ 0 h 34464"/>
              <a:gd name="connsiteX365" fmla="*/ 17504 w 6424234"/>
              <a:gd name="connsiteY365" fmla="*/ 0 h 34464"/>
              <a:gd name="connsiteX366" fmla="*/ 35009 w 6424234"/>
              <a:gd name="connsiteY366" fmla="*/ 17232 h 34464"/>
              <a:gd name="connsiteX367" fmla="*/ 17504 w 6424234"/>
              <a:gd name="connsiteY367" fmla="*/ 34464 h 34464"/>
              <a:gd name="connsiteX368" fmla="*/ 0 w 6424234"/>
              <a:gd name="connsiteY368" fmla="*/ 17232 h 34464"/>
              <a:gd name="connsiteX369" fmla="*/ 17504 w 6424234"/>
              <a:gd name="connsiteY369" fmla="*/ 0 h 344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Lst>
            <a:rect l="l" t="t" r="r" b="b"/>
            <a:pathLst>
              <a:path w="6424234" h="34464">
                <a:moveTo>
                  <a:pt x="6406729" y="0"/>
                </a:moveTo>
                <a:cubicBezTo>
                  <a:pt x="6416356" y="0"/>
                  <a:pt x="6424234" y="7720"/>
                  <a:pt x="6424234" y="17232"/>
                </a:cubicBezTo>
                <a:cubicBezTo>
                  <a:pt x="6424234" y="26744"/>
                  <a:pt x="6416356" y="34464"/>
                  <a:pt x="6406729" y="34464"/>
                </a:cubicBezTo>
                <a:cubicBezTo>
                  <a:pt x="6397101" y="34464"/>
                  <a:pt x="6389224" y="26744"/>
                  <a:pt x="6389224" y="17232"/>
                </a:cubicBezTo>
                <a:cubicBezTo>
                  <a:pt x="6389224" y="7720"/>
                  <a:pt x="6397101" y="0"/>
                  <a:pt x="6406729" y="0"/>
                </a:cubicBezTo>
                <a:close/>
                <a:moveTo>
                  <a:pt x="6319206" y="0"/>
                </a:moveTo>
                <a:cubicBezTo>
                  <a:pt x="6328832" y="0"/>
                  <a:pt x="6336710" y="7720"/>
                  <a:pt x="6336710" y="17232"/>
                </a:cubicBezTo>
                <a:cubicBezTo>
                  <a:pt x="6336710" y="26744"/>
                  <a:pt x="6328832" y="34464"/>
                  <a:pt x="6319206" y="34464"/>
                </a:cubicBezTo>
                <a:cubicBezTo>
                  <a:pt x="6309577" y="34464"/>
                  <a:pt x="6301701" y="26744"/>
                  <a:pt x="6301701" y="17232"/>
                </a:cubicBezTo>
                <a:cubicBezTo>
                  <a:pt x="6301701" y="7720"/>
                  <a:pt x="6309577" y="0"/>
                  <a:pt x="6319206" y="0"/>
                </a:cubicBezTo>
                <a:close/>
                <a:moveTo>
                  <a:pt x="6231682" y="0"/>
                </a:moveTo>
                <a:cubicBezTo>
                  <a:pt x="6241308" y="0"/>
                  <a:pt x="6249187" y="7720"/>
                  <a:pt x="6249187" y="17232"/>
                </a:cubicBezTo>
                <a:cubicBezTo>
                  <a:pt x="6249187" y="26744"/>
                  <a:pt x="6241308" y="34464"/>
                  <a:pt x="6231682" y="34464"/>
                </a:cubicBezTo>
                <a:cubicBezTo>
                  <a:pt x="6222053" y="34464"/>
                  <a:pt x="6214177" y="26744"/>
                  <a:pt x="6214177" y="17232"/>
                </a:cubicBezTo>
                <a:cubicBezTo>
                  <a:pt x="6214177" y="7720"/>
                  <a:pt x="6222053" y="0"/>
                  <a:pt x="6231682" y="0"/>
                </a:cubicBezTo>
                <a:close/>
                <a:moveTo>
                  <a:pt x="6144158" y="0"/>
                </a:moveTo>
                <a:cubicBezTo>
                  <a:pt x="6153785" y="0"/>
                  <a:pt x="6161663" y="7720"/>
                  <a:pt x="6161663" y="17232"/>
                </a:cubicBezTo>
                <a:cubicBezTo>
                  <a:pt x="6161663" y="26744"/>
                  <a:pt x="6153785" y="34464"/>
                  <a:pt x="6144158" y="34464"/>
                </a:cubicBezTo>
                <a:cubicBezTo>
                  <a:pt x="6134530" y="34464"/>
                  <a:pt x="6126654" y="26744"/>
                  <a:pt x="6126654" y="17232"/>
                </a:cubicBezTo>
                <a:cubicBezTo>
                  <a:pt x="6126654" y="7720"/>
                  <a:pt x="6134530" y="0"/>
                  <a:pt x="6144158" y="0"/>
                </a:cubicBezTo>
                <a:close/>
                <a:moveTo>
                  <a:pt x="6056635" y="0"/>
                </a:moveTo>
                <a:cubicBezTo>
                  <a:pt x="6066261" y="0"/>
                  <a:pt x="6074139" y="7720"/>
                  <a:pt x="6074139" y="17232"/>
                </a:cubicBezTo>
                <a:cubicBezTo>
                  <a:pt x="6074139" y="26744"/>
                  <a:pt x="6066261" y="34464"/>
                  <a:pt x="6056635" y="34464"/>
                </a:cubicBezTo>
                <a:cubicBezTo>
                  <a:pt x="6047006" y="34464"/>
                  <a:pt x="6039130" y="26744"/>
                  <a:pt x="6039130" y="17232"/>
                </a:cubicBezTo>
                <a:cubicBezTo>
                  <a:pt x="6039130" y="7720"/>
                  <a:pt x="6047006" y="0"/>
                  <a:pt x="6056635" y="0"/>
                </a:cubicBezTo>
                <a:close/>
                <a:moveTo>
                  <a:pt x="5969111" y="0"/>
                </a:moveTo>
                <a:cubicBezTo>
                  <a:pt x="5978737" y="0"/>
                  <a:pt x="5986616" y="7720"/>
                  <a:pt x="5986616" y="17232"/>
                </a:cubicBezTo>
                <a:cubicBezTo>
                  <a:pt x="5986616" y="26744"/>
                  <a:pt x="5978737" y="34464"/>
                  <a:pt x="5969111" y="34464"/>
                </a:cubicBezTo>
                <a:cubicBezTo>
                  <a:pt x="5959483" y="34464"/>
                  <a:pt x="5951606" y="26744"/>
                  <a:pt x="5951606" y="17232"/>
                </a:cubicBezTo>
                <a:cubicBezTo>
                  <a:pt x="5951606" y="7720"/>
                  <a:pt x="5959483" y="0"/>
                  <a:pt x="5969111" y="0"/>
                </a:cubicBezTo>
                <a:close/>
                <a:moveTo>
                  <a:pt x="5881587" y="0"/>
                </a:moveTo>
                <a:cubicBezTo>
                  <a:pt x="5891214" y="0"/>
                  <a:pt x="5899092" y="7720"/>
                  <a:pt x="5899092" y="17232"/>
                </a:cubicBezTo>
                <a:cubicBezTo>
                  <a:pt x="5899092" y="26744"/>
                  <a:pt x="5891214" y="34464"/>
                  <a:pt x="5881587" y="34464"/>
                </a:cubicBezTo>
                <a:cubicBezTo>
                  <a:pt x="5871959" y="34464"/>
                  <a:pt x="5864083" y="26744"/>
                  <a:pt x="5864083" y="17232"/>
                </a:cubicBezTo>
                <a:cubicBezTo>
                  <a:pt x="5864083" y="7720"/>
                  <a:pt x="5871959" y="0"/>
                  <a:pt x="5881587" y="0"/>
                </a:cubicBezTo>
                <a:close/>
                <a:moveTo>
                  <a:pt x="5794064" y="0"/>
                </a:moveTo>
                <a:cubicBezTo>
                  <a:pt x="5803690" y="0"/>
                  <a:pt x="5811569" y="7720"/>
                  <a:pt x="5811569" y="17232"/>
                </a:cubicBezTo>
                <a:cubicBezTo>
                  <a:pt x="5811569" y="26744"/>
                  <a:pt x="5803690" y="34464"/>
                  <a:pt x="5794064" y="34464"/>
                </a:cubicBezTo>
                <a:cubicBezTo>
                  <a:pt x="5784435" y="34464"/>
                  <a:pt x="5776559" y="26744"/>
                  <a:pt x="5776559" y="17232"/>
                </a:cubicBezTo>
                <a:cubicBezTo>
                  <a:pt x="5776559" y="7720"/>
                  <a:pt x="5784435" y="0"/>
                  <a:pt x="5794064" y="0"/>
                </a:cubicBezTo>
                <a:close/>
                <a:moveTo>
                  <a:pt x="5706540" y="0"/>
                </a:moveTo>
                <a:cubicBezTo>
                  <a:pt x="5716167" y="0"/>
                  <a:pt x="5724045" y="7720"/>
                  <a:pt x="5724045" y="17232"/>
                </a:cubicBezTo>
                <a:cubicBezTo>
                  <a:pt x="5724045" y="26744"/>
                  <a:pt x="5716167" y="34464"/>
                  <a:pt x="5706540" y="34464"/>
                </a:cubicBezTo>
                <a:cubicBezTo>
                  <a:pt x="5696912" y="34464"/>
                  <a:pt x="5689035" y="26744"/>
                  <a:pt x="5689035" y="17232"/>
                </a:cubicBezTo>
                <a:cubicBezTo>
                  <a:pt x="5689035" y="7720"/>
                  <a:pt x="5696912" y="0"/>
                  <a:pt x="5706540" y="0"/>
                </a:cubicBezTo>
                <a:close/>
                <a:moveTo>
                  <a:pt x="5619017" y="0"/>
                </a:moveTo>
                <a:cubicBezTo>
                  <a:pt x="5628643" y="0"/>
                  <a:pt x="5636521" y="7720"/>
                  <a:pt x="5636521" y="17232"/>
                </a:cubicBezTo>
                <a:cubicBezTo>
                  <a:pt x="5636521" y="26744"/>
                  <a:pt x="5628643" y="34464"/>
                  <a:pt x="5619017" y="34464"/>
                </a:cubicBezTo>
                <a:cubicBezTo>
                  <a:pt x="5609388" y="34464"/>
                  <a:pt x="5601512" y="26744"/>
                  <a:pt x="5601512" y="17232"/>
                </a:cubicBezTo>
                <a:cubicBezTo>
                  <a:pt x="5601512" y="7720"/>
                  <a:pt x="5609388" y="0"/>
                  <a:pt x="5619017" y="0"/>
                </a:cubicBezTo>
                <a:close/>
                <a:moveTo>
                  <a:pt x="5531493" y="0"/>
                </a:moveTo>
                <a:cubicBezTo>
                  <a:pt x="5541119" y="0"/>
                  <a:pt x="5548998" y="7720"/>
                  <a:pt x="5548998" y="17232"/>
                </a:cubicBezTo>
                <a:cubicBezTo>
                  <a:pt x="5548998" y="26744"/>
                  <a:pt x="5541119" y="34464"/>
                  <a:pt x="5531493" y="34464"/>
                </a:cubicBezTo>
                <a:cubicBezTo>
                  <a:pt x="5521864" y="34464"/>
                  <a:pt x="5513988" y="26744"/>
                  <a:pt x="5513988" y="17232"/>
                </a:cubicBezTo>
                <a:cubicBezTo>
                  <a:pt x="5513988" y="7720"/>
                  <a:pt x="5521864" y="0"/>
                  <a:pt x="5531493" y="0"/>
                </a:cubicBezTo>
                <a:close/>
                <a:moveTo>
                  <a:pt x="5443969" y="0"/>
                </a:moveTo>
                <a:cubicBezTo>
                  <a:pt x="5453596" y="0"/>
                  <a:pt x="5461474" y="7720"/>
                  <a:pt x="5461474" y="17232"/>
                </a:cubicBezTo>
                <a:cubicBezTo>
                  <a:pt x="5461474" y="26744"/>
                  <a:pt x="5453596" y="34464"/>
                  <a:pt x="5443969" y="34464"/>
                </a:cubicBezTo>
                <a:cubicBezTo>
                  <a:pt x="5434341" y="34464"/>
                  <a:pt x="5426465" y="26744"/>
                  <a:pt x="5426465" y="17232"/>
                </a:cubicBezTo>
                <a:cubicBezTo>
                  <a:pt x="5426465" y="7720"/>
                  <a:pt x="5434341" y="0"/>
                  <a:pt x="5443969" y="0"/>
                </a:cubicBezTo>
                <a:close/>
                <a:moveTo>
                  <a:pt x="5356446" y="0"/>
                </a:moveTo>
                <a:cubicBezTo>
                  <a:pt x="5366072" y="0"/>
                  <a:pt x="5373950" y="7720"/>
                  <a:pt x="5373950" y="17232"/>
                </a:cubicBezTo>
                <a:cubicBezTo>
                  <a:pt x="5373950" y="26744"/>
                  <a:pt x="5366072" y="34464"/>
                  <a:pt x="5356446" y="34464"/>
                </a:cubicBezTo>
                <a:cubicBezTo>
                  <a:pt x="5346817" y="34464"/>
                  <a:pt x="5338941" y="26744"/>
                  <a:pt x="5338941" y="17232"/>
                </a:cubicBezTo>
                <a:cubicBezTo>
                  <a:pt x="5338941" y="7720"/>
                  <a:pt x="5346817" y="0"/>
                  <a:pt x="5356446" y="0"/>
                </a:cubicBezTo>
                <a:close/>
                <a:moveTo>
                  <a:pt x="5268922" y="0"/>
                </a:moveTo>
                <a:cubicBezTo>
                  <a:pt x="5278548" y="0"/>
                  <a:pt x="5286428" y="7720"/>
                  <a:pt x="5286428" y="17232"/>
                </a:cubicBezTo>
                <a:cubicBezTo>
                  <a:pt x="5286428" y="26744"/>
                  <a:pt x="5278548" y="34464"/>
                  <a:pt x="5268922" y="34464"/>
                </a:cubicBezTo>
                <a:cubicBezTo>
                  <a:pt x="5259294" y="34464"/>
                  <a:pt x="5251417" y="26744"/>
                  <a:pt x="5251417" y="17232"/>
                </a:cubicBezTo>
                <a:cubicBezTo>
                  <a:pt x="5251417" y="7720"/>
                  <a:pt x="5259294" y="0"/>
                  <a:pt x="5268922" y="0"/>
                </a:cubicBezTo>
                <a:close/>
                <a:moveTo>
                  <a:pt x="5181399" y="0"/>
                </a:moveTo>
                <a:cubicBezTo>
                  <a:pt x="5191026" y="0"/>
                  <a:pt x="5198903" y="7720"/>
                  <a:pt x="5198903" y="17232"/>
                </a:cubicBezTo>
                <a:cubicBezTo>
                  <a:pt x="5198903" y="26744"/>
                  <a:pt x="5191026" y="34464"/>
                  <a:pt x="5181399" y="34464"/>
                </a:cubicBezTo>
                <a:cubicBezTo>
                  <a:pt x="5171771" y="34464"/>
                  <a:pt x="5163895" y="26744"/>
                  <a:pt x="5163895" y="17232"/>
                </a:cubicBezTo>
                <a:cubicBezTo>
                  <a:pt x="5163895" y="7720"/>
                  <a:pt x="5171771" y="0"/>
                  <a:pt x="5181399" y="0"/>
                </a:cubicBezTo>
                <a:close/>
                <a:moveTo>
                  <a:pt x="5093875" y="0"/>
                </a:moveTo>
                <a:cubicBezTo>
                  <a:pt x="5103501" y="0"/>
                  <a:pt x="5111380" y="7720"/>
                  <a:pt x="5111380" y="17232"/>
                </a:cubicBezTo>
                <a:cubicBezTo>
                  <a:pt x="5111380" y="26744"/>
                  <a:pt x="5103501" y="34464"/>
                  <a:pt x="5093875" y="34464"/>
                </a:cubicBezTo>
                <a:cubicBezTo>
                  <a:pt x="5084247" y="34464"/>
                  <a:pt x="5076370" y="26744"/>
                  <a:pt x="5076370" y="17232"/>
                </a:cubicBezTo>
                <a:cubicBezTo>
                  <a:pt x="5076370" y="7720"/>
                  <a:pt x="5084247" y="0"/>
                  <a:pt x="5093875" y="0"/>
                </a:cubicBezTo>
                <a:close/>
                <a:moveTo>
                  <a:pt x="5006351" y="0"/>
                </a:moveTo>
                <a:cubicBezTo>
                  <a:pt x="5015978" y="0"/>
                  <a:pt x="5023856" y="7720"/>
                  <a:pt x="5023856" y="17232"/>
                </a:cubicBezTo>
                <a:cubicBezTo>
                  <a:pt x="5023856" y="26744"/>
                  <a:pt x="5015978" y="34464"/>
                  <a:pt x="5006351" y="34464"/>
                </a:cubicBezTo>
                <a:cubicBezTo>
                  <a:pt x="4996723" y="34464"/>
                  <a:pt x="4988846" y="26744"/>
                  <a:pt x="4988846" y="17232"/>
                </a:cubicBezTo>
                <a:cubicBezTo>
                  <a:pt x="4988846" y="7720"/>
                  <a:pt x="4996723" y="0"/>
                  <a:pt x="5006351" y="0"/>
                </a:cubicBezTo>
                <a:close/>
                <a:moveTo>
                  <a:pt x="4918828" y="0"/>
                </a:moveTo>
                <a:cubicBezTo>
                  <a:pt x="4928454" y="0"/>
                  <a:pt x="4936332" y="7720"/>
                  <a:pt x="4936332" y="17232"/>
                </a:cubicBezTo>
                <a:cubicBezTo>
                  <a:pt x="4936332" y="26744"/>
                  <a:pt x="4928454" y="34464"/>
                  <a:pt x="4918828" y="34464"/>
                </a:cubicBezTo>
                <a:cubicBezTo>
                  <a:pt x="4909199" y="34464"/>
                  <a:pt x="4901323" y="26744"/>
                  <a:pt x="4901323" y="17232"/>
                </a:cubicBezTo>
                <a:cubicBezTo>
                  <a:pt x="4901323" y="7720"/>
                  <a:pt x="4909199" y="0"/>
                  <a:pt x="4918828" y="0"/>
                </a:cubicBezTo>
                <a:close/>
                <a:moveTo>
                  <a:pt x="4831305" y="0"/>
                </a:moveTo>
                <a:cubicBezTo>
                  <a:pt x="4840930" y="0"/>
                  <a:pt x="4848809" y="7720"/>
                  <a:pt x="4848809" y="17232"/>
                </a:cubicBezTo>
                <a:cubicBezTo>
                  <a:pt x="4848809" y="26744"/>
                  <a:pt x="4840930" y="34464"/>
                  <a:pt x="4831305" y="34464"/>
                </a:cubicBezTo>
                <a:cubicBezTo>
                  <a:pt x="4821676" y="34464"/>
                  <a:pt x="4813799" y="26744"/>
                  <a:pt x="4813799" y="17232"/>
                </a:cubicBezTo>
                <a:cubicBezTo>
                  <a:pt x="4813799" y="7720"/>
                  <a:pt x="4821676" y="0"/>
                  <a:pt x="4831305" y="0"/>
                </a:cubicBezTo>
                <a:close/>
                <a:moveTo>
                  <a:pt x="4743780" y="0"/>
                </a:moveTo>
                <a:cubicBezTo>
                  <a:pt x="4753408" y="0"/>
                  <a:pt x="4761285" y="7720"/>
                  <a:pt x="4761285" y="17232"/>
                </a:cubicBezTo>
                <a:cubicBezTo>
                  <a:pt x="4761285" y="26744"/>
                  <a:pt x="4753408" y="34464"/>
                  <a:pt x="4743780" y="34464"/>
                </a:cubicBezTo>
                <a:cubicBezTo>
                  <a:pt x="4734153" y="34464"/>
                  <a:pt x="4726276" y="26744"/>
                  <a:pt x="4726276" y="17232"/>
                </a:cubicBezTo>
                <a:cubicBezTo>
                  <a:pt x="4726276" y="7720"/>
                  <a:pt x="4734153" y="0"/>
                  <a:pt x="4743780" y="0"/>
                </a:cubicBezTo>
                <a:close/>
                <a:moveTo>
                  <a:pt x="4656257" y="0"/>
                </a:moveTo>
                <a:cubicBezTo>
                  <a:pt x="4665883" y="0"/>
                  <a:pt x="4673761" y="7720"/>
                  <a:pt x="4673761" y="17232"/>
                </a:cubicBezTo>
                <a:cubicBezTo>
                  <a:pt x="4673761" y="26744"/>
                  <a:pt x="4665883" y="34464"/>
                  <a:pt x="4656257" y="34464"/>
                </a:cubicBezTo>
                <a:cubicBezTo>
                  <a:pt x="4646628" y="34464"/>
                  <a:pt x="4638752" y="26744"/>
                  <a:pt x="4638752" y="17232"/>
                </a:cubicBezTo>
                <a:cubicBezTo>
                  <a:pt x="4638752" y="7720"/>
                  <a:pt x="4646628" y="0"/>
                  <a:pt x="4656257" y="0"/>
                </a:cubicBezTo>
                <a:close/>
                <a:moveTo>
                  <a:pt x="4568733" y="0"/>
                </a:moveTo>
                <a:cubicBezTo>
                  <a:pt x="4578359" y="0"/>
                  <a:pt x="4586238" y="7720"/>
                  <a:pt x="4586238" y="17232"/>
                </a:cubicBezTo>
                <a:cubicBezTo>
                  <a:pt x="4586238" y="26744"/>
                  <a:pt x="4578359" y="34464"/>
                  <a:pt x="4568733" y="34464"/>
                </a:cubicBezTo>
                <a:cubicBezTo>
                  <a:pt x="4559105" y="34464"/>
                  <a:pt x="4551228" y="26744"/>
                  <a:pt x="4551228" y="17232"/>
                </a:cubicBezTo>
                <a:cubicBezTo>
                  <a:pt x="4551228" y="7720"/>
                  <a:pt x="4559105" y="0"/>
                  <a:pt x="4568733" y="0"/>
                </a:cubicBezTo>
                <a:close/>
                <a:moveTo>
                  <a:pt x="4481209" y="0"/>
                </a:moveTo>
                <a:cubicBezTo>
                  <a:pt x="4490836" y="0"/>
                  <a:pt x="4498715" y="7720"/>
                  <a:pt x="4498715" y="17232"/>
                </a:cubicBezTo>
                <a:cubicBezTo>
                  <a:pt x="4498715" y="26744"/>
                  <a:pt x="4490836" y="34464"/>
                  <a:pt x="4481209" y="34464"/>
                </a:cubicBezTo>
                <a:cubicBezTo>
                  <a:pt x="4471581" y="34464"/>
                  <a:pt x="4463705" y="26744"/>
                  <a:pt x="4463705" y="17232"/>
                </a:cubicBezTo>
                <a:cubicBezTo>
                  <a:pt x="4463705" y="7720"/>
                  <a:pt x="4471581" y="0"/>
                  <a:pt x="4481209" y="0"/>
                </a:cubicBezTo>
                <a:close/>
                <a:moveTo>
                  <a:pt x="4393686" y="0"/>
                </a:moveTo>
                <a:cubicBezTo>
                  <a:pt x="4403312" y="0"/>
                  <a:pt x="4411191" y="7720"/>
                  <a:pt x="4411191" y="17232"/>
                </a:cubicBezTo>
                <a:cubicBezTo>
                  <a:pt x="4411191" y="26744"/>
                  <a:pt x="4403312" y="34464"/>
                  <a:pt x="4393686" y="34464"/>
                </a:cubicBezTo>
                <a:cubicBezTo>
                  <a:pt x="4384057" y="34464"/>
                  <a:pt x="4376182" y="26744"/>
                  <a:pt x="4376182" y="17232"/>
                </a:cubicBezTo>
                <a:cubicBezTo>
                  <a:pt x="4376182" y="7720"/>
                  <a:pt x="4384057" y="0"/>
                  <a:pt x="4393686" y="0"/>
                </a:cubicBezTo>
                <a:close/>
                <a:moveTo>
                  <a:pt x="4306162" y="0"/>
                </a:moveTo>
                <a:cubicBezTo>
                  <a:pt x="4315789" y="0"/>
                  <a:pt x="4323667" y="7720"/>
                  <a:pt x="4323667" y="17232"/>
                </a:cubicBezTo>
                <a:cubicBezTo>
                  <a:pt x="4323667" y="26744"/>
                  <a:pt x="4315789" y="34464"/>
                  <a:pt x="4306162" y="34464"/>
                </a:cubicBezTo>
                <a:cubicBezTo>
                  <a:pt x="4296534" y="34464"/>
                  <a:pt x="4288658" y="26744"/>
                  <a:pt x="4288658" y="17232"/>
                </a:cubicBezTo>
                <a:cubicBezTo>
                  <a:pt x="4288658" y="7720"/>
                  <a:pt x="4296534" y="0"/>
                  <a:pt x="4306162" y="0"/>
                </a:cubicBezTo>
                <a:close/>
                <a:moveTo>
                  <a:pt x="4218639" y="0"/>
                </a:moveTo>
                <a:cubicBezTo>
                  <a:pt x="4228265" y="0"/>
                  <a:pt x="4236143" y="7720"/>
                  <a:pt x="4236143" y="17232"/>
                </a:cubicBezTo>
                <a:cubicBezTo>
                  <a:pt x="4236143" y="26744"/>
                  <a:pt x="4228265" y="34464"/>
                  <a:pt x="4218639" y="34464"/>
                </a:cubicBezTo>
                <a:cubicBezTo>
                  <a:pt x="4209010" y="34464"/>
                  <a:pt x="4201134" y="26744"/>
                  <a:pt x="4201134" y="17232"/>
                </a:cubicBezTo>
                <a:cubicBezTo>
                  <a:pt x="4201134" y="7720"/>
                  <a:pt x="4209010" y="0"/>
                  <a:pt x="4218639" y="0"/>
                </a:cubicBezTo>
                <a:close/>
                <a:moveTo>
                  <a:pt x="4131115" y="0"/>
                </a:moveTo>
                <a:cubicBezTo>
                  <a:pt x="4140741" y="0"/>
                  <a:pt x="4148621" y="7720"/>
                  <a:pt x="4148621" y="17232"/>
                </a:cubicBezTo>
                <a:cubicBezTo>
                  <a:pt x="4148621" y="26744"/>
                  <a:pt x="4140741" y="34464"/>
                  <a:pt x="4131115" y="34464"/>
                </a:cubicBezTo>
                <a:cubicBezTo>
                  <a:pt x="4121486" y="34464"/>
                  <a:pt x="4113610" y="26744"/>
                  <a:pt x="4113610" y="17232"/>
                </a:cubicBezTo>
                <a:cubicBezTo>
                  <a:pt x="4113610" y="7720"/>
                  <a:pt x="4121486" y="0"/>
                  <a:pt x="4131115" y="0"/>
                </a:cubicBezTo>
                <a:close/>
                <a:moveTo>
                  <a:pt x="4043592" y="0"/>
                </a:moveTo>
                <a:cubicBezTo>
                  <a:pt x="4053218" y="0"/>
                  <a:pt x="4061096" y="7720"/>
                  <a:pt x="4061096" y="17232"/>
                </a:cubicBezTo>
                <a:cubicBezTo>
                  <a:pt x="4061096" y="26744"/>
                  <a:pt x="4053218" y="34464"/>
                  <a:pt x="4043592" y="34464"/>
                </a:cubicBezTo>
                <a:cubicBezTo>
                  <a:pt x="4033963" y="34464"/>
                  <a:pt x="4026088" y="26744"/>
                  <a:pt x="4026088" y="17232"/>
                </a:cubicBezTo>
                <a:cubicBezTo>
                  <a:pt x="4026088" y="7720"/>
                  <a:pt x="4033963" y="0"/>
                  <a:pt x="4043592" y="0"/>
                </a:cubicBezTo>
                <a:close/>
                <a:moveTo>
                  <a:pt x="3956068" y="0"/>
                </a:moveTo>
                <a:cubicBezTo>
                  <a:pt x="3965695" y="0"/>
                  <a:pt x="3973572" y="7720"/>
                  <a:pt x="3973572" y="17232"/>
                </a:cubicBezTo>
                <a:cubicBezTo>
                  <a:pt x="3973572" y="26744"/>
                  <a:pt x="3965695" y="34464"/>
                  <a:pt x="3956068" y="34464"/>
                </a:cubicBezTo>
                <a:cubicBezTo>
                  <a:pt x="3946440" y="34464"/>
                  <a:pt x="3938564" y="26744"/>
                  <a:pt x="3938564" y="17232"/>
                </a:cubicBezTo>
                <a:cubicBezTo>
                  <a:pt x="3938564" y="7720"/>
                  <a:pt x="3946440" y="0"/>
                  <a:pt x="3956068" y="0"/>
                </a:cubicBezTo>
                <a:close/>
                <a:moveTo>
                  <a:pt x="3868544" y="0"/>
                </a:moveTo>
                <a:cubicBezTo>
                  <a:pt x="3878170" y="0"/>
                  <a:pt x="3886049" y="7720"/>
                  <a:pt x="3886049" y="17232"/>
                </a:cubicBezTo>
                <a:cubicBezTo>
                  <a:pt x="3886049" y="26744"/>
                  <a:pt x="3878170" y="34464"/>
                  <a:pt x="3868544" y="34464"/>
                </a:cubicBezTo>
                <a:cubicBezTo>
                  <a:pt x="3858916" y="34464"/>
                  <a:pt x="3851039" y="26744"/>
                  <a:pt x="3851039" y="17232"/>
                </a:cubicBezTo>
                <a:cubicBezTo>
                  <a:pt x="3851039" y="7720"/>
                  <a:pt x="3858916" y="0"/>
                  <a:pt x="3868544" y="0"/>
                </a:cubicBezTo>
                <a:close/>
                <a:moveTo>
                  <a:pt x="3781020" y="0"/>
                </a:moveTo>
                <a:cubicBezTo>
                  <a:pt x="3790647" y="0"/>
                  <a:pt x="3798525" y="7720"/>
                  <a:pt x="3798525" y="17232"/>
                </a:cubicBezTo>
                <a:cubicBezTo>
                  <a:pt x="3798525" y="26744"/>
                  <a:pt x="3790647" y="34464"/>
                  <a:pt x="3781020" y="34464"/>
                </a:cubicBezTo>
                <a:cubicBezTo>
                  <a:pt x="3771392" y="34464"/>
                  <a:pt x="3763516" y="26744"/>
                  <a:pt x="3763516" y="17232"/>
                </a:cubicBezTo>
                <a:cubicBezTo>
                  <a:pt x="3763516" y="7720"/>
                  <a:pt x="3771392" y="0"/>
                  <a:pt x="3781020" y="0"/>
                </a:cubicBezTo>
                <a:close/>
                <a:moveTo>
                  <a:pt x="3693498" y="0"/>
                </a:moveTo>
                <a:cubicBezTo>
                  <a:pt x="3703123" y="0"/>
                  <a:pt x="3711002" y="7720"/>
                  <a:pt x="3711002" y="17232"/>
                </a:cubicBezTo>
                <a:cubicBezTo>
                  <a:pt x="3711002" y="26744"/>
                  <a:pt x="3703123" y="34464"/>
                  <a:pt x="3693498" y="34464"/>
                </a:cubicBezTo>
                <a:cubicBezTo>
                  <a:pt x="3683868" y="34464"/>
                  <a:pt x="3675992" y="26744"/>
                  <a:pt x="3675992" y="17232"/>
                </a:cubicBezTo>
                <a:cubicBezTo>
                  <a:pt x="3675992" y="7720"/>
                  <a:pt x="3683868" y="0"/>
                  <a:pt x="3693498" y="0"/>
                </a:cubicBezTo>
                <a:close/>
                <a:moveTo>
                  <a:pt x="3605974" y="0"/>
                </a:moveTo>
                <a:cubicBezTo>
                  <a:pt x="3615599" y="0"/>
                  <a:pt x="3623478" y="7720"/>
                  <a:pt x="3623478" y="17232"/>
                </a:cubicBezTo>
                <a:cubicBezTo>
                  <a:pt x="3623478" y="26744"/>
                  <a:pt x="3615599" y="34464"/>
                  <a:pt x="3605974" y="34464"/>
                </a:cubicBezTo>
                <a:cubicBezTo>
                  <a:pt x="3596346" y="34464"/>
                  <a:pt x="3588468" y="26744"/>
                  <a:pt x="3588468" y="17232"/>
                </a:cubicBezTo>
                <a:cubicBezTo>
                  <a:pt x="3588468" y="7720"/>
                  <a:pt x="3596346" y="0"/>
                  <a:pt x="3605974" y="0"/>
                </a:cubicBezTo>
                <a:close/>
                <a:moveTo>
                  <a:pt x="3518449" y="0"/>
                </a:moveTo>
                <a:cubicBezTo>
                  <a:pt x="3528076" y="0"/>
                  <a:pt x="3535954" y="7720"/>
                  <a:pt x="3535954" y="17232"/>
                </a:cubicBezTo>
                <a:cubicBezTo>
                  <a:pt x="3535954" y="26744"/>
                  <a:pt x="3528076" y="34464"/>
                  <a:pt x="3518449" y="34464"/>
                </a:cubicBezTo>
                <a:cubicBezTo>
                  <a:pt x="3508821" y="34464"/>
                  <a:pt x="3500945" y="26744"/>
                  <a:pt x="3500945" y="17232"/>
                </a:cubicBezTo>
                <a:cubicBezTo>
                  <a:pt x="3500945" y="7720"/>
                  <a:pt x="3508821" y="0"/>
                  <a:pt x="3518449" y="0"/>
                </a:cubicBezTo>
                <a:close/>
                <a:moveTo>
                  <a:pt x="3430926" y="0"/>
                </a:moveTo>
                <a:cubicBezTo>
                  <a:pt x="3440552" y="0"/>
                  <a:pt x="3448431" y="7720"/>
                  <a:pt x="3448431" y="17232"/>
                </a:cubicBezTo>
                <a:cubicBezTo>
                  <a:pt x="3448431" y="26744"/>
                  <a:pt x="3440552" y="34464"/>
                  <a:pt x="3430926" y="34464"/>
                </a:cubicBezTo>
                <a:cubicBezTo>
                  <a:pt x="3421297" y="34464"/>
                  <a:pt x="3413421" y="26744"/>
                  <a:pt x="3413421" y="17232"/>
                </a:cubicBezTo>
                <a:cubicBezTo>
                  <a:pt x="3413421" y="7720"/>
                  <a:pt x="3421297" y="0"/>
                  <a:pt x="3430926" y="0"/>
                </a:cubicBezTo>
                <a:close/>
                <a:moveTo>
                  <a:pt x="3343402" y="0"/>
                </a:moveTo>
                <a:cubicBezTo>
                  <a:pt x="3353029" y="0"/>
                  <a:pt x="3360908" y="7720"/>
                  <a:pt x="3360908" y="17232"/>
                </a:cubicBezTo>
                <a:cubicBezTo>
                  <a:pt x="3360908" y="26744"/>
                  <a:pt x="3353029" y="34464"/>
                  <a:pt x="3343402" y="34464"/>
                </a:cubicBezTo>
                <a:cubicBezTo>
                  <a:pt x="3333774" y="34464"/>
                  <a:pt x="3325898" y="26744"/>
                  <a:pt x="3325898" y="17232"/>
                </a:cubicBezTo>
                <a:cubicBezTo>
                  <a:pt x="3325898" y="7720"/>
                  <a:pt x="3333774" y="0"/>
                  <a:pt x="3343402" y="0"/>
                </a:cubicBezTo>
                <a:close/>
                <a:moveTo>
                  <a:pt x="3255880" y="0"/>
                </a:moveTo>
                <a:cubicBezTo>
                  <a:pt x="3265505" y="0"/>
                  <a:pt x="3273384" y="7720"/>
                  <a:pt x="3273384" y="17232"/>
                </a:cubicBezTo>
                <a:cubicBezTo>
                  <a:pt x="3273384" y="26744"/>
                  <a:pt x="3265505" y="34464"/>
                  <a:pt x="3255880" y="34464"/>
                </a:cubicBezTo>
                <a:cubicBezTo>
                  <a:pt x="3246250" y="34464"/>
                  <a:pt x="3238374" y="26744"/>
                  <a:pt x="3238374" y="17232"/>
                </a:cubicBezTo>
                <a:cubicBezTo>
                  <a:pt x="3238374" y="7720"/>
                  <a:pt x="3246250" y="0"/>
                  <a:pt x="3255880" y="0"/>
                </a:cubicBezTo>
                <a:close/>
                <a:moveTo>
                  <a:pt x="3168355" y="0"/>
                </a:moveTo>
                <a:cubicBezTo>
                  <a:pt x="3177982" y="0"/>
                  <a:pt x="3185860" y="7720"/>
                  <a:pt x="3185860" y="17232"/>
                </a:cubicBezTo>
                <a:cubicBezTo>
                  <a:pt x="3185860" y="26744"/>
                  <a:pt x="3177982" y="34464"/>
                  <a:pt x="3168355" y="34464"/>
                </a:cubicBezTo>
                <a:cubicBezTo>
                  <a:pt x="3158728" y="34464"/>
                  <a:pt x="3150851" y="26744"/>
                  <a:pt x="3150851" y="17232"/>
                </a:cubicBezTo>
                <a:cubicBezTo>
                  <a:pt x="3150851" y="7720"/>
                  <a:pt x="3158728" y="0"/>
                  <a:pt x="3168355" y="0"/>
                </a:cubicBezTo>
                <a:close/>
                <a:moveTo>
                  <a:pt x="3080831" y="0"/>
                </a:moveTo>
                <a:cubicBezTo>
                  <a:pt x="3090458" y="0"/>
                  <a:pt x="3098336" y="7720"/>
                  <a:pt x="3098336" y="17232"/>
                </a:cubicBezTo>
                <a:cubicBezTo>
                  <a:pt x="3098336" y="26744"/>
                  <a:pt x="3090458" y="34464"/>
                  <a:pt x="3080831" y="34464"/>
                </a:cubicBezTo>
                <a:cubicBezTo>
                  <a:pt x="3071203" y="34464"/>
                  <a:pt x="3063327" y="26744"/>
                  <a:pt x="3063327" y="17232"/>
                </a:cubicBezTo>
                <a:cubicBezTo>
                  <a:pt x="3063327" y="7720"/>
                  <a:pt x="3071203" y="0"/>
                  <a:pt x="3080831" y="0"/>
                </a:cubicBezTo>
                <a:close/>
                <a:moveTo>
                  <a:pt x="2993308" y="0"/>
                </a:moveTo>
                <a:cubicBezTo>
                  <a:pt x="3002934" y="0"/>
                  <a:pt x="3010812" y="7720"/>
                  <a:pt x="3010812" y="17232"/>
                </a:cubicBezTo>
                <a:cubicBezTo>
                  <a:pt x="3010812" y="26744"/>
                  <a:pt x="3002934" y="34464"/>
                  <a:pt x="2993308" y="34464"/>
                </a:cubicBezTo>
                <a:cubicBezTo>
                  <a:pt x="2983679" y="34464"/>
                  <a:pt x="2975803" y="26744"/>
                  <a:pt x="2975803" y="17232"/>
                </a:cubicBezTo>
                <a:cubicBezTo>
                  <a:pt x="2975803" y="7720"/>
                  <a:pt x="2983679" y="0"/>
                  <a:pt x="2993308" y="0"/>
                </a:cubicBezTo>
                <a:close/>
                <a:moveTo>
                  <a:pt x="2905784" y="0"/>
                </a:moveTo>
                <a:cubicBezTo>
                  <a:pt x="2915410" y="0"/>
                  <a:pt x="2923290" y="7720"/>
                  <a:pt x="2923290" y="17232"/>
                </a:cubicBezTo>
                <a:cubicBezTo>
                  <a:pt x="2923290" y="26744"/>
                  <a:pt x="2915410" y="34464"/>
                  <a:pt x="2905784" y="34464"/>
                </a:cubicBezTo>
                <a:cubicBezTo>
                  <a:pt x="2896156" y="34464"/>
                  <a:pt x="2888279" y="26744"/>
                  <a:pt x="2888279" y="17232"/>
                </a:cubicBezTo>
                <a:cubicBezTo>
                  <a:pt x="2888279" y="7720"/>
                  <a:pt x="2896156" y="0"/>
                  <a:pt x="2905784" y="0"/>
                </a:cubicBezTo>
                <a:close/>
                <a:moveTo>
                  <a:pt x="2818261" y="0"/>
                </a:moveTo>
                <a:cubicBezTo>
                  <a:pt x="2827888" y="0"/>
                  <a:pt x="2835765" y="7720"/>
                  <a:pt x="2835765" y="17232"/>
                </a:cubicBezTo>
                <a:cubicBezTo>
                  <a:pt x="2835765" y="26744"/>
                  <a:pt x="2827888" y="34464"/>
                  <a:pt x="2818261" y="34464"/>
                </a:cubicBezTo>
                <a:cubicBezTo>
                  <a:pt x="2808632" y="34464"/>
                  <a:pt x="2800757" y="26744"/>
                  <a:pt x="2800757" y="17232"/>
                </a:cubicBezTo>
                <a:cubicBezTo>
                  <a:pt x="2800757" y="7720"/>
                  <a:pt x="2808632" y="0"/>
                  <a:pt x="2818261" y="0"/>
                </a:cubicBezTo>
                <a:close/>
                <a:moveTo>
                  <a:pt x="2730737" y="0"/>
                </a:moveTo>
                <a:cubicBezTo>
                  <a:pt x="2740364" y="0"/>
                  <a:pt x="2748242" y="7720"/>
                  <a:pt x="2748242" y="17232"/>
                </a:cubicBezTo>
                <a:cubicBezTo>
                  <a:pt x="2748242" y="26744"/>
                  <a:pt x="2740364" y="34464"/>
                  <a:pt x="2730737" y="34464"/>
                </a:cubicBezTo>
                <a:cubicBezTo>
                  <a:pt x="2721109" y="34464"/>
                  <a:pt x="2713232" y="26744"/>
                  <a:pt x="2713232" y="17232"/>
                </a:cubicBezTo>
                <a:cubicBezTo>
                  <a:pt x="2713232" y="7720"/>
                  <a:pt x="2721109" y="0"/>
                  <a:pt x="2730737" y="0"/>
                </a:cubicBezTo>
                <a:close/>
                <a:moveTo>
                  <a:pt x="2643213" y="0"/>
                </a:moveTo>
                <a:cubicBezTo>
                  <a:pt x="2652840" y="0"/>
                  <a:pt x="2660718" y="7720"/>
                  <a:pt x="2660718" y="17232"/>
                </a:cubicBezTo>
                <a:cubicBezTo>
                  <a:pt x="2660718" y="26744"/>
                  <a:pt x="2652840" y="34464"/>
                  <a:pt x="2643213" y="34464"/>
                </a:cubicBezTo>
                <a:cubicBezTo>
                  <a:pt x="2633585" y="34464"/>
                  <a:pt x="2625709" y="26744"/>
                  <a:pt x="2625709" y="17232"/>
                </a:cubicBezTo>
                <a:cubicBezTo>
                  <a:pt x="2625709" y="7720"/>
                  <a:pt x="2633585" y="0"/>
                  <a:pt x="2643213" y="0"/>
                </a:cubicBezTo>
                <a:close/>
                <a:moveTo>
                  <a:pt x="2555690" y="0"/>
                </a:moveTo>
                <a:cubicBezTo>
                  <a:pt x="2565316" y="0"/>
                  <a:pt x="2573194" y="7720"/>
                  <a:pt x="2573194" y="17232"/>
                </a:cubicBezTo>
                <a:cubicBezTo>
                  <a:pt x="2573194" y="26744"/>
                  <a:pt x="2565316" y="34464"/>
                  <a:pt x="2555690" y="34464"/>
                </a:cubicBezTo>
                <a:cubicBezTo>
                  <a:pt x="2546061" y="34464"/>
                  <a:pt x="2538185" y="26744"/>
                  <a:pt x="2538185" y="17232"/>
                </a:cubicBezTo>
                <a:cubicBezTo>
                  <a:pt x="2538185" y="7720"/>
                  <a:pt x="2546061" y="0"/>
                  <a:pt x="2555690" y="0"/>
                </a:cubicBezTo>
                <a:close/>
                <a:moveTo>
                  <a:pt x="2468167" y="0"/>
                </a:moveTo>
                <a:cubicBezTo>
                  <a:pt x="2477792" y="0"/>
                  <a:pt x="2485671" y="7720"/>
                  <a:pt x="2485671" y="17232"/>
                </a:cubicBezTo>
                <a:cubicBezTo>
                  <a:pt x="2485671" y="26744"/>
                  <a:pt x="2477792" y="34464"/>
                  <a:pt x="2468167" y="34464"/>
                </a:cubicBezTo>
                <a:cubicBezTo>
                  <a:pt x="2458538" y="34464"/>
                  <a:pt x="2450661" y="26744"/>
                  <a:pt x="2450661" y="17232"/>
                </a:cubicBezTo>
                <a:cubicBezTo>
                  <a:pt x="2450661" y="7720"/>
                  <a:pt x="2458538" y="0"/>
                  <a:pt x="2468167" y="0"/>
                </a:cubicBezTo>
                <a:close/>
                <a:moveTo>
                  <a:pt x="2380642" y="0"/>
                </a:moveTo>
                <a:cubicBezTo>
                  <a:pt x="2390270" y="0"/>
                  <a:pt x="2398147" y="7720"/>
                  <a:pt x="2398147" y="17232"/>
                </a:cubicBezTo>
                <a:cubicBezTo>
                  <a:pt x="2398147" y="26744"/>
                  <a:pt x="2390270" y="34464"/>
                  <a:pt x="2380642" y="34464"/>
                </a:cubicBezTo>
                <a:cubicBezTo>
                  <a:pt x="2371015" y="34464"/>
                  <a:pt x="2363138" y="26744"/>
                  <a:pt x="2363138" y="17232"/>
                </a:cubicBezTo>
                <a:cubicBezTo>
                  <a:pt x="2363138" y="7720"/>
                  <a:pt x="2371015" y="0"/>
                  <a:pt x="2380642" y="0"/>
                </a:cubicBezTo>
                <a:close/>
                <a:moveTo>
                  <a:pt x="2293119" y="0"/>
                </a:moveTo>
                <a:cubicBezTo>
                  <a:pt x="2302745" y="0"/>
                  <a:pt x="2310623" y="7720"/>
                  <a:pt x="2310623" y="17232"/>
                </a:cubicBezTo>
                <a:cubicBezTo>
                  <a:pt x="2310623" y="26744"/>
                  <a:pt x="2302745" y="34464"/>
                  <a:pt x="2293119" y="34464"/>
                </a:cubicBezTo>
                <a:cubicBezTo>
                  <a:pt x="2283490" y="34464"/>
                  <a:pt x="2275614" y="26744"/>
                  <a:pt x="2275614" y="17232"/>
                </a:cubicBezTo>
                <a:cubicBezTo>
                  <a:pt x="2275614" y="7720"/>
                  <a:pt x="2283490" y="0"/>
                  <a:pt x="2293119" y="0"/>
                </a:cubicBezTo>
                <a:close/>
                <a:moveTo>
                  <a:pt x="2205595" y="0"/>
                </a:moveTo>
                <a:cubicBezTo>
                  <a:pt x="2215221" y="0"/>
                  <a:pt x="2223100" y="7720"/>
                  <a:pt x="2223100" y="17232"/>
                </a:cubicBezTo>
                <a:cubicBezTo>
                  <a:pt x="2223100" y="26744"/>
                  <a:pt x="2215221" y="34464"/>
                  <a:pt x="2205595" y="34464"/>
                </a:cubicBezTo>
                <a:cubicBezTo>
                  <a:pt x="2195967" y="34464"/>
                  <a:pt x="2188090" y="26744"/>
                  <a:pt x="2188090" y="17232"/>
                </a:cubicBezTo>
                <a:cubicBezTo>
                  <a:pt x="2188090" y="7720"/>
                  <a:pt x="2195967" y="0"/>
                  <a:pt x="2205595" y="0"/>
                </a:cubicBezTo>
                <a:close/>
                <a:moveTo>
                  <a:pt x="2118073" y="0"/>
                </a:moveTo>
                <a:cubicBezTo>
                  <a:pt x="2127698" y="0"/>
                  <a:pt x="2135577" y="7720"/>
                  <a:pt x="2135577" y="17232"/>
                </a:cubicBezTo>
                <a:cubicBezTo>
                  <a:pt x="2135577" y="26744"/>
                  <a:pt x="2127698" y="34464"/>
                  <a:pt x="2118073" y="34464"/>
                </a:cubicBezTo>
                <a:cubicBezTo>
                  <a:pt x="2108443" y="34464"/>
                  <a:pt x="2100567" y="26744"/>
                  <a:pt x="2100567" y="17232"/>
                </a:cubicBezTo>
                <a:cubicBezTo>
                  <a:pt x="2100567" y="7720"/>
                  <a:pt x="2108443" y="0"/>
                  <a:pt x="2118073" y="0"/>
                </a:cubicBezTo>
                <a:close/>
                <a:moveTo>
                  <a:pt x="2030548" y="0"/>
                </a:moveTo>
                <a:cubicBezTo>
                  <a:pt x="2040174" y="0"/>
                  <a:pt x="2048053" y="7720"/>
                  <a:pt x="2048053" y="17232"/>
                </a:cubicBezTo>
                <a:cubicBezTo>
                  <a:pt x="2048053" y="26744"/>
                  <a:pt x="2040174" y="34464"/>
                  <a:pt x="2030548" y="34464"/>
                </a:cubicBezTo>
                <a:cubicBezTo>
                  <a:pt x="2020919" y="34464"/>
                  <a:pt x="2013044" y="26744"/>
                  <a:pt x="2013044" y="17232"/>
                </a:cubicBezTo>
                <a:cubicBezTo>
                  <a:pt x="2013044" y="7720"/>
                  <a:pt x="2020919" y="0"/>
                  <a:pt x="2030548" y="0"/>
                </a:cubicBezTo>
                <a:close/>
                <a:moveTo>
                  <a:pt x="1943024" y="0"/>
                </a:moveTo>
                <a:cubicBezTo>
                  <a:pt x="1952651" y="0"/>
                  <a:pt x="1960529" y="7720"/>
                  <a:pt x="1960529" y="17232"/>
                </a:cubicBezTo>
                <a:cubicBezTo>
                  <a:pt x="1960529" y="26744"/>
                  <a:pt x="1952651" y="34464"/>
                  <a:pt x="1943024" y="34464"/>
                </a:cubicBezTo>
                <a:cubicBezTo>
                  <a:pt x="1933396" y="34464"/>
                  <a:pt x="1925520" y="26744"/>
                  <a:pt x="1925520" y="17232"/>
                </a:cubicBezTo>
                <a:cubicBezTo>
                  <a:pt x="1925520" y="7720"/>
                  <a:pt x="1933396" y="0"/>
                  <a:pt x="1943024" y="0"/>
                </a:cubicBezTo>
                <a:close/>
                <a:moveTo>
                  <a:pt x="1855501" y="0"/>
                </a:moveTo>
                <a:cubicBezTo>
                  <a:pt x="1865127" y="0"/>
                  <a:pt x="1873005" y="7720"/>
                  <a:pt x="1873005" y="17232"/>
                </a:cubicBezTo>
                <a:cubicBezTo>
                  <a:pt x="1873005" y="26744"/>
                  <a:pt x="1865127" y="34464"/>
                  <a:pt x="1855501" y="34464"/>
                </a:cubicBezTo>
                <a:cubicBezTo>
                  <a:pt x="1845872" y="34464"/>
                  <a:pt x="1837996" y="26744"/>
                  <a:pt x="1837996" y="17232"/>
                </a:cubicBezTo>
                <a:cubicBezTo>
                  <a:pt x="1837996" y="7720"/>
                  <a:pt x="1845872" y="0"/>
                  <a:pt x="1855501" y="0"/>
                </a:cubicBezTo>
                <a:close/>
                <a:moveTo>
                  <a:pt x="1767977" y="0"/>
                </a:moveTo>
                <a:cubicBezTo>
                  <a:pt x="1777603" y="0"/>
                  <a:pt x="1785483" y="7720"/>
                  <a:pt x="1785483" y="17232"/>
                </a:cubicBezTo>
                <a:cubicBezTo>
                  <a:pt x="1785483" y="26744"/>
                  <a:pt x="1777603" y="34464"/>
                  <a:pt x="1767977" y="34464"/>
                </a:cubicBezTo>
                <a:cubicBezTo>
                  <a:pt x="1758348" y="34464"/>
                  <a:pt x="1750472" y="26744"/>
                  <a:pt x="1750472" y="17232"/>
                </a:cubicBezTo>
                <a:cubicBezTo>
                  <a:pt x="1750472" y="7720"/>
                  <a:pt x="1758348" y="0"/>
                  <a:pt x="1767977" y="0"/>
                </a:cubicBezTo>
                <a:close/>
                <a:moveTo>
                  <a:pt x="1680454" y="0"/>
                </a:moveTo>
                <a:cubicBezTo>
                  <a:pt x="1690080" y="0"/>
                  <a:pt x="1697958" y="7720"/>
                  <a:pt x="1697958" y="17232"/>
                </a:cubicBezTo>
                <a:cubicBezTo>
                  <a:pt x="1697958" y="26744"/>
                  <a:pt x="1690080" y="34464"/>
                  <a:pt x="1680454" y="34464"/>
                </a:cubicBezTo>
                <a:cubicBezTo>
                  <a:pt x="1670825" y="34464"/>
                  <a:pt x="1662949" y="26744"/>
                  <a:pt x="1662949" y="17232"/>
                </a:cubicBezTo>
                <a:cubicBezTo>
                  <a:pt x="1662949" y="7720"/>
                  <a:pt x="1670825" y="0"/>
                  <a:pt x="1680454" y="0"/>
                </a:cubicBezTo>
                <a:close/>
                <a:moveTo>
                  <a:pt x="1592930" y="0"/>
                </a:moveTo>
                <a:cubicBezTo>
                  <a:pt x="1602557" y="0"/>
                  <a:pt x="1610434" y="7720"/>
                  <a:pt x="1610434" y="17232"/>
                </a:cubicBezTo>
                <a:cubicBezTo>
                  <a:pt x="1610434" y="26744"/>
                  <a:pt x="1602557" y="34464"/>
                  <a:pt x="1592930" y="34464"/>
                </a:cubicBezTo>
                <a:cubicBezTo>
                  <a:pt x="1583302" y="34464"/>
                  <a:pt x="1575426" y="26744"/>
                  <a:pt x="1575426" y="17232"/>
                </a:cubicBezTo>
                <a:cubicBezTo>
                  <a:pt x="1575426" y="7720"/>
                  <a:pt x="1583302" y="0"/>
                  <a:pt x="1592930" y="0"/>
                </a:cubicBezTo>
                <a:close/>
                <a:moveTo>
                  <a:pt x="1505406" y="0"/>
                </a:moveTo>
                <a:cubicBezTo>
                  <a:pt x="1515032" y="0"/>
                  <a:pt x="1522911" y="7720"/>
                  <a:pt x="1522911" y="17232"/>
                </a:cubicBezTo>
                <a:cubicBezTo>
                  <a:pt x="1522911" y="26744"/>
                  <a:pt x="1515032" y="34464"/>
                  <a:pt x="1505406" y="34464"/>
                </a:cubicBezTo>
                <a:cubicBezTo>
                  <a:pt x="1495778" y="34464"/>
                  <a:pt x="1487901" y="26744"/>
                  <a:pt x="1487901" y="17232"/>
                </a:cubicBezTo>
                <a:cubicBezTo>
                  <a:pt x="1487901" y="7720"/>
                  <a:pt x="1495778" y="0"/>
                  <a:pt x="1505406" y="0"/>
                </a:cubicBezTo>
                <a:close/>
                <a:moveTo>
                  <a:pt x="1417882" y="0"/>
                </a:moveTo>
                <a:cubicBezTo>
                  <a:pt x="1427509" y="0"/>
                  <a:pt x="1435387" y="7720"/>
                  <a:pt x="1435387" y="17232"/>
                </a:cubicBezTo>
                <a:cubicBezTo>
                  <a:pt x="1435387" y="26744"/>
                  <a:pt x="1427509" y="34464"/>
                  <a:pt x="1417882" y="34464"/>
                </a:cubicBezTo>
                <a:cubicBezTo>
                  <a:pt x="1408254" y="34464"/>
                  <a:pt x="1400378" y="26744"/>
                  <a:pt x="1400378" y="17232"/>
                </a:cubicBezTo>
                <a:cubicBezTo>
                  <a:pt x="1400378" y="7720"/>
                  <a:pt x="1408254" y="0"/>
                  <a:pt x="1417882" y="0"/>
                </a:cubicBezTo>
                <a:close/>
                <a:moveTo>
                  <a:pt x="1330359" y="0"/>
                </a:moveTo>
                <a:cubicBezTo>
                  <a:pt x="1339985" y="0"/>
                  <a:pt x="1347865" y="7720"/>
                  <a:pt x="1347865" y="17232"/>
                </a:cubicBezTo>
                <a:cubicBezTo>
                  <a:pt x="1347865" y="26744"/>
                  <a:pt x="1339985" y="34464"/>
                  <a:pt x="1330359" y="34464"/>
                </a:cubicBezTo>
                <a:cubicBezTo>
                  <a:pt x="1320730" y="34464"/>
                  <a:pt x="1312854" y="26744"/>
                  <a:pt x="1312854" y="17232"/>
                </a:cubicBezTo>
                <a:cubicBezTo>
                  <a:pt x="1312854" y="7720"/>
                  <a:pt x="1320730" y="0"/>
                  <a:pt x="1330359" y="0"/>
                </a:cubicBezTo>
                <a:close/>
                <a:moveTo>
                  <a:pt x="1242835" y="0"/>
                </a:moveTo>
                <a:cubicBezTo>
                  <a:pt x="1252462" y="0"/>
                  <a:pt x="1260340" y="7720"/>
                  <a:pt x="1260340" y="17232"/>
                </a:cubicBezTo>
                <a:cubicBezTo>
                  <a:pt x="1260340" y="26744"/>
                  <a:pt x="1252462" y="34464"/>
                  <a:pt x="1242835" y="34464"/>
                </a:cubicBezTo>
                <a:cubicBezTo>
                  <a:pt x="1233207" y="34464"/>
                  <a:pt x="1225330" y="26744"/>
                  <a:pt x="1225330" y="17232"/>
                </a:cubicBezTo>
                <a:cubicBezTo>
                  <a:pt x="1225330" y="7720"/>
                  <a:pt x="1233207" y="0"/>
                  <a:pt x="1242835" y="0"/>
                </a:cubicBezTo>
                <a:close/>
                <a:moveTo>
                  <a:pt x="1155312" y="0"/>
                </a:moveTo>
                <a:cubicBezTo>
                  <a:pt x="1164938" y="0"/>
                  <a:pt x="1172816" y="7720"/>
                  <a:pt x="1172816" y="17232"/>
                </a:cubicBezTo>
                <a:cubicBezTo>
                  <a:pt x="1172816" y="26744"/>
                  <a:pt x="1164938" y="34464"/>
                  <a:pt x="1155312" y="34464"/>
                </a:cubicBezTo>
                <a:cubicBezTo>
                  <a:pt x="1145683" y="34464"/>
                  <a:pt x="1137807" y="26744"/>
                  <a:pt x="1137807" y="17232"/>
                </a:cubicBezTo>
                <a:cubicBezTo>
                  <a:pt x="1137807" y="7720"/>
                  <a:pt x="1145683" y="0"/>
                  <a:pt x="1155312" y="0"/>
                </a:cubicBezTo>
                <a:close/>
                <a:moveTo>
                  <a:pt x="1067788" y="0"/>
                </a:moveTo>
                <a:cubicBezTo>
                  <a:pt x="1077414" y="0"/>
                  <a:pt x="1085293" y="7720"/>
                  <a:pt x="1085293" y="17232"/>
                </a:cubicBezTo>
                <a:cubicBezTo>
                  <a:pt x="1085293" y="26744"/>
                  <a:pt x="1077414" y="34464"/>
                  <a:pt x="1067788" y="34464"/>
                </a:cubicBezTo>
                <a:cubicBezTo>
                  <a:pt x="1058160" y="34464"/>
                  <a:pt x="1050283" y="26744"/>
                  <a:pt x="1050283" y="17232"/>
                </a:cubicBezTo>
                <a:cubicBezTo>
                  <a:pt x="1050283" y="7720"/>
                  <a:pt x="1058160" y="0"/>
                  <a:pt x="1067788" y="0"/>
                </a:cubicBezTo>
                <a:close/>
                <a:moveTo>
                  <a:pt x="980264" y="0"/>
                </a:moveTo>
                <a:cubicBezTo>
                  <a:pt x="989891" y="0"/>
                  <a:pt x="997769" y="7720"/>
                  <a:pt x="997769" y="17232"/>
                </a:cubicBezTo>
                <a:cubicBezTo>
                  <a:pt x="997769" y="26744"/>
                  <a:pt x="989891" y="34464"/>
                  <a:pt x="980264" y="34464"/>
                </a:cubicBezTo>
                <a:cubicBezTo>
                  <a:pt x="970636" y="34464"/>
                  <a:pt x="962760" y="26744"/>
                  <a:pt x="962760" y="17232"/>
                </a:cubicBezTo>
                <a:cubicBezTo>
                  <a:pt x="962760" y="7720"/>
                  <a:pt x="970636" y="0"/>
                  <a:pt x="980264" y="0"/>
                </a:cubicBezTo>
                <a:close/>
                <a:moveTo>
                  <a:pt x="892741" y="0"/>
                </a:moveTo>
                <a:cubicBezTo>
                  <a:pt x="902367" y="0"/>
                  <a:pt x="910245" y="7720"/>
                  <a:pt x="910245" y="17232"/>
                </a:cubicBezTo>
                <a:cubicBezTo>
                  <a:pt x="910245" y="26744"/>
                  <a:pt x="902367" y="34464"/>
                  <a:pt x="892741" y="34464"/>
                </a:cubicBezTo>
                <a:cubicBezTo>
                  <a:pt x="883112" y="34464"/>
                  <a:pt x="875236" y="26744"/>
                  <a:pt x="875236" y="17232"/>
                </a:cubicBezTo>
                <a:cubicBezTo>
                  <a:pt x="875236" y="7720"/>
                  <a:pt x="883112" y="0"/>
                  <a:pt x="892741" y="0"/>
                </a:cubicBezTo>
                <a:close/>
                <a:moveTo>
                  <a:pt x="805217" y="0"/>
                </a:moveTo>
                <a:cubicBezTo>
                  <a:pt x="814843" y="0"/>
                  <a:pt x="822722" y="7720"/>
                  <a:pt x="822722" y="17232"/>
                </a:cubicBezTo>
                <a:cubicBezTo>
                  <a:pt x="822722" y="26744"/>
                  <a:pt x="814843" y="34464"/>
                  <a:pt x="805217" y="34464"/>
                </a:cubicBezTo>
                <a:cubicBezTo>
                  <a:pt x="795589" y="34464"/>
                  <a:pt x="787712" y="26744"/>
                  <a:pt x="787712" y="17232"/>
                </a:cubicBezTo>
                <a:cubicBezTo>
                  <a:pt x="787712" y="7720"/>
                  <a:pt x="795589" y="0"/>
                  <a:pt x="805217" y="0"/>
                </a:cubicBezTo>
                <a:close/>
                <a:moveTo>
                  <a:pt x="717693" y="0"/>
                </a:moveTo>
                <a:cubicBezTo>
                  <a:pt x="727320" y="0"/>
                  <a:pt x="735198" y="7720"/>
                  <a:pt x="735198" y="17232"/>
                </a:cubicBezTo>
                <a:cubicBezTo>
                  <a:pt x="735198" y="26744"/>
                  <a:pt x="727320" y="34464"/>
                  <a:pt x="717693" y="34464"/>
                </a:cubicBezTo>
                <a:cubicBezTo>
                  <a:pt x="708065" y="34464"/>
                  <a:pt x="700189" y="26744"/>
                  <a:pt x="700189" y="17232"/>
                </a:cubicBezTo>
                <a:cubicBezTo>
                  <a:pt x="700189" y="7720"/>
                  <a:pt x="708065" y="0"/>
                  <a:pt x="717693" y="0"/>
                </a:cubicBezTo>
                <a:close/>
                <a:moveTo>
                  <a:pt x="630170" y="0"/>
                </a:moveTo>
                <a:cubicBezTo>
                  <a:pt x="639796" y="0"/>
                  <a:pt x="647675" y="7720"/>
                  <a:pt x="647675" y="17232"/>
                </a:cubicBezTo>
                <a:cubicBezTo>
                  <a:pt x="647675" y="26744"/>
                  <a:pt x="639796" y="34464"/>
                  <a:pt x="630170" y="34464"/>
                </a:cubicBezTo>
                <a:cubicBezTo>
                  <a:pt x="620541" y="34464"/>
                  <a:pt x="612665" y="26744"/>
                  <a:pt x="612665" y="17232"/>
                </a:cubicBezTo>
                <a:cubicBezTo>
                  <a:pt x="612665" y="7720"/>
                  <a:pt x="620541" y="0"/>
                  <a:pt x="630170" y="0"/>
                </a:cubicBezTo>
                <a:close/>
                <a:moveTo>
                  <a:pt x="542646" y="0"/>
                </a:moveTo>
                <a:cubicBezTo>
                  <a:pt x="552273" y="0"/>
                  <a:pt x="560151" y="7720"/>
                  <a:pt x="560151" y="17232"/>
                </a:cubicBezTo>
                <a:cubicBezTo>
                  <a:pt x="560151" y="26744"/>
                  <a:pt x="552273" y="34464"/>
                  <a:pt x="542646" y="34464"/>
                </a:cubicBezTo>
                <a:cubicBezTo>
                  <a:pt x="533018" y="34464"/>
                  <a:pt x="525141" y="26744"/>
                  <a:pt x="525141" y="17232"/>
                </a:cubicBezTo>
                <a:cubicBezTo>
                  <a:pt x="525141" y="7720"/>
                  <a:pt x="533018" y="0"/>
                  <a:pt x="542646" y="0"/>
                </a:cubicBezTo>
                <a:close/>
                <a:moveTo>
                  <a:pt x="455123" y="0"/>
                </a:moveTo>
                <a:cubicBezTo>
                  <a:pt x="464749" y="0"/>
                  <a:pt x="472627" y="7720"/>
                  <a:pt x="472627" y="17232"/>
                </a:cubicBezTo>
                <a:cubicBezTo>
                  <a:pt x="472627" y="26744"/>
                  <a:pt x="464749" y="34464"/>
                  <a:pt x="455123" y="34464"/>
                </a:cubicBezTo>
                <a:cubicBezTo>
                  <a:pt x="445494" y="34464"/>
                  <a:pt x="437618" y="26744"/>
                  <a:pt x="437618" y="17232"/>
                </a:cubicBezTo>
                <a:cubicBezTo>
                  <a:pt x="437618" y="7720"/>
                  <a:pt x="445494" y="0"/>
                  <a:pt x="455123" y="0"/>
                </a:cubicBezTo>
                <a:close/>
                <a:moveTo>
                  <a:pt x="367599" y="0"/>
                </a:moveTo>
                <a:cubicBezTo>
                  <a:pt x="377225" y="0"/>
                  <a:pt x="385104" y="7720"/>
                  <a:pt x="385104" y="17232"/>
                </a:cubicBezTo>
                <a:cubicBezTo>
                  <a:pt x="385104" y="26744"/>
                  <a:pt x="377225" y="34464"/>
                  <a:pt x="367599" y="34464"/>
                </a:cubicBezTo>
                <a:cubicBezTo>
                  <a:pt x="357970" y="34464"/>
                  <a:pt x="350094" y="26744"/>
                  <a:pt x="350094" y="17232"/>
                </a:cubicBezTo>
                <a:cubicBezTo>
                  <a:pt x="350094" y="7720"/>
                  <a:pt x="357970" y="0"/>
                  <a:pt x="367599" y="0"/>
                </a:cubicBezTo>
                <a:close/>
                <a:moveTo>
                  <a:pt x="280075" y="0"/>
                </a:moveTo>
                <a:cubicBezTo>
                  <a:pt x="289702" y="0"/>
                  <a:pt x="297580" y="7720"/>
                  <a:pt x="297580" y="17232"/>
                </a:cubicBezTo>
                <a:cubicBezTo>
                  <a:pt x="297580" y="26744"/>
                  <a:pt x="289702" y="34464"/>
                  <a:pt x="280075" y="34464"/>
                </a:cubicBezTo>
                <a:cubicBezTo>
                  <a:pt x="270447" y="34464"/>
                  <a:pt x="262571" y="26744"/>
                  <a:pt x="262571" y="17232"/>
                </a:cubicBezTo>
                <a:cubicBezTo>
                  <a:pt x="262571" y="7720"/>
                  <a:pt x="270447" y="0"/>
                  <a:pt x="280075" y="0"/>
                </a:cubicBezTo>
                <a:close/>
                <a:moveTo>
                  <a:pt x="192552" y="0"/>
                </a:moveTo>
                <a:cubicBezTo>
                  <a:pt x="202178" y="0"/>
                  <a:pt x="210056" y="7720"/>
                  <a:pt x="210056" y="17232"/>
                </a:cubicBezTo>
                <a:cubicBezTo>
                  <a:pt x="210056" y="26744"/>
                  <a:pt x="202178" y="34464"/>
                  <a:pt x="192552" y="34464"/>
                </a:cubicBezTo>
                <a:cubicBezTo>
                  <a:pt x="182923" y="34464"/>
                  <a:pt x="175047" y="26744"/>
                  <a:pt x="175047" y="17232"/>
                </a:cubicBezTo>
                <a:cubicBezTo>
                  <a:pt x="175047" y="7720"/>
                  <a:pt x="182923" y="0"/>
                  <a:pt x="192552" y="0"/>
                </a:cubicBezTo>
                <a:close/>
                <a:moveTo>
                  <a:pt x="105028" y="0"/>
                </a:moveTo>
                <a:cubicBezTo>
                  <a:pt x="114654" y="0"/>
                  <a:pt x="122533" y="7720"/>
                  <a:pt x="122533" y="17232"/>
                </a:cubicBezTo>
                <a:cubicBezTo>
                  <a:pt x="122533" y="26744"/>
                  <a:pt x="114654" y="34464"/>
                  <a:pt x="105028" y="34464"/>
                </a:cubicBezTo>
                <a:cubicBezTo>
                  <a:pt x="95400" y="34464"/>
                  <a:pt x="87523" y="26744"/>
                  <a:pt x="87523" y="17232"/>
                </a:cubicBezTo>
                <a:cubicBezTo>
                  <a:pt x="87523" y="7720"/>
                  <a:pt x="95400" y="0"/>
                  <a:pt x="105028" y="0"/>
                </a:cubicBezTo>
                <a:close/>
                <a:moveTo>
                  <a:pt x="17504" y="0"/>
                </a:moveTo>
                <a:cubicBezTo>
                  <a:pt x="27131" y="0"/>
                  <a:pt x="35009" y="7720"/>
                  <a:pt x="35009" y="17232"/>
                </a:cubicBezTo>
                <a:cubicBezTo>
                  <a:pt x="35009" y="26744"/>
                  <a:pt x="27131" y="34464"/>
                  <a:pt x="17504" y="34464"/>
                </a:cubicBezTo>
                <a:cubicBezTo>
                  <a:pt x="7876" y="34464"/>
                  <a:pt x="0" y="26744"/>
                  <a:pt x="0" y="17232"/>
                </a:cubicBezTo>
                <a:cubicBezTo>
                  <a:pt x="0" y="7720"/>
                  <a:pt x="7876" y="0"/>
                  <a:pt x="17504" y="0"/>
                </a:cubicBezTo>
                <a:close/>
              </a:path>
            </a:pathLst>
          </a:custGeom>
          <a:solidFill>
            <a:schemeClr val="bg2">
              <a:lumMod val="90000"/>
            </a:schemeClr>
          </a:solidFill>
          <a:ln w="17498" cap="flat">
            <a:noFill/>
            <a:prstDash val="solid"/>
            <a:miter/>
          </a:ln>
        </p:spPr>
        <p:txBody>
          <a:bodyPr rtlCol="0" anchor="ctr"/>
          <a:lstStyle/>
          <a:p>
            <a:endParaRPr lang="ja-JP" altLang="en-US"/>
          </a:p>
        </p:txBody>
      </p:sp>
      <p:sp>
        <p:nvSpPr>
          <p:cNvPr id="118" name="テキスト ボックス 117">
            <a:extLst>
              <a:ext uri="{FF2B5EF4-FFF2-40B4-BE49-F238E27FC236}">
                <a16:creationId xmlns:a16="http://schemas.microsoft.com/office/drawing/2014/main" id="{8AAE980A-DCA2-AAF1-57BF-8F7E9DBC1C8A}"/>
              </a:ext>
            </a:extLst>
          </p:cNvPr>
          <p:cNvSpPr txBox="1"/>
          <p:nvPr/>
        </p:nvSpPr>
        <p:spPr>
          <a:xfrm>
            <a:off x="11002512" y="8021162"/>
            <a:ext cx="318998" cy="215444"/>
          </a:xfrm>
          <a:prstGeom prst="rect">
            <a:avLst/>
          </a:prstGeom>
          <a:noFill/>
        </p:spPr>
        <p:txBody>
          <a:bodyPr wrap="none" lIns="0" tIns="0" rIns="0" bIns="0" rtlCol="0">
            <a:spAutoFit/>
          </a:bodyPr>
          <a:lstStyle/>
          <a:p>
            <a:pPr algn="l"/>
            <a:r>
              <a:rPr kumimoji="1" lang="en-US" altLang="ja-JP" sz="1400" spc="100" dirty="0">
                <a:latin typeface="+mn-ea"/>
              </a:rPr>
              <a:t>※1</a:t>
            </a:r>
            <a:endParaRPr kumimoji="1" lang="ja-JP" altLang="en-US" sz="1400" spc="100" dirty="0">
              <a:latin typeface="+mn-ea"/>
            </a:endParaRPr>
          </a:p>
        </p:txBody>
      </p:sp>
      <p:sp>
        <p:nvSpPr>
          <p:cNvPr id="6" name="スライド番号プレースホルダー 5">
            <a:extLst>
              <a:ext uri="{FF2B5EF4-FFF2-40B4-BE49-F238E27FC236}">
                <a16:creationId xmlns:a16="http://schemas.microsoft.com/office/drawing/2014/main" id="{90651B48-46FA-A265-5A72-FF442C9474C3}"/>
              </a:ext>
            </a:extLst>
          </p:cNvPr>
          <p:cNvSpPr>
            <a:spLocks noGrp="1"/>
          </p:cNvSpPr>
          <p:nvPr>
            <p:ph type="sldNum" sz="quarter" idx="11"/>
          </p:nvPr>
        </p:nvSpPr>
        <p:spPr>
          <a:xfrm>
            <a:off x="17695001" y="9786651"/>
            <a:ext cx="327013" cy="307777"/>
          </a:xfrm>
        </p:spPr>
        <p:txBody>
          <a:bodyPr/>
          <a:lstStyle/>
          <a:p>
            <a:r>
              <a:rPr lang="en-US" altLang="ja-JP"/>
              <a:t>39</a:t>
            </a:r>
            <a:endParaRPr lang="ja-JP" altLang="en-US" dirty="0"/>
          </a:p>
        </p:txBody>
      </p:sp>
    </p:spTree>
    <p:extLst>
      <p:ext uri="{BB962C8B-B14F-4D97-AF65-F5344CB8AC3E}">
        <p14:creationId xmlns:p14="http://schemas.microsoft.com/office/powerpoint/2010/main" val="213025684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タイトル 5">
            <a:extLst>
              <a:ext uri="{FF2B5EF4-FFF2-40B4-BE49-F238E27FC236}">
                <a16:creationId xmlns:a16="http://schemas.microsoft.com/office/drawing/2014/main" id="{0C948BF7-D4A7-98C0-F3D6-08AD85EC330A}"/>
              </a:ext>
            </a:extLst>
          </p:cNvPr>
          <p:cNvSpPr>
            <a:spLocks noGrp="1"/>
          </p:cNvSpPr>
          <p:nvPr>
            <p:ph type="title"/>
          </p:nvPr>
        </p:nvSpPr>
        <p:spPr/>
        <p:txBody>
          <a:bodyPr/>
          <a:lstStyle/>
          <a:p>
            <a:r>
              <a:rPr lang="ja-JP" altLang="en-US" dirty="0"/>
              <a:t>コンテンツの構成</a:t>
            </a:r>
          </a:p>
        </p:txBody>
      </p:sp>
      <p:sp>
        <p:nvSpPr>
          <p:cNvPr id="3" name="四角形: 角を丸くする 2">
            <a:extLst>
              <a:ext uri="{FF2B5EF4-FFF2-40B4-BE49-F238E27FC236}">
                <a16:creationId xmlns:a16="http://schemas.microsoft.com/office/drawing/2014/main" id="{BA8C85EF-9E54-5B0C-DCDF-8E84EE7766E5}"/>
              </a:ext>
            </a:extLst>
          </p:cNvPr>
          <p:cNvSpPr/>
          <p:nvPr/>
        </p:nvSpPr>
        <p:spPr>
          <a:xfrm>
            <a:off x="891741" y="2176641"/>
            <a:ext cx="5217657" cy="727500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テキスト ボックス 3">
            <a:extLst>
              <a:ext uri="{FF2B5EF4-FFF2-40B4-BE49-F238E27FC236}">
                <a16:creationId xmlns:a16="http://schemas.microsoft.com/office/drawing/2014/main" id="{7C48948D-056F-868F-162D-E7BCBBB0229A}"/>
              </a:ext>
            </a:extLst>
          </p:cNvPr>
          <p:cNvSpPr txBox="1"/>
          <p:nvPr/>
        </p:nvSpPr>
        <p:spPr>
          <a:xfrm>
            <a:off x="1486395" y="6818478"/>
            <a:ext cx="4028347" cy="1290481"/>
          </a:xfrm>
          <a:prstGeom prst="rect">
            <a:avLst/>
          </a:prstGeom>
          <a:noFill/>
        </p:spPr>
        <p:txBody>
          <a:bodyPr wrap="none" lIns="0" tIns="0" rIns="0" bIns="0" rtlCol="0">
            <a:spAutoFit/>
          </a:bodyPr>
          <a:lstStyle/>
          <a:p>
            <a:pPr algn="ctr">
              <a:lnSpc>
                <a:spcPct val="120000"/>
              </a:lnSpc>
            </a:pPr>
            <a:r>
              <a:rPr kumimoji="1" lang="ja-JP" altLang="en-US" sz="3600" spc="100" dirty="0">
                <a:solidFill>
                  <a:schemeClr val="accent3"/>
                </a:solidFill>
                <a:latin typeface="+mj-ea"/>
                <a:ea typeface="+mj-ea"/>
              </a:rPr>
              <a:t>最低限</a:t>
            </a:r>
            <a:br>
              <a:rPr kumimoji="1" lang="en-US" altLang="ja-JP" sz="3600" spc="100" dirty="0">
                <a:solidFill>
                  <a:schemeClr val="accent3"/>
                </a:solidFill>
                <a:latin typeface="+mj-ea"/>
                <a:ea typeface="+mj-ea"/>
              </a:rPr>
            </a:br>
            <a:r>
              <a:rPr kumimoji="1" lang="ja-JP" altLang="en-US" sz="3600" spc="100" dirty="0">
                <a:solidFill>
                  <a:schemeClr val="accent3"/>
                </a:solidFill>
                <a:latin typeface="+mj-ea"/>
                <a:ea typeface="+mj-ea"/>
              </a:rPr>
              <a:t>これだけ読めば</a:t>
            </a:r>
            <a:r>
              <a:rPr kumimoji="1" lang="en-US" altLang="ja-JP" sz="3600" spc="100" dirty="0">
                <a:solidFill>
                  <a:schemeClr val="accent3"/>
                </a:solidFill>
                <a:latin typeface="+mj-ea"/>
                <a:ea typeface="+mj-ea"/>
              </a:rPr>
              <a:t>OK</a:t>
            </a:r>
            <a:endParaRPr kumimoji="1" lang="ja-JP" altLang="en-US" sz="3600" spc="100" dirty="0">
              <a:solidFill>
                <a:schemeClr val="accent3"/>
              </a:solidFill>
              <a:latin typeface="+mj-ea"/>
              <a:ea typeface="+mj-ea"/>
            </a:endParaRPr>
          </a:p>
        </p:txBody>
      </p:sp>
      <p:sp>
        <p:nvSpPr>
          <p:cNvPr id="5" name="四角形: 角を丸くする 4">
            <a:extLst>
              <a:ext uri="{FF2B5EF4-FFF2-40B4-BE49-F238E27FC236}">
                <a16:creationId xmlns:a16="http://schemas.microsoft.com/office/drawing/2014/main" id="{40DBDF15-2AA4-2661-7FFC-4264CF212011}"/>
              </a:ext>
            </a:extLst>
          </p:cNvPr>
          <p:cNvSpPr/>
          <p:nvPr/>
        </p:nvSpPr>
        <p:spPr>
          <a:xfrm>
            <a:off x="6535172" y="2176641"/>
            <a:ext cx="5217657" cy="727500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7" name="四角形: 角を丸くする 6">
            <a:extLst>
              <a:ext uri="{FF2B5EF4-FFF2-40B4-BE49-F238E27FC236}">
                <a16:creationId xmlns:a16="http://schemas.microsoft.com/office/drawing/2014/main" id="{3DA60DF7-1D87-44F0-EAF2-2A4E01234A4A}"/>
              </a:ext>
            </a:extLst>
          </p:cNvPr>
          <p:cNvSpPr/>
          <p:nvPr/>
        </p:nvSpPr>
        <p:spPr>
          <a:xfrm>
            <a:off x="12178602" y="2176641"/>
            <a:ext cx="5217657" cy="727500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テキスト ボックス 10">
            <a:extLst>
              <a:ext uri="{FF2B5EF4-FFF2-40B4-BE49-F238E27FC236}">
                <a16:creationId xmlns:a16="http://schemas.microsoft.com/office/drawing/2014/main" id="{07A19AD1-DD6F-86BB-86AF-6C9964C5AA58}"/>
              </a:ext>
            </a:extLst>
          </p:cNvPr>
          <p:cNvSpPr txBox="1"/>
          <p:nvPr/>
        </p:nvSpPr>
        <p:spPr>
          <a:xfrm>
            <a:off x="7246048" y="6818478"/>
            <a:ext cx="3795911" cy="1290481"/>
          </a:xfrm>
          <a:prstGeom prst="rect">
            <a:avLst/>
          </a:prstGeom>
          <a:noFill/>
        </p:spPr>
        <p:txBody>
          <a:bodyPr wrap="none" lIns="0" tIns="0" rIns="0" bIns="0" rtlCol="0">
            <a:spAutoFit/>
          </a:bodyPr>
          <a:lstStyle/>
          <a:p>
            <a:pPr algn="ctr">
              <a:lnSpc>
                <a:spcPct val="120000"/>
              </a:lnSpc>
            </a:pPr>
            <a:r>
              <a:rPr lang="ja-JP" altLang="en-US" sz="3600" spc="100" dirty="0">
                <a:latin typeface="+mj-ea"/>
                <a:ea typeface="+mj-ea"/>
              </a:rPr>
              <a:t>具体例を知りたい</a:t>
            </a:r>
            <a:br>
              <a:rPr lang="en-US" altLang="ja-JP" sz="3600" spc="100" dirty="0">
                <a:latin typeface="+mj-ea"/>
                <a:ea typeface="+mj-ea"/>
              </a:rPr>
            </a:br>
            <a:r>
              <a:rPr lang="ja-JP" altLang="en-US" sz="3600" spc="100" dirty="0">
                <a:latin typeface="+mj-ea"/>
                <a:ea typeface="+mj-ea"/>
              </a:rPr>
              <a:t>ときに活用</a:t>
            </a:r>
            <a:endParaRPr kumimoji="1" lang="ja-JP" altLang="en-US" sz="3600" spc="100" dirty="0">
              <a:latin typeface="+mj-ea"/>
              <a:ea typeface="+mj-ea"/>
            </a:endParaRPr>
          </a:p>
        </p:txBody>
      </p:sp>
      <p:grpSp>
        <p:nvGrpSpPr>
          <p:cNvPr id="14" name="グループ化 13">
            <a:extLst>
              <a:ext uri="{FF2B5EF4-FFF2-40B4-BE49-F238E27FC236}">
                <a16:creationId xmlns:a16="http://schemas.microsoft.com/office/drawing/2014/main" id="{4DB605B5-ED68-C192-535D-EE762F626BCF}"/>
              </a:ext>
            </a:extLst>
          </p:cNvPr>
          <p:cNvGrpSpPr/>
          <p:nvPr/>
        </p:nvGrpSpPr>
        <p:grpSpPr>
          <a:xfrm>
            <a:off x="12543226" y="6818478"/>
            <a:ext cx="4488408" cy="1893481"/>
            <a:chOff x="12543226" y="7119426"/>
            <a:chExt cx="4488408" cy="1893481"/>
          </a:xfrm>
        </p:grpSpPr>
        <p:sp>
          <p:nvSpPr>
            <p:cNvPr id="12" name="テキスト ボックス 11">
              <a:extLst>
                <a:ext uri="{FF2B5EF4-FFF2-40B4-BE49-F238E27FC236}">
                  <a16:creationId xmlns:a16="http://schemas.microsoft.com/office/drawing/2014/main" id="{34937CE6-DF8A-01C6-D079-8A8F48C060FD}"/>
                </a:ext>
              </a:extLst>
            </p:cNvPr>
            <p:cNvSpPr txBox="1"/>
            <p:nvPr/>
          </p:nvSpPr>
          <p:spPr>
            <a:xfrm>
              <a:off x="12652232" y="7119426"/>
              <a:ext cx="4270400" cy="1290481"/>
            </a:xfrm>
            <a:prstGeom prst="rect">
              <a:avLst/>
            </a:prstGeom>
            <a:noFill/>
          </p:spPr>
          <p:txBody>
            <a:bodyPr wrap="none" lIns="0" tIns="0" rIns="0" bIns="0" rtlCol="0">
              <a:spAutoFit/>
            </a:bodyPr>
            <a:lstStyle/>
            <a:p>
              <a:pPr algn="ctr">
                <a:lnSpc>
                  <a:spcPct val="120000"/>
                </a:lnSpc>
              </a:pPr>
              <a:r>
                <a:rPr kumimoji="1" lang="ja-JP" altLang="en-US" sz="3600" spc="100" dirty="0">
                  <a:latin typeface="+mj-ea"/>
                  <a:ea typeface="+mj-ea"/>
                </a:rPr>
                <a:t>理解度を確認したい</a:t>
              </a:r>
              <a:br>
                <a:rPr kumimoji="1" lang="en-US" altLang="ja-JP" sz="3600" spc="100" dirty="0">
                  <a:latin typeface="+mj-ea"/>
                  <a:ea typeface="+mj-ea"/>
                </a:rPr>
              </a:br>
              <a:r>
                <a:rPr kumimoji="1" lang="ja-JP" altLang="en-US" sz="3600" spc="100" dirty="0">
                  <a:latin typeface="+mj-ea"/>
                  <a:ea typeface="+mj-ea"/>
                </a:rPr>
                <a:t>ときに活用</a:t>
              </a:r>
            </a:p>
          </p:txBody>
        </p:sp>
        <p:sp>
          <p:nvSpPr>
            <p:cNvPr id="13" name="テキスト ボックス 12">
              <a:extLst>
                <a:ext uri="{FF2B5EF4-FFF2-40B4-BE49-F238E27FC236}">
                  <a16:creationId xmlns:a16="http://schemas.microsoft.com/office/drawing/2014/main" id="{51C27683-DD66-52F2-E7CD-401BE2E97C7E}"/>
                </a:ext>
              </a:extLst>
            </p:cNvPr>
            <p:cNvSpPr txBox="1"/>
            <p:nvPr/>
          </p:nvSpPr>
          <p:spPr>
            <a:xfrm>
              <a:off x="12543226" y="8595805"/>
              <a:ext cx="4488408" cy="417102"/>
            </a:xfrm>
            <a:prstGeom prst="rect">
              <a:avLst/>
            </a:prstGeom>
            <a:noFill/>
          </p:spPr>
          <p:txBody>
            <a:bodyPr wrap="none" lIns="0" tIns="0" rIns="0" bIns="0" rtlCol="0">
              <a:spAutoFit/>
            </a:bodyPr>
            <a:lstStyle/>
            <a:p>
              <a:pPr algn="ctr">
                <a:lnSpc>
                  <a:spcPct val="120000"/>
                </a:lnSpc>
              </a:pPr>
              <a:r>
                <a:rPr kumimoji="1" lang="ja-JP" altLang="en-US" sz="2400" spc="100" dirty="0">
                  <a:latin typeface="+mj-ea"/>
                  <a:ea typeface="+mj-ea"/>
                </a:rPr>
                <a:t>（章ごとに基礎・応用各１問）</a:t>
              </a:r>
              <a:endParaRPr kumimoji="1" lang="ja-JP" altLang="en-US" sz="3600" spc="100" dirty="0">
                <a:latin typeface="+mj-ea"/>
                <a:ea typeface="+mj-ea"/>
              </a:endParaRPr>
            </a:p>
          </p:txBody>
        </p:sp>
      </p:grpSp>
      <mc:AlternateContent xmlns:mc="http://schemas.openxmlformats.org/markup-compatibility/2006" xmlns:pslz="http://schemas.microsoft.com/office/powerpoint/2016/slidezoom">
        <mc:Choice Requires="pslz">
          <p:graphicFrame>
            <p:nvGraphicFramePr>
              <p:cNvPr id="16" name="スライド ズーム 15">
                <a:extLst>
                  <a:ext uri="{FF2B5EF4-FFF2-40B4-BE49-F238E27FC236}">
                    <a16:creationId xmlns:a16="http://schemas.microsoft.com/office/drawing/2014/main" id="{769BAD99-544C-046A-0843-7CCFE811F934}"/>
                  </a:ext>
                </a:extLst>
              </p:cNvPr>
              <p:cNvGraphicFramePr>
                <a:graphicFrameLocks noChangeAspect="1"/>
              </p:cNvGraphicFramePr>
              <p:nvPr>
                <p:extLst>
                  <p:ext uri="{D42A27DB-BD31-4B8C-83A1-F6EECF244321}">
                    <p14:modId xmlns:p14="http://schemas.microsoft.com/office/powerpoint/2010/main" val="3500030547"/>
                  </p:ext>
                </p:extLst>
              </p:nvPr>
            </p:nvGraphicFramePr>
            <p:xfrm>
              <a:off x="6857999" y="3945625"/>
              <a:ext cx="4572000" cy="2571353"/>
            </p:xfrm>
            <a:graphic>
              <a:graphicData uri="http://schemas.microsoft.com/office/powerpoint/2016/slidezoom">
                <pslz:sldZm>
                  <pslz:sldZmObj sldId="264" cId="983243656">
                    <pslz:zmPr id="{953B8C0B-5120-46A1-B43A-D99F5EFD56FA}" returnToParent="0" transitionDur="1000">
                      <p166:blipFill xmlns:p166="http://schemas.microsoft.com/office/powerpoint/2016/6/main">
                        <a:blip r:embed="rId3"/>
                        <a:stretch>
                          <a:fillRect/>
                        </a:stretch>
                      </p166:blipFill>
                      <p166:spPr xmlns:p166="http://schemas.microsoft.com/office/powerpoint/2016/6/main">
                        <a:xfrm>
                          <a:off x="0" y="0"/>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166:spPr>
                    </pslz:zmPr>
                  </pslz:sldZmObj>
                </pslz:sldZm>
              </a:graphicData>
            </a:graphic>
          </p:graphicFrame>
        </mc:Choice>
        <mc:Fallback xmlns="">
          <p:pic>
            <p:nvPicPr>
              <p:cNvPr id="16" name="スライド ズーム 15">
                <a:hlinkClick r:id="rId4" action="ppaction://hlinksldjump"/>
                <a:extLst>
                  <a:ext uri="{FF2B5EF4-FFF2-40B4-BE49-F238E27FC236}">
                    <a16:creationId xmlns:a16="http://schemas.microsoft.com/office/drawing/2014/main" id="{769BAD99-544C-046A-0843-7CCFE811F934}"/>
                  </a:ext>
                </a:extLst>
              </p:cNvPr>
              <p:cNvPicPr>
                <a:picLocks noGrp="1" noRot="1" noChangeAspect="1" noMove="1" noResize="1" noEditPoints="1" noAdjustHandles="1" noChangeArrowheads="1" noChangeShapeType="1"/>
              </p:cNvPicPr>
              <p:nvPr/>
            </p:nvPicPr>
            <p:blipFill>
              <a:blip r:embed="rId5"/>
              <a:stretch>
                <a:fillRect/>
              </a:stretch>
            </p:blipFill>
            <p:spPr>
              <a:xfrm>
                <a:off x="6857999" y="3945625"/>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7" name="スライド ズーム 16">
                <a:extLst>
                  <a:ext uri="{FF2B5EF4-FFF2-40B4-BE49-F238E27FC236}">
                    <a16:creationId xmlns:a16="http://schemas.microsoft.com/office/drawing/2014/main" id="{C843B4EA-E0BD-F2E2-2D0B-781DB6097A37}"/>
                  </a:ext>
                </a:extLst>
              </p:cNvPr>
              <p:cNvGraphicFramePr>
                <a:graphicFrameLocks noChangeAspect="1"/>
              </p:cNvGraphicFramePr>
              <p:nvPr>
                <p:extLst>
                  <p:ext uri="{D42A27DB-BD31-4B8C-83A1-F6EECF244321}">
                    <p14:modId xmlns:p14="http://schemas.microsoft.com/office/powerpoint/2010/main" val="382142530"/>
                  </p:ext>
                </p:extLst>
              </p:nvPr>
            </p:nvGraphicFramePr>
            <p:xfrm>
              <a:off x="1214569" y="3945624"/>
              <a:ext cx="4572000" cy="2571353"/>
            </p:xfrm>
            <a:graphic>
              <a:graphicData uri="http://schemas.microsoft.com/office/powerpoint/2016/slidezoom">
                <pslz:sldZm>
                  <pslz:sldZmObj sldId="294" cId="3822454056">
                    <pslz:zmPr id="{05012362-432E-4CA5-B495-9CAB09151800}" returnToParent="0" transitionDur="1000">
                      <p166:blipFill xmlns:p166="http://schemas.microsoft.com/office/powerpoint/2016/6/main">
                        <a:blip r:embed="rId6"/>
                        <a:stretch>
                          <a:fillRect/>
                        </a:stretch>
                      </p166:blipFill>
                      <p166:spPr xmlns:p166="http://schemas.microsoft.com/office/powerpoint/2016/6/main">
                        <a:xfrm>
                          <a:off x="0" y="0"/>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166:spPr>
                    </pslz:zmPr>
                  </pslz:sldZmObj>
                </pslz:sldZm>
              </a:graphicData>
            </a:graphic>
          </p:graphicFrame>
        </mc:Choice>
        <mc:Fallback xmlns="">
          <p:pic>
            <p:nvPicPr>
              <p:cNvPr id="17" name="スライド ズーム 16">
                <a:hlinkClick r:id="rId7" action="ppaction://hlinksldjump"/>
                <a:extLst>
                  <a:ext uri="{FF2B5EF4-FFF2-40B4-BE49-F238E27FC236}">
                    <a16:creationId xmlns:a16="http://schemas.microsoft.com/office/drawing/2014/main" id="{C843B4EA-E0BD-F2E2-2D0B-781DB6097A37}"/>
                  </a:ext>
                </a:extLst>
              </p:cNvPr>
              <p:cNvPicPr>
                <a:picLocks noGrp="1" noRot="1" noChangeAspect="1" noMove="1" noResize="1" noEditPoints="1" noAdjustHandles="1" noChangeArrowheads="1" noChangeShapeType="1"/>
              </p:cNvPicPr>
              <p:nvPr/>
            </p:nvPicPr>
            <p:blipFill>
              <a:blip r:embed="rId8"/>
              <a:stretch>
                <a:fillRect/>
              </a:stretch>
            </p:blipFill>
            <p:spPr>
              <a:xfrm>
                <a:off x="1214569" y="3945624"/>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spPr>
          </p:pic>
        </mc:Fallback>
      </mc:AlternateContent>
      <mc:AlternateContent xmlns:mc="http://schemas.openxmlformats.org/markup-compatibility/2006" xmlns:pslz="http://schemas.microsoft.com/office/powerpoint/2016/slidezoom">
        <mc:Choice Requires="pslz">
          <p:graphicFrame>
            <p:nvGraphicFramePr>
              <p:cNvPr id="18" name="スライド ズーム 17">
                <a:extLst>
                  <a:ext uri="{FF2B5EF4-FFF2-40B4-BE49-F238E27FC236}">
                    <a16:creationId xmlns:a16="http://schemas.microsoft.com/office/drawing/2014/main" id="{405226B6-6452-6040-EB24-6852F8DC6F63}"/>
                  </a:ext>
                </a:extLst>
              </p:cNvPr>
              <p:cNvGraphicFramePr>
                <a:graphicFrameLocks noChangeAspect="1"/>
              </p:cNvGraphicFramePr>
              <p:nvPr>
                <p:extLst>
                  <p:ext uri="{D42A27DB-BD31-4B8C-83A1-F6EECF244321}">
                    <p14:modId xmlns:p14="http://schemas.microsoft.com/office/powerpoint/2010/main" val="2408694936"/>
                  </p:ext>
                </p:extLst>
              </p:nvPr>
            </p:nvGraphicFramePr>
            <p:xfrm>
              <a:off x="12501430" y="3945624"/>
              <a:ext cx="4572000" cy="2571353"/>
            </p:xfrm>
            <a:graphic>
              <a:graphicData uri="http://schemas.microsoft.com/office/powerpoint/2016/slidezoom">
                <pslz:sldZm>
                  <pslz:sldZmObj sldId="265" cId="3634107296">
                    <pslz:zmPr id="{47431F01-9298-4290-A644-AF2BCE15E003}" returnToParent="0" transitionDur="1000">
                      <p166:blipFill xmlns:p166="http://schemas.microsoft.com/office/powerpoint/2016/6/main">
                        <a:blip r:embed="rId9"/>
                        <a:stretch>
                          <a:fillRect/>
                        </a:stretch>
                      </p166:blipFill>
                      <p166:spPr xmlns:p166="http://schemas.microsoft.com/office/powerpoint/2016/6/main">
                        <a:xfrm>
                          <a:off x="0" y="0"/>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166:spPr>
                    </pslz:zmPr>
                  </pslz:sldZmObj>
                </pslz:sldZm>
              </a:graphicData>
            </a:graphic>
          </p:graphicFrame>
        </mc:Choice>
        <mc:Fallback xmlns="">
          <p:pic>
            <p:nvPicPr>
              <p:cNvPr id="18" name="スライド ズーム 17">
                <a:hlinkClick r:id="rId10" action="ppaction://hlinksldjump"/>
                <a:extLst>
                  <a:ext uri="{FF2B5EF4-FFF2-40B4-BE49-F238E27FC236}">
                    <a16:creationId xmlns:a16="http://schemas.microsoft.com/office/drawing/2014/main" id="{405226B6-6452-6040-EB24-6852F8DC6F63}"/>
                  </a:ext>
                </a:extLst>
              </p:cNvPr>
              <p:cNvPicPr>
                <a:picLocks noGrp="1" noRot="1" noChangeAspect="1" noMove="1" noResize="1" noEditPoints="1" noAdjustHandles="1" noChangeArrowheads="1" noChangeShapeType="1"/>
              </p:cNvPicPr>
              <p:nvPr/>
            </p:nvPicPr>
            <p:blipFill>
              <a:blip r:embed="rId11"/>
              <a:stretch>
                <a:fillRect/>
              </a:stretch>
            </p:blipFill>
            <p:spPr>
              <a:xfrm>
                <a:off x="12501430" y="3945624"/>
                <a:ext cx="4572000" cy="2571353"/>
              </a:xfrm>
              <a:prstGeom prst="rect">
                <a:avLst/>
              </a:prstGeom>
              <a:ln w="12700">
                <a:solidFill>
                  <a:schemeClr val="bg2">
                    <a:lumMod val="90000"/>
                  </a:schemeClr>
                </a:solidFill>
              </a:ln>
              <a:effectLst>
                <a:outerShdw blurRad="38100" dist="38100" dir="2700000" algn="tl" rotWithShape="0">
                  <a:prstClr val="black">
                    <a:alpha val="20000"/>
                  </a:prstClr>
                </a:outerShdw>
              </a:effectLst>
            </p:spPr>
          </p:pic>
        </mc:Fallback>
      </mc:AlternateContent>
      <p:sp>
        <p:nvSpPr>
          <p:cNvPr id="20" name="テキスト ボックス 19">
            <a:extLst>
              <a:ext uri="{FF2B5EF4-FFF2-40B4-BE49-F238E27FC236}">
                <a16:creationId xmlns:a16="http://schemas.microsoft.com/office/drawing/2014/main" id="{50B6DEC4-BAF7-5047-B6F8-B73956886558}"/>
              </a:ext>
            </a:extLst>
          </p:cNvPr>
          <p:cNvSpPr txBox="1"/>
          <p:nvPr/>
        </p:nvSpPr>
        <p:spPr>
          <a:xfrm>
            <a:off x="7042717" y="3308203"/>
            <a:ext cx="3347070" cy="486672"/>
          </a:xfrm>
          <a:prstGeom prst="rect">
            <a:avLst/>
          </a:prstGeom>
          <a:noFill/>
        </p:spPr>
        <p:txBody>
          <a:bodyPr wrap="none" lIns="0" tIns="0" rIns="0" bIns="0" rtlCol="0" anchor="b">
            <a:spAutoFit/>
          </a:bodyPr>
          <a:lstStyle/>
          <a:p>
            <a:pPr>
              <a:lnSpc>
                <a:spcPct val="120000"/>
              </a:lnSpc>
            </a:pPr>
            <a:r>
              <a:rPr lang="ja-JP" altLang="en-US" sz="2800" spc="100" dirty="0">
                <a:solidFill>
                  <a:schemeClr val="accent2"/>
                </a:solidFill>
                <a:latin typeface="+mj-ea"/>
                <a:ea typeface="+mj-ea"/>
              </a:rPr>
              <a:t>左上のマークが目印</a:t>
            </a:r>
            <a:endParaRPr kumimoji="1" lang="ja-JP" altLang="en-US" sz="4000" spc="100" dirty="0">
              <a:solidFill>
                <a:schemeClr val="accent2"/>
              </a:solidFill>
              <a:latin typeface="+mj-ea"/>
              <a:ea typeface="+mj-ea"/>
            </a:endParaRPr>
          </a:p>
        </p:txBody>
      </p:sp>
      <p:sp>
        <p:nvSpPr>
          <p:cNvPr id="21" name="テキスト ボックス 20">
            <a:extLst>
              <a:ext uri="{FF2B5EF4-FFF2-40B4-BE49-F238E27FC236}">
                <a16:creationId xmlns:a16="http://schemas.microsoft.com/office/drawing/2014/main" id="{64CDB736-85EB-6B5B-50DB-5F552AE03B3B}"/>
              </a:ext>
            </a:extLst>
          </p:cNvPr>
          <p:cNvSpPr txBox="1"/>
          <p:nvPr/>
        </p:nvSpPr>
        <p:spPr>
          <a:xfrm>
            <a:off x="12652232" y="3308203"/>
            <a:ext cx="3347070" cy="486672"/>
          </a:xfrm>
          <a:prstGeom prst="rect">
            <a:avLst/>
          </a:prstGeom>
          <a:noFill/>
        </p:spPr>
        <p:txBody>
          <a:bodyPr wrap="none" lIns="0" tIns="0" rIns="0" bIns="0" rtlCol="0" anchor="b">
            <a:spAutoFit/>
          </a:bodyPr>
          <a:lstStyle/>
          <a:p>
            <a:pPr>
              <a:lnSpc>
                <a:spcPct val="120000"/>
              </a:lnSpc>
            </a:pPr>
            <a:r>
              <a:rPr lang="ja-JP" altLang="en-US" sz="2800" spc="100" dirty="0">
                <a:solidFill>
                  <a:schemeClr val="accent2"/>
                </a:solidFill>
                <a:latin typeface="+mj-ea"/>
                <a:ea typeface="+mj-ea"/>
              </a:rPr>
              <a:t>左上のマークが目印</a:t>
            </a:r>
            <a:endParaRPr kumimoji="1" lang="ja-JP" altLang="en-US" sz="4000" spc="100" dirty="0">
              <a:solidFill>
                <a:schemeClr val="accent2"/>
              </a:solidFill>
              <a:latin typeface="+mj-ea"/>
              <a:ea typeface="+mj-ea"/>
            </a:endParaRPr>
          </a:p>
        </p:txBody>
      </p:sp>
      <p:sp>
        <p:nvSpPr>
          <p:cNvPr id="22" name="グラフィックス 31">
            <a:extLst>
              <a:ext uri="{FF2B5EF4-FFF2-40B4-BE49-F238E27FC236}">
                <a16:creationId xmlns:a16="http://schemas.microsoft.com/office/drawing/2014/main" id="{F56AABA1-2E16-9359-A0BB-36B4518E53D4}"/>
              </a:ext>
            </a:extLst>
          </p:cNvPr>
          <p:cNvSpPr/>
          <p:nvPr/>
        </p:nvSpPr>
        <p:spPr>
          <a:xfrm>
            <a:off x="6817807" y="3945624"/>
            <a:ext cx="707600" cy="633766"/>
          </a:xfrm>
          <a:custGeom>
            <a:avLst/>
            <a:gdLst>
              <a:gd name="connsiteX0" fmla="*/ 2165391 w 4330780"/>
              <a:gd name="connsiteY0" fmla="*/ 1775027 h 1775241"/>
              <a:gd name="connsiteX1" fmla="*/ 4330097 w 4330780"/>
              <a:gd name="connsiteY1" fmla="*/ 843667 h 1775241"/>
              <a:gd name="connsiteX2" fmla="*/ 2165391 w 4330780"/>
              <a:gd name="connsiteY2" fmla="*/ 271 h 1775241"/>
              <a:gd name="connsiteX3" fmla="*/ 684 w 4330780"/>
              <a:gd name="connsiteY3" fmla="*/ 843667 h 1775241"/>
              <a:gd name="connsiteX4" fmla="*/ 2165391 w 4330780"/>
              <a:gd name="connsiteY4" fmla="*/ 1687064 h 177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0780" h="1775241">
                <a:moveTo>
                  <a:pt x="2165391" y="1775027"/>
                </a:moveTo>
                <a:cubicBezTo>
                  <a:pt x="3550505" y="1785868"/>
                  <a:pt x="4357663" y="1383528"/>
                  <a:pt x="4330097" y="843667"/>
                </a:cubicBezTo>
                <a:cubicBezTo>
                  <a:pt x="4357663" y="304117"/>
                  <a:pt x="3550505" y="-10569"/>
                  <a:pt x="2165391" y="271"/>
                </a:cubicBezTo>
                <a:cubicBezTo>
                  <a:pt x="780276" y="-10569"/>
                  <a:pt x="-26882" y="304117"/>
                  <a:pt x="684" y="843667"/>
                </a:cubicBezTo>
                <a:cubicBezTo>
                  <a:pt x="-26882" y="1383218"/>
                  <a:pt x="780276" y="1697904"/>
                  <a:pt x="2165391" y="1687064"/>
                </a:cubicBezTo>
              </a:path>
            </a:pathLst>
          </a:custGeom>
          <a:noFill/>
          <a:ln w="50800" cap="flat">
            <a:solidFill>
              <a:schemeClr val="accent2"/>
            </a:solidFill>
            <a:prstDash val="sysDot"/>
            <a:miter/>
            <a:extLst>
              <a:ext uri="{C807C97D-BFC1-408E-A445-0C87EB9F89A2}">
                <ask:lineSketchStyleProps xmlns="" xmlns:ask="http://schemas.microsoft.com/office/drawing/2018/sketchyshapes" sd="1762882909">
                  <a:custGeom>
                    <a:avLst/>
                    <a:gdLst>
                      <a:gd name="connsiteX0" fmla="*/ 963666 w 1927333"/>
                      <a:gd name="connsiteY0" fmla="*/ 1742410 h 1742621"/>
                      <a:gd name="connsiteX1" fmla="*/ 1927029 w 1927333"/>
                      <a:gd name="connsiteY1" fmla="*/ 828164 h 1742621"/>
                      <a:gd name="connsiteX2" fmla="*/ 963666 w 1927333"/>
                      <a:gd name="connsiteY2" fmla="*/ 266 h 1742621"/>
                      <a:gd name="connsiteX3" fmla="*/ 304 w 1927333"/>
                      <a:gd name="connsiteY3" fmla="*/ 828164 h 1742621"/>
                      <a:gd name="connsiteX4" fmla="*/ 963666 w 1927333"/>
                      <a:gd name="connsiteY4" fmla="*/ 1656064 h 1742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333" h="1742621" extrusionOk="0">
                        <a:moveTo>
                          <a:pt x="963666" y="1742410"/>
                        </a:moveTo>
                        <a:cubicBezTo>
                          <a:pt x="1593666" y="1770979"/>
                          <a:pt x="1873024" y="1454468"/>
                          <a:pt x="1927029" y="828164"/>
                        </a:cubicBezTo>
                        <a:cubicBezTo>
                          <a:pt x="1908413" y="375431"/>
                          <a:pt x="1660140" y="12808"/>
                          <a:pt x="963666" y="266"/>
                        </a:cubicBezTo>
                        <a:cubicBezTo>
                          <a:pt x="408021" y="70934"/>
                          <a:pt x="-48738" y="250977"/>
                          <a:pt x="304" y="828164"/>
                        </a:cubicBezTo>
                        <a:cubicBezTo>
                          <a:pt x="33297" y="1401754"/>
                          <a:pt x="284103" y="1754577"/>
                          <a:pt x="963666" y="1656064"/>
                        </a:cubicBezTo>
                      </a:path>
                    </a:pathLst>
                  </a:custGeom>
                  <ask:type>
                    <ask:lineSketchNone/>
                  </ask:type>
                </ask:lineSketchStyleProps>
              </a:ext>
            </a:extLst>
          </a:ln>
        </p:spPr>
        <p:txBody>
          <a:bodyPr rtlCol="0" anchor="ctr"/>
          <a:lstStyle/>
          <a:p>
            <a:endParaRPr lang="ja-JP" altLang="en-US"/>
          </a:p>
        </p:txBody>
      </p:sp>
      <p:sp>
        <p:nvSpPr>
          <p:cNvPr id="23" name="グラフィックス 31">
            <a:extLst>
              <a:ext uri="{FF2B5EF4-FFF2-40B4-BE49-F238E27FC236}">
                <a16:creationId xmlns:a16="http://schemas.microsoft.com/office/drawing/2014/main" id="{249D7E15-2508-F408-F29D-4DF35663B577}"/>
              </a:ext>
            </a:extLst>
          </p:cNvPr>
          <p:cNvSpPr/>
          <p:nvPr/>
        </p:nvSpPr>
        <p:spPr>
          <a:xfrm>
            <a:off x="12469900" y="3945624"/>
            <a:ext cx="707600" cy="633766"/>
          </a:xfrm>
          <a:custGeom>
            <a:avLst/>
            <a:gdLst>
              <a:gd name="connsiteX0" fmla="*/ 2165391 w 4330780"/>
              <a:gd name="connsiteY0" fmla="*/ 1775027 h 1775241"/>
              <a:gd name="connsiteX1" fmla="*/ 4330097 w 4330780"/>
              <a:gd name="connsiteY1" fmla="*/ 843667 h 1775241"/>
              <a:gd name="connsiteX2" fmla="*/ 2165391 w 4330780"/>
              <a:gd name="connsiteY2" fmla="*/ 271 h 1775241"/>
              <a:gd name="connsiteX3" fmla="*/ 684 w 4330780"/>
              <a:gd name="connsiteY3" fmla="*/ 843667 h 1775241"/>
              <a:gd name="connsiteX4" fmla="*/ 2165391 w 4330780"/>
              <a:gd name="connsiteY4" fmla="*/ 1687064 h 177524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330780" h="1775241">
                <a:moveTo>
                  <a:pt x="2165391" y="1775027"/>
                </a:moveTo>
                <a:cubicBezTo>
                  <a:pt x="3550505" y="1785868"/>
                  <a:pt x="4357663" y="1383528"/>
                  <a:pt x="4330097" y="843667"/>
                </a:cubicBezTo>
                <a:cubicBezTo>
                  <a:pt x="4357663" y="304117"/>
                  <a:pt x="3550505" y="-10569"/>
                  <a:pt x="2165391" y="271"/>
                </a:cubicBezTo>
                <a:cubicBezTo>
                  <a:pt x="780276" y="-10569"/>
                  <a:pt x="-26882" y="304117"/>
                  <a:pt x="684" y="843667"/>
                </a:cubicBezTo>
                <a:cubicBezTo>
                  <a:pt x="-26882" y="1383218"/>
                  <a:pt x="780276" y="1697904"/>
                  <a:pt x="2165391" y="1687064"/>
                </a:cubicBezTo>
              </a:path>
            </a:pathLst>
          </a:custGeom>
          <a:noFill/>
          <a:ln w="50800" cap="flat">
            <a:solidFill>
              <a:schemeClr val="accent2"/>
            </a:solidFill>
            <a:prstDash val="sysDot"/>
            <a:miter/>
            <a:extLst>
              <a:ext uri="{C807C97D-BFC1-408E-A445-0C87EB9F89A2}">
                <ask:lineSketchStyleProps xmlns="" xmlns:ask="http://schemas.microsoft.com/office/drawing/2018/sketchyshapes" sd="1762882909">
                  <a:custGeom>
                    <a:avLst/>
                    <a:gdLst>
                      <a:gd name="connsiteX0" fmla="*/ 963666 w 1927333"/>
                      <a:gd name="connsiteY0" fmla="*/ 1742410 h 1742621"/>
                      <a:gd name="connsiteX1" fmla="*/ 1927029 w 1927333"/>
                      <a:gd name="connsiteY1" fmla="*/ 828164 h 1742621"/>
                      <a:gd name="connsiteX2" fmla="*/ 963666 w 1927333"/>
                      <a:gd name="connsiteY2" fmla="*/ 266 h 1742621"/>
                      <a:gd name="connsiteX3" fmla="*/ 304 w 1927333"/>
                      <a:gd name="connsiteY3" fmla="*/ 828164 h 1742621"/>
                      <a:gd name="connsiteX4" fmla="*/ 963666 w 1927333"/>
                      <a:gd name="connsiteY4" fmla="*/ 1656064 h 174262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927333" h="1742621" extrusionOk="0">
                        <a:moveTo>
                          <a:pt x="963666" y="1742410"/>
                        </a:moveTo>
                        <a:cubicBezTo>
                          <a:pt x="1593666" y="1770979"/>
                          <a:pt x="1873024" y="1454468"/>
                          <a:pt x="1927029" y="828164"/>
                        </a:cubicBezTo>
                        <a:cubicBezTo>
                          <a:pt x="1908413" y="375431"/>
                          <a:pt x="1660140" y="12808"/>
                          <a:pt x="963666" y="266"/>
                        </a:cubicBezTo>
                        <a:cubicBezTo>
                          <a:pt x="408021" y="70934"/>
                          <a:pt x="-48738" y="250977"/>
                          <a:pt x="304" y="828164"/>
                        </a:cubicBezTo>
                        <a:cubicBezTo>
                          <a:pt x="33297" y="1401754"/>
                          <a:pt x="284103" y="1754577"/>
                          <a:pt x="963666" y="1656064"/>
                        </a:cubicBezTo>
                      </a:path>
                    </a:pathLst>
                  </a:custGeom>
                  <ask:type>
                    <ask:lineSketchNone/>
                  </ask:type>
                </ask:lineSketchStyleProps>
              </a:ext>
            </a:extLst>
          </a:ln>
        </p:spPr>
        <p:txBody>
          <a:bodyPr rtlCol="0" anchor="ctr"/>
          <a:lstStyle/>
          <a:p>
            <a:endParaRPr lang="ja-JP" altLang="en-US"/>
          </a:p>
        </p:txBody>
      </p:sp>
      <p:sp>
        <p:nvSpPr>
          <p:cNvPr id="15" name="四角形: 上の 2 つの角を丸める 14">
            <a:extLst>
              <a:ext uri="{FF2B5EF4-FFF2-40B4-BE49-F238E27FC236}">
                <a16:creationId xmlns:a16="http://schemas.microsoft.com/office/drawing/2014/main" id="{F763E52C-0DBC-0770-0501-A37944A40F5E}"/>
              </a:ext>
            </a:extLst>
          </p:cNvPr>
          <p:cNvSpPr/>
          <p:nvPr/>
        </p:nvSpPr>
        <p:spPr>
          <a:xfrm>
            <a:off x="891741" y="1786072"/>
            <a:ext cx="5217656" cy="937393"/>
          </a:xfrm>
          <a:prstGeom prst="round2SameRect">
            <a:avLst>
              <a:gd name="adj1" fmla="val 10161"/>
              <a:gd name="adj2" fmla="val 0"/>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600" b="1" dirty="0">
                <a:solidFill>
                  <a:schemeClr val="bg1"/>
                </a:solidFill>
                <a:latin typeface="+mj-ea"/>
                <a:ea typeface="+mj-ea"/>
              </a:rPr>
              <a:t>説明ページ</a:t>
            </a:r>
          </a:p>
        </p:txBody>
      </p:sp>
      <p:sp>
        <p:nvSpPr>
          <p:cNvPr id="19" name="四角形: 上の 2 つの角を丸める 18">
            <a:extLst>
              <a:ext uri="{FF2B5EF4-FFF2-40B4-BE49-F238E27FC236}">
                <a16:creationId xmlns:a16="http://schemas.microsoft.com/office/drawing/2014/main" id="{D98A60EB-AE0B-E92F-D35B-C2F2208550C8}"/>
              </a:ext>
            </a:extLst>
          </p:cNvPr>
          <p:cNvSpPr/>
          <p:nvPr/>
        </p:nvSpPr>
        <p:spPr>
          <a:xfrm>
            <a:off x="6535172" y="1786072"/>
            <a:ext cx="5217656" cy="937393"/>
          </a:xfrm>
          <a:prstGeom prst="round2SameRect">
            <a:avLst>
              <a:gd name="adj1" fmla="val 10161"/>
              <a:gd name="adj2" fmla="val 0"/>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600" b="1" dirty="0">
                <a:solidFill>
                  <a:schemeClr val="bg1"/>
                </a:solidFill>
                <a:latin typeface="+mj-ea"/>
                <a:ea typeface="+mj-ea"/>
              </a:rPr>
              <a:t>事例ページ</a:t>
            </a:r>
          </a:p>
        </p:txBody>
      </p:sp>
      <p:sp>
        <p:nvSpPr>
          <p:cNvPr id="24" name="四角形: 上の 2 つの角を丸める 23">
            <a:extLst>
              <a:ext uri="{FF2B5EF4-FFF2-40B4-BE49-F238E27FC236}">
                <a16:creationId xmlns:a16="http://schemas.microsoft.com/office/drawing/2014/main" id="{2B0C36DC-C673-FEE2-C829-3D03F5F4CF37}"/>
              </a:ext>
            </a:extLst>
          </p:cNvPr>
          <p:cNvSpPr/>
          <p:nvPr/>
        </p:nvSpPr>
        <p:spPr>
          <a:xfrm>
            <a:off x="12178602" y="1786072"/>
            <a:ext cx="5217656" cy="937393"/>
          </a:xfrm>
          <a:prstGeom prst="round2SameRect">
            <a:avLst>
              <a:gd name="adj1" fmla="val 10161"/>
              <a:gd name="adj2" fmla="val 0"/>
            </a:avLst>
          </a:prstGeom>
          <a:solidFill>
            <a:schemeClr val="accent1"/>
          </a:solidFill>
          <a:ln w="38100">
            <a:solidFill>
              <a:schemeClr val="accent1"/>
            </a:solidFill>
          </a:ln>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ja-JP" altLang="en-US" sz="3600" b="1" dirty="0">
                <a:solidFill>
                  <a:schemeClr val="bg1"/>
                </a:solidFill>
                <a:latin typeface="+mj-ea"/>
                <a:ea typeface="+mj-ea"/>
              </a:rPr>
              <a:t>理解度チェックページ</a:t>
            </a:r>
          </a:p>
        </p:txBody>
      </p:sp>
      <p:sp>
        <p:nvSpPr>
          <p:cNvPr id="8" name="スライド番号プレースホルダー 7">
            <a:extLst>
              <a:ext uri="{FF2B5EF4-FFF2-40B4-BE49-F238E27FC236}">
                <a16:creationId xmlns:a16="http://schemas.microsoft.com/office/drawing/2014/main" id="{89F751D2-0C91-C6CD-E275-C80665A3704A}"/>
              </a:ext>
            </a:extLst>
          </p:cNvPr>
          <p:cNvSpPr>
            <a:spLocks noGrp="1"/>
          </p:cNvSpPr>
          <p:nvPr>
            <p:ph type="sldNum" sz="quarter" idx="11"/>
          </p:nvPr>
        </p:nvSpPr>
        <p:spPr>
          <a:xfrm>
            <a:off x="17776755" y="9786651"/>
            <a:ext cx="163506" cy="307777"/>
          </a:xfrm>
        </p:spPr>
        <p:txBody>
          <a:bodyPr/>
          <a:lstStyle/>
          <a:p>
            <a:r>
              <a:rPr lang="en-US" altLang="ja-JP"/>
              <a:t>4</a:t>
            </a:r>
            <a:endParaRPr lang="ja-JP" altLang="en-US" dirty="0"/>
          </a:p>
        </p:txBody>
      </p:sp>
    </p:spTree>
    <p:extLst>
      <p:ext uri="{BB962C8B-B14F-4D97-AF65-F5344CB8AC3E}">
        <p14:creationId xmlns:p14="http://schemas.microsoft.com/office/powerpoint/2010/main" val="2209006418"/>
      </p:ext>
    </p:extLst>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think-cell data - do not delete" hidden="1">
            <a:extLst>
              <a:ext uri="{FF2B5EF4-FFF2-40B4-BE49-F238E27FC236}">
                <a16:creationId xmlns:a16="http://schemas.microsoft.com/office/drawing/2014/main" id="{D778BC68-4B55-7708-519A-735680FBBF67}"/>
              </a:ext>
            </a:extLst>
          </p:cNvPr>
          <p:cNvGraphicFramePr>
            <a:graphicFrameLocks noChangeAspect="1"/>
          </p:cNvGraphicFramePr>
          <p:nvPr>
            <p:custDataLst>
              <p:tags r:id="rId2"/>
            </p:custDataLst>
            <p:extLst>
              <p:ext uri="{D42A27DB-BD31-4B8C-83A1-F6EECF244321}">
                <p14:modId xmlns:p14="http://schemas.microsoft.com/office/powerpoint/2010/main" val="17579852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81" name="think-cell Slide" r:id="rId5" imgW="606" imgH="608" progId="TCLayout.ActiveDocument.1">
                  <p:embed/>
                </p:oleObj>
              </mc:Choice>
              <mc:Fallback>
                <p:oleObj name="think-cell Slide" r:id="rId5" imgW="606" imgH="608" progId="TCLayout.ActiveDocument.1">
                  <p:embed/>
                  <p:pic>
                    <p:nvPicPr>
                      <p:cNvPr id="2" name="think-cell data - do not delete" hidden="1">
                        <a:extLst>
                          <a:ext uri="{FF2B5EF4-FFF2-40B4-BE49-F238E27FC236}">
                            <a16:creationId xmlns:a16="http://schemas.microsoft.com/office/drawing/2014/main" id="{D778BC68-4B55-7708-519A-735680FBBF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6" name="四角形: 角を丸くする 45">
            <a:extLst>
              <a:ext uri="{FF2B5EF4-FFF2-40B4-BE49-F238E27FC236}">
                <a16:creationId xmlns:a16="http://schemas.microsoft.com/office/drawing/2014/main" id="{4CD379B3-F96C-9BC5-6BDE-32F967305DC2}"/>
              </a:ext>
            </a:extLst>
          </p:cNvPr>
          <p:cNvSpPr/>
          <p:nvPr/>
        </p:nvSpPr>
        <p:spPr>
          <a:xfrm>
            <a:off x="9463383" y="1967696"/>
            <a:ext cx="7932876" cy="7470594"/>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四角形: 角を丸くする 40">
            <a:extLst>
              <a:ext uri="{FF2B5EF4-FFF2-40B4-BE49-F238E27FC236}">
                <a16:creationId xmlns:a16="http://schemas.microsoft.com/office/drawing/2014/main" id="{81436C3F-107E-CD30-22AB-D47F0EC3B174}"/>
              </a:ext>
            </a:extLst>
          </p:cNvPr>
          <p:cNvSpPr/>
          <p:nvPr/>
        </p:nvSpPr>
        <p:spPr>
          <a:xfrm>
            <a:off x="9927382" y="1574741"/>
            <a:ext cx="7209640" cy="830143"/>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600" spc="100" dirty="0">
                <a:solidFill>
                  <a:schemeClr val="bg1"/>
                </a:solidFill>
                <a:latin typeface="+mj-ea"/>
                <a:ea typeface="+mj-ea"/>
              </a:rPr>
              <a:t>どうしても拡散したいときは</a:t>
            </a:r>
            <a:r>
              <a:rPr kumimoji="1" lang="en-US" altLang="ja-JP" sz="3600" spc="100" dirty="0">
                <a:solidFill>
                  <a:schemeClr val="bg1"/>
                </a:solidFill>
                <a:latin typeface="+mj-ea"/>
                <a:ea typeface="+mj-ea"/>
              </a:rPr>
              <a:t>…</a:t>
            </a:r>
          </a:p>
        </p:txBody>
      </p:sp>
      <p:sp>
        <p:nvSpPr>
          <p:cNvPr id="45" name="四角形: 角を丸くする 44">
            <a:extLst>
              <a:ext uri="{FF2B5EF4-FFF2-40B4-BE49-F238E27FC236}">
                <a16:creationId xmlns:a16="http://schemas.microsoft.com/office/drawing/2014/main" id="{48122C82-BA7F-4D53-93B1-B6479BFAF537}"/>
              </a:ext>
            </a:extLst>
          </p:cNvPr>
          <p:cNvSpPr/>
          <p:nvPr/>
        </p:nvSpPr>
        <p:spPr>
          <a:xfrm>
            <a:off x="891741" y="1967696"/>
            <a:ext cx="7932876" cy="7470594"/>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タイトル 3">
            <a:extLst>
              <a:ext uri="{FF2B5EF4-FFF2-40B4-BE49-F238E27FC236}">
                <a16:creationId xmlns:a16="http://schemas.microsoft.com/office/drawing/2014/main" id="{534D714B-1772-3532-0E84-8AB9CB92F184}"/>
              </a:ext>
            </a:extLst>
          </p:cNvPr>
          <p:cNvSpPr>
            <a:spLocks noGrp="1"/>
          </p:cNvSpPr>
          <p:nvPr>
            <p:ph type="title"/>
          </p:nvPr>
        </p:nvSpPr>
        <p:spPr>
          <a:xfrm>
            <a:off x="891741" y="506301"/>
            <a:ext cx="16732145" cy="492443"/>
          </a:xfrm>
        </p:spPr>
        <p:txBody>
          <a:bodyPr vert="horz"/>
          <a:lstStyle/>
          <a:p>
            <a:r>
              <a:rPr lang="ja-JP" altLang="en-US" dirty="0"/>
              <a:t>❸ それでも騙される可能性がある。安易に拡散しない </a:t>
            </a:r>
            <a:r>
              <a:rPr lang="en-US" altLang="ja-JP" dirty="0"/>
              <a:t>/ </a:t>
            </a:r>
            <a:r>
              <a:rPr lang="ja-JP" altLang="en-US" dirty="0"/>
              <a:t>拡散したいときはひと呼吸おく</a:t>
            </a:r>
          </a:p>
        </p:txBody>
      </p:sp>
      <p:grpSp>
        <p:nvGrpSpPr>
          <p:cNvPr id="53" name="グループ化 52">
            <a:extLst>
              <a:ext uri="{FF2B5EF4-FFF2-40B4-BE49-F238E27FC236}">
                <a16:creationId xmlns:a16="http://schemas.microsoft.com/office/drawing/2014/main" id="{3DA03C4F-E1D1-7F0B-7ABA-E3ACD72550E4}"/>
              </a:ext>
            </a:extLst>
          </p:cNvPr>
          <p:cNvGrpSpPr/>
          <p:nvPr/>
        </p:nvGrpSpPr>
        <p:grpSpPr>
          <a:xfrm>
            <a:off x="3135939" y="2715374"/>
            <a:ext cx="3497527" cy="3661677"/>
            <a:chOff x="3135939" y="2715374"/>
            <a:chExt cx="3497527" cy="3661677"/>
          </a:xfrm>
        </p:grpSpPr>
        <p:sp>
          <p:nvSpPr>
            <p:cNvPr id="35" name="&quot;禁止&quot;マーク 34">
              <a:extLst>
                <a:ext uri="{FF2B5EF4-FFF2-40B4-BE49-F238E27FC236}">
                  <a16:creationId xmlns:a16="http://schemas.microsoft.com/office/drawing/2014/main" id="{9A16CF9C-EACF-5B0E-335B-CBD5B4AC0A3D}"/>
                </a:ext>
              </a:extLst>
            </p:cNvPr>
            <p:cNvSpPr/>
            <p:nvPr/>
          </p:nvSpPr>
          <p:spPr>
            <a:xfrm>
              <a:off x="3142556" y="2733110"/>
              <a:ext cx="3431246" cy="3431246"/>
            </a:xfrm>
            <a:prstGeom prst="noSmoking">
              <a:avLst>
                <a:gd name="adj" fmla="val 7171"/>
              </a:avLst>
            </a:prstGeom>
            <a:solidFill>
              <a:schemeClr val="accent3">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6000" dirty="0">
                <a:solidFill>
                  <a:schemeClr val="bg1"/>
                </a:solidFill>
              </a:endParaRPr>
            </a:p>
          </p:txBody>
        </p:sp>
        <p:pic>
          <p:nvPicPr>
            <p:cNvPr id="26" name="図 25">
              <a:extLst>
                <a:ext uri="{FF2B5EF4-FFF2-40B4-BE49-F238E27FC236}">
                  <a16:creationId xmlns:a16="http://schemas.microsoft.com/office/drawing/2014/main" id="{6FEAF92A-63D8-6A86-AF9C-D73D5899BCC2}"/>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3135939" y="2715374"/>
              <a:ext cx="2726181" cy="3661677"/>
            </a:xfrm>
            <a:prstGeom prst="rect">
              <a:avLst/>
            </a:prstGeom>
          </p:spPr>
        </p:pic>
        <p:grpSp>
          <p:nvGrpSpPr>
            <p:cNvPr id="25" name="グループ化 24">
              <a:extLst>
                <a:ext uri="{FF2B5EF4-FFF2-40B4-BE49-F238E27FC236}">
                  <a16:creationId xmlns:a16="http://schemas.microsoft.com/office/drawing/2014/main" id="{000495A9-5AA3-EBDA-7AC0-5C550E617CCB}"/>
                </a:ext>
              </a:extLst>
            </p:cNvPr>
            <p:cNvGrpSpPr/>
            <p:nvPr/>
          </p:nvGrpSpPr>
          <p:grpSpPr>
            <a:xfrm>
              <a:off x="5852330" y="3812912"/>
              <a:ext cx="781136" cy="754628"/>
              <a:chOff x="7522725" y="3412115"/>
              <a:chExt cx="881789" cy="851866"/>
            </a:xfrm>
            <a:solidFill>
              <a:schemeClr val="tx1"/>
            </a:solidFill>
          </p:grpSpPr>
          <p:grpSp>
            <p:nvGrpSpPr>
              <p:cNvPr id="27" name="グループ化 26">
                <a:extLst>
                  <a:ext uri="{FF2B5EF4-FFF2-40B4-BE49-F238E27FC236}">
                    <a16:creationId xmlns:a16="http://schemas.microsoft.com/office/drawing/2014/main" id="{831876B5-CA55-9A38-6C20-A0AAA29FFEC2}"/>
                  </a:ext>
                </a:extLst>
              </p:cNvPr>
              <p:cNvGrpSpPr/>
              <p:nvPr/>
            </p:nvGrpSpPr>
            <p:grpSpPr>
              <a:xfrm rot="760577">
                <a:off x="7522725" y="3412115"/>
                <a:ext cx="806086" cy="310329"/>
                <a:chOff x="7488612" y="3507344"/>
                <a:chExt cx="806086" cy="310329"/>
              </a:xfrm>
              <a:grpFill/>
            </p:grpSpPr>
            <p:sp>
              <p:nvSpPr>
                <p:cNvPr id="32" name="フリーフォーム: 図形 31">
                  <a:extLst>
                    <a:ext uri="{FF2B5EF4-FFF2-40B4-BE49-F238E27FC236}">
                      <a16:creationId xmlns:a16="http://schemas.microsoft.com/office/drawing/2014/main" id="{8DD0A234-B2B5-809C-CBF5-D397B585DA76}"/>
                    </a:ext>
                  </a:extLst>
                </p:cNvPr>
                <p:cNvSpPr/>
                <p:nvPr/>
              </p:nvSpPr>
              <p:spPr>
                <a:xfrm>
                  <a:off x="7488612" y="3507344"/>
                  <a:ext cx="305284" cy="305847"/>
                </a:xfrm>
                <a:custGeom>
                  <a:avLst/>
                  <a:gdLst>
                    <a:gd name="connsiteX0" fmla="*/ 93058 w 305284"/>
                    <a:gd name="connsiteY0" fmla="*/ 69397 h 305847"/>
                    <a:gd name="connsiteX1" fmla="*/ 106583 w 305284"/>
                    <a:gd name="connsiteY1" fmla="*/ 87875 h 305847"/>
                    <a:gd name="connsiteX2" fmla="*/ 93058 w 305284"/>
                    <a:gd name="connsiteY2" fmla="*/ 101401 h 305847"/>
                    <a:gd name="connsiteX3" fmla="*/ 74675 w 305284"/>
                    <a:gd name="connsiteY3" fmla="*/ 101401 h 305847"/>
                    <a:gd name="connsiteX4" fmla="*/ 74675 w 305284"/>
                    <a:gd name="connsiteY4" fmla="*/ 152455 h 305847"/>
                    <a:gd name="connsiteX5" fmla="*/ 86677 w 305284"/>
                    <a:gd name="connsiteY5" fmla="*/ 147788 h 305847"/>
                    <a:gd name="connsiteX6" fmla="*/ 93058 w 305284"/>
                    <a:gd name="connsiteY6" fmla="*/ 146454 h 305847"/>
                    <a:gd name="connsiteX7" fmla="*/ 108013 w 305284"/>
                    <a:gd name="connsiteY7" fmla="*/ 163123 h 305847"/>
                    <a:gd name="connsiteX8" fmla="*/ 99344 w 305284"/>
                    <a:gd name="connsiteY8" fmla="*/ 176743 h 305847"/>
                    <a:gd name="connsiteX9" fmla="*/ 74675 w 305284"/>
                    <a:gd name="connsiteY9" fmla="*/ 187792 h 305847"/>
                    <a:gd name="connsiteX10" fmla="*/ 74675 w 305284"/>
                    <a:gd name="connsiteY10" fmla="*/ 270470 h 305847"/>
                    <a:gd name="connsiteX11" fmla="*/ 37338 w 305284"/>
                    <a:gd name="connsiteY11" fmla="*/ 304760 h 305847"/>
                    <a:gd name="connsiteX12" fmla="*/ 18288 w 305284"/>
                    <a:gd name="connsiteY12" fmla="*/ 303140 h 305847"/>
                    <a:gd name="connsiteX13" fmla="*/ 4570 w 305284"/>
                    <a:gd name="connsiteY13" fmla="*/ 286757 h 305847"/>
                    <a:gd name="connsiteX14" fmla="*/ 19716 w 305284"/>
                    <a:gd name="connsiteY14" fmla="*/ 269612 h 305847"/>
                    <a:gd name="connsiteX15" fmla="*/ 23620 w 305284"/>
                    <a:gd name="connsiteY15" fmla="*/ 269802 h 305847"/>
                    <a:gd name="connsiteX16" fmla="*/ 32576 w 305284"/>
                    <a:gd name="connsiteY16" fmla="*/ 270755 h 305847"/>
                    <a:gd name="connsiteX17" fmla="*/ 39243 w 305284"/>
                    <a:gd name="connsiteY17" fmla="*/ 263802 h 305847"/>
                    <a:gd name="connsiteX18" fmla="*/ 39243 w 305284"/>
                    <a:gd name="connsiteY18" fmla="*/ 200460 h 305847"/>
                    <a:gd name="connsiteX19" fmla="*/ 18288 w 305284"/>
                    <a:gd name="connsiteY19" fmla="*/ 206747 h 305847"/>
                    <a:gd name="connsiteX20" fmla="*/ 13240 w 305284"/>
                    <a:gd name="connsiteY20" fmla="*/ 207414 h 305847"/>
                    <a:gd name="connsiteX21" fmla="*/ -3050 w 305284"/>
                    <a:gd name="connsiteY21" fmla="*/ 189983 h 305847"/>
                    <a:gd name="connsiteX22" fmla="*/ -3050 w 305284"/>
                    <a:gd name="connsiteY22" fmla="*/ 189792 h 305847"/>
                    <a:gd name="connsiteX23" fmla="*/ 9619 w 305284"/>
                    <a:gd name="connsiteY23" fmla="*/ 173791 h 305847"/>
                    <a:gd name="connsiteX24" fmla="*/ 39243 w 305284"/>
                    <a:gd name="connsiteY24" fmla="*/ 164266 h 305847"/>
                    <a:gd name="connsiteX25" fmla="*/ 39243 w 305284"/>
                    <a:gd name="connsiteY25" fmla="*/ 100924 h 305847"/>
                    <a:gd name="connsiteX26" fmla="*/ 13905 w 305284"/>
                    <a:gd name="connsiteY26" fmla="*/ 100924 h 305847"/>
                    <a:gd name="connsiteX27" fmla="*/ 952 w 305284"/>
                    <a:gd name="connsiteY27" fmla="*/ 81874 h 305847"/>
                    <a:gd name="connsiteX28" fmla="*/ 13905 w 305284"/>
                    <a:gd name="connsiteY28" fmla="*/ 68920 h 305847"/>
                    <a:gd name="connsiteX29" fmla="*/ 39243 w 305284"/>
                    <a:gd name="connsiteY29" fmla="*/ 68920 h 305847"/>
                    <a:gd name="connsiteX30" fmla="*/ 39243 w 305284"/>
                    <a:gd name="connsiteY30" fmla="*/ 13295 h 305847"/>
                    <a:gd name="connsiteX31" fmla="*/ 56958 w 305284"/>
                    <a:gd name="connsiteY31" fmla="*/ -1088 h 305847"/>
                    <a:gd name="connsiteX32" fmla="*/ 74580 w 305284"/>
                    <a:gd name="connsiteY32" fmla="*/ 13295 h 305847"/>
                    <a:gd name="connsiteX33" fmla="*/ 74580 w 305284"/>
                    <a:gd name="connsiteY33" fmla="*/ 68920 h 305847"/>
                    <a:gd name="connsiteX34" fmla="*/ 191357 w 305284"/>
                    <a:gd name="connsiteY34" fmla="*/ 15104 h 305847"/>
                    <a:gd name="connsiteX35" fmla="*/ 209453 w 305284"/>
                    <a:gd name="connsiteY35" fmla="*/ 1389 h 305847"/>
                    <a:gd name="connsiteX36" fmla="*/ 227457 w 305284"/>
                    <a:gd name="connsiteY36" fmla="*/ 15104 h 305847"/>
                    <a:gd name="connsiteX37" fmla="*/ 227457 w 305284"/>
                    <a:gd name="connsiteY37" fmla="*/ 50441 h 305847"/>
                    <a:gd name="connsiteX38" fmla="*/ 283749 w 305284"/>
                    <a:gd name="connsiteY38" fmla="*/ 50441 h 305847"/>
                    <a:gd name="connsiteX39" fmla="*/ 297559 w 305284"/>
                    <a:gd name="connsiteY39" fmla="*/ 65967 h 305847"/>
                    <a:gd name="connsiteX40" fmla="*/ 297464 w 305284"/>
                    <a:gd name="connsiteY40" fmla="*/ 66730 h 305847"/>
                    <a:gd name="connsiteX41" fmla="*/ 284225 w 305284"/>
                    <a:gd name="connsiteY41" fmla="*/ 83113 h 305847"/>
                    <a:gd name="connsiteX42" fmla="*/ 283749 w 305284"/>
                    <a:gd name="connsiteY42" fmla="*/ 83113 h 305847"/>
                    <a:gd name="connsiteX43" fmla="*/ 164019 w 305284"/>
                    <a:gd name="connsiteY43" fmla="*/ 83113 h 305847"/>
                    <a:gd name="connsiteX44" fmla="*/ 153066 w 305284"/>
                    <a:gd name="connsiteY44" fmla="*/ 92638 h 305847"/>
                    <a:gd name="connsiteX45" fmla="*/ 153066 w 305284"/>
                    <a:gd name="connsiteY45" fmla="*/ 118641 h 305847"/>
                    <a:gd name="connsiteX46" fmla="*/ 117729 w 305284"/>
                    <a:gd name="connsiteY46" fmla="*/ 289329 h 305847"/>
                    <a:gd name="connsiteX47" fmla="*/ 100392 w 305284"/>
                    <a:gd name="connsiteY47" fmla="*/ 300378 h 305847"/>
                    <a:gd name="connsiteX48" fmla="*/ 83056 w 305284"/>
                    <a:gd name="connsiteY48" fmla="*/ 284662 h 305847"/>
                    <a:gd name="connsiteX49" fmla="*/ 85724 w 305284"/>
                    <a:gd name="connsiteY49" fmla="*/ 275137 h 305847"/>
                    <a:gd name="connsiteX50" fmla="*/ 117729 w 305284"/>
                    <a:gd name="connsiteY50" fmla="*/ 116450 h 305847"/>
                    <a:gd name="connsiteX51" fmla="*/ 117729 w 305284"/>
                    <a:gd name="connsiteY51" fmla="*/ 85780 h 305847"/>
                    <a:gd name="connsiteX52" fmla="*/ 159733 w 305284"/>
                    <a:gd name="connsiteY52" fmla="*/ 50441 h 305847"/>
                    <a:gd name="connsiteX53" fmla="*/ 191357 w 305284"/>
                    <a:gd name="connsiteY53" fmla="*/ 50441 h 305847"/>
                    <a:gd name="connsiteX54" fmla="*/ 153257 w 305284"/>
                    <a:gd name="connsiteY54" fmla="*/ 292092 h 305847"/>
                    <a:gd name="connsiteX55" fmla="*/ 135921 w 305284"/>
                    <a:gd name="connsiteY55" fmla="*/ 274946 h 305847"/>
                    <a:gd name="connsiteX56" fmla="*/ 150589 w 305284"/>
                    <a:gd name="connsiteY56" fmla="*/ 257801 h 305847"/>
                    <a:gd name="connsiteX57" fmla="*/ 158970 w 305284"/>
                    <a:gd name="connsiteY57" fmla="*/ 257135 h 305847"/>
                    <a:gd name="connsiteX58" fmla="*/ 197070 w 305284"/>
                    <a:gd name="connsiteY58" fmla="*/ 112735 h 305847"/>
                    <a:gd name="connsiteX59" fmla="*/ 214788 w 305284"/>
                    <a:gd name="connsiteY59" fmla="*/ 99781 h 305847"/>
                    <a:gd name="connsiteX60" fmla="*/ 233838 w 305284"/>
                    <a:gd name="connsiteY60" fmla="*/ 118831 h 305847"/>
                    <a:gd name="connsiteX61" fmla="*/ 196787 w 305284"/>
                    <a:gd name="connsiteY61" fmla="*/ 252181 h 305847"/>
                    <a:gd name="connsiteX62" fmla="*/ 246507 w 305284"/>
                    <a:gd name="connsiteY62" fmla="*/ 243799 h 305847"/>
                    <a:gd name="connsiteX63" fmla="*/ 232124 w 305284"/>
                    <a:gd name="connsiteY63" fmla="*/ 219130 h 305847"/>
                    <a:gd name="connsiteX64" fmla="*/ 229171 w 305284"/>
                    <a:gd name="connsiteY64" fmla="*/ 209605 h 305847"/>
                    <a:gd name="connsiteX65" fmla="*/ 245839 w 305284"/>
                    <a:gd name="connsiteY65" fmla="*/ 194555 h 305847"/>
                    <a:gd name="connsiteX66" fmla="*/ 262127 w 305284"/>
                    <a:gd name="connsiteY66" fmla="*/ 204080 h 305847"/>
                    <a:gd name="connsiteX67" fmla="*/ 300227 w 305284"/>
                    <a:gd name="connsiteY67" fmla="*/ 270755 h 305847"/>
                    <a:gd name="connsiteX68" fmla="*/ 302227 w 305284"/>
                    <a:gd name="connsiteY68" fmla="*/ 280280 h 305847"/>
                    <a:gd name="connsiteX69" fmla="*/ 283177 w 305284"/>
                    <a:gd name="connsiteY69" fmla="*/ 298282 h 305847"/>
                    <a:gd name="connsiteX70" fmla="*/ 266794 w 305284"/>
                    <a:gd name="connsiteY70" fmla="*/ 286948 h 305847"/>
                    <a:gd name="connsiteX71" fmla="*/ 261176 w 305284"/>
                    <a:gd name="connsiteY71" fmla="*/ 274279 h 305847"/>
                    <a:gd name="connsiteX72" fmla="*/ 153066 w 305284"/>
                    <a:gd name="connsiteY72" fmla="*/ 292092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5284" h="305847">
                      <a:moveTo>
                        <a:pt x="93058" y="69397"/>
                      </a:moveTo>
                      <a:cubicBezTo>
                        <a:pt x="101916" y="70730"/>
                        <a:pt x="107918" y="79016"/>
                        <a:pt x="106583" y="87875"/>
                      </a:cubicBezTo>
                      <a:cubicBezTo>
                        <a:pt x="105536" y="94828"/>
                        <a:pt x="100011" y="100353"/>
                        <a:pt x="93058" y="101401"/>
                      </a:cubicBezTo>
                      <a:lnTo>
                        <a:pt x="74675" y="101401"/>
                      </a:lnTo>
                      <a:lnTo>
                        <a:pt x="74675" y="152455"/>
                      </a:lnTo>
                      <a:cubicBezTo>
                        <a:pt x="78675" y="151121"/>
                        <a:pt x="82675" y="149406"/>
                        <a:pt x="86677" y="147788"/>
                      </a:cubicBezTo>
                      <a:cubicBezTo>
                        <a:pt x="88677" y="146835"/>
                        <a:pt x="90867" y="146454"/>
                        <a:pt x="93058" y="146454"/>
                      </a:cubicBezTo>
                      <a:cubicBezTo>
                        <a:pt x="101725" y="146930"/>
                        <a:pt x="108490" y="154359"/>
                        <a:pt x="108013" y="163123"/>
                      </a:cubicBezTo>
                      <a:cubicBezTo>
                        <a:pt x="108013" y="168933"/>
                        <a:pt x="104678" y="174266"/>
                        <a:pt x="99344" y="176743"/>
                      </a:cubicBezTo>
                      <a:cubicBezTo>
                        <a:pt x="91726" y="180458"/>
                        <a:pt x="83342" y="184077"/>
                        <a:pt x="74675" y="187792"/>
                      </a:cubicBezTo>
                      <a:lnTo>
                        <a:pt x="74675" y="270470"/>
                      </a:lnTo>
                      <a:cubicBezTo>
                        <a:pt x="74675" y="293139"/>
                        <a:pt x="63055" y="304760"/>
                        <a:pt x="37338" y="304760"/>
                      </a:cubicBezTo>
                      <a:cubicBezTo>
                        <a:pt x="30955" y="304760"/>
                        <a:pt x="24574" y="304187"/>
                        <a:pt x="18288" y="303140"/>
                      </a:cubicBezTo>
                      <a:cubicBezTo>
                        <a:pt x="10096" y="302188"/>
                        <a:pt x="4094" y="294949"/>
                        <a:pt x="4570" y="286757"/>
                      </a:cubicBezTo>
                      <a:cubicBezTo>
                        <a:pt x="4001" y="277804"/>
                        <a:pt x="10763" y="270184"/>
                        <a:pt x="19716" y="269612"/>
                      </a:cubicBezTo>
                      <a:cubicBezTo>
                        <a:pt x="21048" y="269516"/>
                        <a:pt x="22288" y="269612"/>
                        <a:pt x="23620" y="269802"/>
                      </a:cubicBezTo>
                      <a:cubicBezTo>
                        <a:pt x="26574" y="270470"/>
                        <a:pt x="29527" y="270755"/>
                        <a:pt x="32576" y="270755"/>
                      </a:cubicBezTo>
                      <a:cubicBezTo>
                        <a:pt x="37622" y="270755"/>
                        <a:pt x="39243" y="269136"/>
                        <a:pt x="39243" y="263802"/>
                      </a:cubicBezTo>
                      <a:lnTo>
                        <a:pt x="39243" y="200460"/>
                      </a:lnTo>
                      <a:cubicBezTo>
                        <a:pt x="31908" y="202747"/>
                        <a:pt x="24955" y="205128"/>
                        <a:pt x="18288" y="206747"/>
                      </a:cubicBezTo>
                      <a:cubicBezTo>
                        <a:pt x="16667" y="207128"/>
                        <a:pt x="14953" y="207414"/>
                        <a:pt x="13240" y="207414"/>
                      </a:cubicBezTo>
                      <a:cubicBezTo>
                        <a:pt x="3905" y="207128"/>
                        <a:pt x="-3334" y="199317"/>
                        <a:pt x="-3050" y="189983"/>
                      </a:cubicBezTo>
                      <a:cubicBezTo>
                        <a:pt x="-3050" y="189983"/>
                        <a:pt x="-3050" y="189887"/>
                        <a:pt x="-3050" y="189792"/>
                      </a:cubicBezTo>
                      <a:cubicBezTo>
                        <a:pt x="-3143" y="182173"/>
                        <a:pt x="2189" y="175505"/>
                        <a:pt x="9619" y="173791"/>
                      </a:cubicBezTo>
                      <a:cubicBezTo>
                        <a:pt x="19144" y="171124"/>
                        <a:pt x="28669" y="168076"/>
                        <a:pt x="39243" y="164266"/>
                      </a:cubicBezTo>
                      <a:lnTo>
                        <a:pt x="39243" y="100924"/>
                      </a:lnTo>
                      <a:lnTo>
                        <a:pt x="13905" y="100924"/>
                      </a:lnTo>
                      <a:cubicBezTo>
                        <a:pt x="5047" y="99210"/>
                        <a:pt x="-762" y="90733"/>
                        <a:pt x="952" y="81874"/>
                      </a:cubicBezTo>
                      <a:cubicBezTo>
                        <a:pt x="2189" y="75303"/>
                        <a:pt x="7333" y="70159"/>
                        <a:pt x="13905" y="68920"/>
                      </a:cubicBezTo>
                      <a:lnTo>
                        <a:pt x="39243" y="68920"/>
                      </a:lnTo>
                      <a:lnTo>
                        <a:pt x="39243" y="13295"/>
                      </a:lnTo>
                      <a:cubicBezTo>
                        <a:pt x="39243" y="3770"/>
                        <a:pt x="48768" y="-1088"/>
                        <a:pt x="56958" y="-1088"/>
                      </a:cubicBezTo>
                      <a:cubicBezTo>
                        <a:pt x="65150" y="-1088"/>
                        <a:pt x="74580" y="3579"/>
                        <a:pt x="74580" y="13295"/>
                      </a:cubicBezTo>
                      <a:lnTo>
                        <a:pt x="74580" y="68920"/>
                      </a:lnTo>
                      <a:close/>
                      <a:moveTo>
                        <a:pt x="191357" y="15104"/>
                      </a:moveTo>
                      <a:cubicBezTo>
                        <a:pt x="191357" y="5579"/>
                        <a:pt x="200405" y="1389"/>
                        <a:pt x="209453" y="1389"/>
                      </a:cubicBezTo>
                      <a:cubicBezTo>
                        <a:pt x="218502" y="1389"/>
                        <a:pt x="227457" y="5770"/>
                        <a:pt x="227457" y="15104"/>
                      </a:cubicBezTo>
                      <a:lnTo>
                        <a:pt x="227457" y="50441"/>
                      </a:lnTo>
                      <a:lnTo>
                        <a:pt x="283749" y="50441"/>
                      </a:lnTo>
                      <a:cubicBezTo>
                        <a:pt x="291846" y="50918"/>
                        <a:pt x="298036" y="57871"/>
                        <a:pt x="297559" y="65967"/>
                      </a:cubicBezTo>
                      <a:cubicBezTo>
                        <a:pt x="297559" y="66253"/>
                        <a:pt x="297464" y="66444"/>
                        <a:pt x="297464" y="66730"/>
                      </a:cubicBezTo>
                      <a:cubicBezTo>
                        <a:pt x="298322" y="74921"/>
                        <a:pt x="292416" y="82160"/>
                        <a:pt x="284225" y="83113"/>
                      </a:cubicBezTo>
                      <a:cubicBezTo>
                        <a:pt x="284035" y="83113"/>
                        <a:pt x="283939" y="83113"/>
                        <a:pt x="283749" y="83113"/>
                      </a:cubicBezTo>
                      <a:lnTo>
                        <a:pt x="164019" y="83113"/>
                      </a:lnTo>
                      <a:cubicBezTo>
                        <a:pt x="155352" y="83113"/>
                        <a:pt x="153066" y="85780"/>
                        <a:pt x="153066" y="92638"/>
                      </a:cubicBezTo>
                      <a:lnTo>
                        <a:pt x="153066" y="118641"/>
                      </a:lnTo>
                      <a:cubicBezTo>
                        <a:pt x="153066" y="193984"/>
                        <a:pt x="142113" y="246371"/>
                        <a:pt x="117729" y="289329"/>
                      </a:cubicBezTo>
                      <a:cubicBezTo>
                        <a:pt x="114394" y="295901"/>
                        <a:pt x="107727" y="300188"/>
                        <a:pt x="100392" y="300378"/>
                      </a:cubicBezTo>
                      <a:cubicBezTo>
                        <a:pt x="91249" y="300759"/>
                        <a:pt x="83533" y="293710"/>
                        <a:pt x="83056" y="284662"/>
                      </a:cubicBezTo>
                      <a:cubicBezTo>
                        <a:pt x="83056" y="281328"/>
                        <a:pt x="84010" y="277994"/>
                        <a:pt x="85724" y="275137"/>
                      </a:cubicBezTo>
                      <a:cubicBezTo>
                        <a:pt x="108680" y="235131"/>
                        <a:pt x="117729" y="192459"/>
                        <a:pt x="117729" y="116450"/>
                      </a:cubicBezTo>
                      <a:lnTo>
                        <a:pt x="117729" y="85780"/>
                      </a:lnTo>
                      <a:cubicBezTo>
                        <a:pt x="117729" y="59777"/>
                        <a:pt x="128681" y="50441"/>
                        <a:pt x="159733" y="50441"/>
                      </a:cubicBezTo>
                      <a:lnTo>
                        <a:pt x="191357" y="50441"/>
                      </a:lnTo>
                      <a:close/>
                      <a:moveTo>
                        <a:pt x="153257" y="292092"/>
                      </a:moveTo>
                      <a:cubicBezTo>
                        <a:pt x="143732" y="292186"/>
                        <a:pt x="135921" y="284471"/>
                        <a:pt x="135921" y="274946"/>
                      </a:cubicBezTo>
                      <a:cubicBezTo>
                        <a:pt x="135825" y="266374"/>
                        <a:pt x="142113" y="259039"/>
                        <a:pt x="150589" y="257801"/>
                      </a:cubicBezTo>
                      <a:cubicBezTo>
                        <a:pt x="153352" y="257421"/>
                        <a:pt x="156210" y="257135"/>
                        <a:pt x="158970" y="257135"/>
                      </a:cubicBezTo>
                      <a:cubicBezTo>
                        <a:pt x="175925" y="210176"/>
                        <a:pt x="188689" y="161885"/>
                        <a:pt x="197070" y="112735"/>
                      </a:cubicBezTo>
                      <a:cubicBezTo>
                        <a:pt x="198977" y="104639"/>
                        <a:pt x="206500" y="99115"/>
                        <a:pt x="214788" y="99781"/>
                      </a:cubicBezTo>
                      <a:cubicBezTo>
                        <a:pt x="225457" y="99781"/>
                        <a:pt x="236410" y="106734"/>
                        <a:pt x="233838" y="118831"/>
                      </a:cubicBezTo>
                      <a:cubicBezTo>
                        <a:pt x="224885" y="164170"/>
                        <a:pt x="212502" y="208748"/>
                        <a:pt x="196787" y="252181"/>
                      </a:cubicBezTo>
                      <a:cubicBezTo>
                        <a:pt x="213455" y="249800"/>
                        <a:pt x="229838" y="246848"/>
                        <a:pt x="246507" y="243799"/>
                      </a:cubicBezTo>
                      <a:cubicBezTo>
                        <a:pt x="241840" y="234846"/>
                        <a:pt x="236982" y="226464"/>
                        <a:pt x="232124" y="219130"/>
                      </a:cubicBezTo>
                      <a:cubicBezTo>
                        <a:pt x="230312" y="216272"/>
                        <a:pt x="229266" y="213034"/>
                        <a:pt x="229171" y="209605"/>
                      </a:cubicBezTo>
                      <a:cubicBezTo>
                        <a:pt x="229647" y="200841"/>
                        <a:pt x="237077" y="194174"/>
                        <a:pt x="245839" y="194555"/>
                      </a:cubicBezTo>
                      <a:cubicBezTo>
                        <a:pt x="252506" y="194745"/>
                        <a:pt x="258699" y="198365"/>
                        <a:pt x="262127" y="204080"/>
                      </a:cubicBezTo>
                      <a:cubicBezTo>
                        <a:pt x="276510" y="225321"/>
                        <a:pt x="289274" y="247610"/>
                        <a:pt x="300227" y="270755"/>
                      </a:cubicBezTo>
                      <a:cubicBezTo>
                        <a:pt x="301562" y="273708"/>
                        <a:pt x="302227" y="277041"/>
                        <a:pt x="302227" y="280280"/>
                      </a:cubicBezTo>
                      <a:cubicBezTo>
                        <a:pt x="301657" y="290377"/>
                        <a:pt x="293274" y="298282"/>
                        <a:pt x="283177" y="298282"/>
                      </a:cubicBezTo>
                      <a:cubicBezTo>
                        <a:pt x="275842" y="298377"/>
                        <a:pt x="269271" y="293806"/>
                        <a:pt x="266794" y="286948"/>
                      </a:cubicBezTo>
                      <a:cubicBezTo>
                        <a:pt x="264794" y="282947"/>
                        <a:pt x="263176" y="278566"/>
                        <a:pt x="261176" y="274279"/>
                      </a:cubicBezTo>
                      <a:cubicBezTo>
                        <a:pt x="225550" y="282567"/>
                        <a:pt x="189452" y="288472"/>
                        <a:pt x="153066" y="292092"/>
                      </a:cubicBezTo>
                      <a:close/>
                    </a:path>
                  </a:pathLst>
                </a:custGeom>
                <a:grpFill/>
                <a:ln w="9525" cap="flat">
                  <a:noFill/>
                  <a:prstDash val="solid"/>
                  <a:miter/>
                </a:ln>
              </p:spPr>
              <p:txBody>
                <a:bodyPr rtlCol="0" anchor="ctr"/>
                <a:lstStyle/>
                <a:p>
                  <a:endParaRPr lang="ja-JP" altLang="en-US"/>
                </a:p>
              </p:txBody>
            </p:sp>
            <p:sp>
              <p:nvSpPr>
                <p:cNvPr id="33" name="フリーフォーム: 図形 32">
                  <a:extLst>
                    <a:ext uri="{FF2B5EF4-FFF2-40B4-BE49-F238E27FC236}">
                      <a16:creationId xmlns:a16="http://schemas.microsoft.com/office/drawing/2014/main" id="{DE373094-13F3-8861-1BB2-B522BCBD49F1}"/>
                    </a:ext>
                  </a:extLst>
                </p:cNvPr>
                <p:cNvSpPr/>
                <p:nvPr/>
              </p:nvSpPr>
              <p:spPr>
                <a:xfrm>
                  <a:off x="7828330" y="3508056"/>
                  <a:ext cx="315801" cy="309617"/>
                </a:xfrm>
                <a:custGeom>
                  <a:avLst/>
                  <a:gdLst>
                    <a:gd name="connsiteX0" fmla="*/ 42615 w 315801"/>
                    <a:gd name="connsiteY0" fmla="*/ 66684 h 309617"/>
                    <a:gd name="connsiteX1" fmla="*/ 19277 w 315801"/>
                    <a:gd name="connsiteY1" fmla="*/ 66684 h 309617"/>
                    <a:gd name="connsiteX2" fmla="*/ 6992 w 315801"/>
                    <a:gd name="connsiteY2" fmla="*/ 49635 h 309617"/>
                    <a:gd name="connsiteX3" fmla="*/ 19277 w 315801"/>
                    <a:gd name="connsiteY3" fmla="*/ 37347 h 309617"/>
                    <a:gd name="connsiteX4" fmla="*/ 42615 w 315801"/>
                    <a:gd name="connsiteY4" fmla="*/ 37347 h 309617"/>
                    <a:gd name="connsiteX5" fmla="*/ 42615 w 315801"/>
                    <a:gd name="connsiteY5" fmla="*/ 12678 h 309617"/>
                    <a:gd name="connsiteX6" fmla="*/ 58712 w 315801"/>
                    <a:gd name="connsiteY6" fmla="*/ -1039 h 309617"/>
                    <a:gd name="connsiteX7" fmla="*/ 59379 w 315801"/>
                    <a:gd name="connsiteY7" fmla="*/ -944 h 309617"/>
                    <a:gd name="connsiteX8" fmla="*/ 75667 w 315801"/>
                    <a:gd name="connsiteY8" fmla="*/ 12201 h 309617"/>
                    <a:gd name="connsiteX9" fmla="*/ 75667 w 315801"/>
                    <a:gd name="connsiteY9" fmla="*/ 12678 h 309617"/>
                    <a:gd name="connsiteX10" fmla="*/ 75667 w 315801"/>
                    <a:gd name="connsiteY10" fmla="*/ 37347 h 309617"/>
                    <a:gd name="connsiteX11" fmla="*/ 102051 w 315801"/>
                    <a:gd name="connsiteY11" fmla="*/ 37347 h 309617"/>
                    <a:gd name="connsiteX12" fmla="*/ 102051 w 315801"/>
                    <a:gd name="connsiteY12" fmla="*/ 12678 h 309617"/>
                    <a:gd name="connsiteX13" fmla="*/ 121576 w 315801"/>
                    <a:gd name="connsiteY13" fmla="*/ -753 h 309617"/>
                    <a:gd name="connsiteX14" fmla="*/ 135007 w 315801"/>
                    <a:gd name="connsiteY14" fmla="*/ 12678 h 309617"/>
                    <a:gd name="connsiteX15" fmla="*/ 135007 w 315801"/>
                    <a:gd name="connsiteY15" fmla="*/ 37347 h 309617"/>
                    <a:gd name="connsiteX16" fmla="*/ 155390 w 315801"/>
                    <a:gd name="connsiteY16" fmla="*/ 37347 h 309617"/>
                    <a:gd name="connsiteX17" fmla="*/ 167678 w 315801"/>
                    <a:gd name="connsiteY17" fmla="*/ 54397 h 309617"/>
                    <a:gd name="connsiteX18" fmla="*/ 155390 w 315801"/>
                    <a:gd name="connsiteY18" fmla="*/ 66684 h 309617"/>
                    <a:gd name="connsiteX19" fmla="*/ 135007 w 315801"/>
                    <a:gd name="connsiteY19" fmla="*/ 66684 h 309617"/>
                    <a:gd name="connsiteX20" fmla="*/ 135007 w 315801"/>
                    <a:gd name="connsiteY20" fmla="*/ 93354 h 309617"/>
                    <a:gd name="connsiteX21" fmla="*/ 159676 w 315801"/>
                    <a:gd name="connsiteY21" fmla="*/ 93354 h 309617"/>
                    <a:gd name="connsiteX22" fmla="*/ 172631 w 315801"/>
                    <a:gd name="connsiteY22" fmla="*/ 110404 h 309617"/>
                    <a:gd name="connsiteX23" fmla="*/ 159676 w 315801"/>
                    <a:gd name="connsiteY23" fmla="*/ 123358 h 309617"/>
                    <a:gd name="connsiteX24" fmla="*/ 10038 w 315801"/>
                    <a:gd name="connsiteY24" fmla="*/ 123358 h 309617"/>
                    <a:gd name="connsiteX25" fmla="*/ -2914 w 315801"/>
                    <a:gd name="connsiteY25" fmla="*/ 106308 h 309617"/>
                    <a:gd name="connsiteX26" fmla="*/ 10038 w 315801"/>
                    <a:gd name="connsiteY26" fmla="*/ 93354 h 309617"/>
                    <a:gd name="connsiteX27" fmla="*/ 42615 w 315801"/>
                    <a:gd name="connsiteY27" fmla="*/ 93354 h 309617"/>
                    <a:gd name="connsiteX28" fmla="*/ 58331 w 315801"/>
                    <a:gd name="connsiteY28" fmla="*/ 251374 h 309617"/>
                    <a:gd name="connsiteX29" fmla="*/ 58331 w 315801"/>
                    <a:gd name="connsiteY29" fmla="*/ 294713 h 309617"/>
                    <a:gd name="connsiteX30" fmla="*/ 38518 w 315801"/>
                    <a:gd name="connsiteY30" fmla="*/ 308238 h 309617"/>
                    <a:gd name="connsiteX31" fmla="*/ 24993 w 315801"/>
                    <a:gd name="connsiteY31" fmla="*/ 294713 h 309617"/>
                    <a:gd name="connsiteX32" fmla="*/ 24993 w 315801"/>
                    <a:gd name="connsiteY32" fmla="*/ 172697 h 309617"/>
                    <a:gd name="connsiteX33" fmla="*/ 63951 w 315801"/>
                    <a:gd name="connsiteY33" fmla="*/ 139359 h 309617"/>
                    <a:gd name="connsiteX34" fmla="*/ 115385 w 315801"/>
                    <a:gd name="connsiteY34" fmla="*/ 139359 h 309617"/>
                    <a:gd name="connsiteX35" fmla="*/ 152058 w 315801"/>
                    <a:gd name="connsiteY35" fmla="*/ 172697 h 309617"/>
                    <a:gd name="connsiteX36" fmla="*/ 152058 w 315801"/>
                    <a:gd name="connsiteY36" fmla="*/ 270042 h 309617"/>
                    <a:gd name="connsiteX37" fmla="*/ 116339 w 315801"/>
                    <a:gd name="connsiteY37" fmla="*/ 305095 h 309617"/>
                    <a:gd name="connsiteX38" fmla="*/ 100716 w 315801"/>
                    <a:gd name="connsiteY38" fmla="*/ 303761 h 309617"/>
                    <a:gd name="connsiteX39" fmla="*/ 87668 w 315801"/>
                    <a:gd name="connsiteY39" fmla="*/ 288426 h 309617"/>
                    <a:gd name="connsiteX40" fmla="*/ 100526 w 315801"/>
                    <a:gd name="connsiteY40" fmla="*/ 272995 h 309617"/>
                    <a:gd name="connsiteX41" fmla="*/ 103670 w 315801"/>
                    <a:gd name="connsiteY41" fmla="*/ 273091 h 309617"/>
                    <a:gd name="connsiteX42" fmla="*/ 113195 w 315801"/>
                    <a:gd name="connsiteY42" fmla="*/ 274043 h 309617"/>
                    <a:gd name="connsiteX43" fmla="*/ 118911 w 315801"/>
                    <a:gd name="connsiteY43" fmla="*/ 266423 h 309617"/>
                    <a:gd name="connsiteX44" fmla="*/ 118911 w 315801"/>
                    <a:gd name="connsiteY44" fmla="*/ 251374 h 309617"/>
                    <a:gd name="connsiteX45" fmla="*/ 118720 w 315801"/>
                    <a:gd name="connsiteY45" fmla="*/ 174031 h 309617"/>
                    <a:gd name="connsiteX46" fmla="*/ 110337 w 315801"/>
                    <a:gd name="connsiteY46" fmla="*/ 166696 h 309617"/>
                    <a:gd name="connsiteX47" fmla="*/ 67665 w 315801"/>
                    <a:gd name="connsiteY47" fmla="*/ 166696 h 309617"/>
                    <a:gd name="connsiteX48" fmla="*/ 58140 w 315801"/>
                    <a:gd name="connsiteY48" fmla="*/ 174031 h 309617"/>
                    <a:gd name="connsiteX49" fmla="*/ 58140 w 315801"/>
                    <a:gd name="connsiteY49" fmla="*/ 183556 h 309617"/>
                    <a:gd name="connsiteX50" fmla="*/ 118529 w 315801"/>
                    <a:gd name="connsiteY50" fmla="*/ 183556 h 309617"/>
                    <a:gd name="connsiteX51" fmla="*/ 118720 w 315801"/>
                    <a:gd name="connsiteY51" fmla="*/ 209368 h 309617"/>
                    <a:gd name="connsiteX52" fmla="*/ 58331 w 315801"/>
                    <a:gd name="connsiteY52" fmla="*/ 209368 h 309617"/>
                    <a:gd name="connsiteX53" fmla="*/ 58331 w 315801"/>
                    <a:gd name="connsiteY53" fmla="*/ 226513 h 309617"/>
                    <a:gd name="connsiteX54" fmla="*/ 118720 w 315801"/>
                    <a:gd name="connsiteY54" fmla="*/ 226513 h 309617"/>
                    <a:gd name="connsiteX55" fmla="*/ 75667 w 315801"/>
                    <a:gd name="connsiteY55" fmla="*/ 93354 h 309617"/>
                    <a:gd name="connsiteX56" fmla="*/ 102051 w 315801"/>
                    <a:gd name="connsiteY56" fmla="*/ 93354 h 309617"/>
                    <a:gd name="connsiteX57" fmla="*/ 102051 w 315801"/>
                    <a:gd name="connsiteY57" fmla="*/ 66684 h 309617"/>
                    <a:gd name="connsiteX58" fmla="*/ 75667 w 315801"/>
                    <a:gd name="connsiteY58" fmla="*/ 66684 h 309617"/>
                    <a:gd name="connsiteX59" fmla="*/ 287026 w 315801"/>
                    <a:gd name="connsiteY59" fmla="*/ 101355 h 309617"/>
                    <a:gd name="connsiteX60" fmla="*/ 257688 w 315801"/>
                    <a:gd name="connsiteY60" fmla="*/ 215084 h 309617"/>
                    <a:gd name="connsiteX61" fmla="*/ 303695 w 315801"/>
                    <a:gd name="connsiteY61" fmla="*/ 265090 h 309617"/>
                    <a:gd name="connsiteX62" fmla="*/ 312743 w 315801"/>
                    <a:gd name="connsiteY62" fmla="*/ 281092 h 309617"/>
                    <a:gd name="connsiteX63" fmla="*/ 294742 w 315801"/>
                    <a:gd name="connsiteY63" fmla="*/ 298713 h 309617"/>
                    <a:gd name="connsiteX64" fmla="*/ 282073 w 315801"/>
                    <a:gd name="connsiteY64" fmla="*/ 293761 h 309617"/>
                    <a:gd name="connsiteX65" fmla="*/ 239020 w 315801"/>
                    <a:gd name="connsiteY65" fmla="*/ 246706 h 309617"/>
                    <a:gd name="connsiteX66" fmla="*/ 186060 w 315801"/>
                    <a:gd name="connsiteY66" fmla="*/ 301761 h 309617"/>
                    <a:gd name="connsiteX67" fmla="*/ 175393 w 315801"/>
                    <a:gd name="connsiteY67" fmla="*/ 305381 h 309617"/>
                    <a:gd name="connsiteX68" fmla="*/ 159392 w 315801"/>
                    <a:gd name="connsiteY68" fmla="*/ 290046 h 309617"/>
                    <a:gd name="connsiteX69" fmla="*/ 167391 w 315801"/>
                    <a:gd name="connsiteY69" fmla="*/ 275758 h 309617"/>
                    <a:gd name="connsiteX70" fmla="*/ 221018 w 315801"/>
                    <a:gd name="connsiteY70" fmla="*/ 216416 h 309617"/>
                    <a:gd name="connsiteX71" fmla="*/ 197015 w 315801"/>
                    <a:gd name="connsiteY71" fmla="*/ 151075 h 309617"/>
                    <a:gd name="connsiteX72" fmla="*/ 183395 w 315801"/>
                    <a:gd name="connsiteY72" fmla="*/ 157362 h 309617"/>
                    <a:gd name="connsiteX73" fmla="*/ 166059 w 315801"/>
                    <a:gd name="connsiteY73" fmla="*/ 141360 h 309617"/>
                    <a:gd name="connsiteX74" fmla="*/ 166059 w 315801"/>
                    <a:gd name="connsiteY74" fmla="*/ 141360 h 309617"/>
                    <a:gd name="connsiteX75" fmla="*/ 168726 w 315801"/>
                    <a:gd name="connsiteY75" fmla="*/ 132406 h 309617"/>
                    <a:gd name="connsiteX76" fmla="*/ 210349 w 315801"/>
                    <a:gd name="connsiteY76" fmla="*/ 14391 h 309617"/>
                    <a:gd name="connsiteX77" fmla="*/ 227399 w 315801"/>
                    <a:gd name="connsiteY77" fmla="*/ 1056 h 309617"/>
                    <a:gd name="connsiteX78" fmla="*/ 245022 w 315801"/>
                    <a:gd name="connsiteY78" fmla="*/ 20106 h 309617"/>
                    <a:gd name="connsiteX79" fmla="*/ 231399 w 315801"/>
                    <a:gd name="connsiteY79" fmla="*/ 69446 h 309617"/>
                    <a:gd name="connsiteX80" fmla="*/ 297028 w 315801"/>
                    <a:gd name="connsiteY80" fmla="*/ 69446 h 309617"/>
                    <a:gd name="connsiteX81" fmla="*/ 309980 w 315801"/>
                    <a:gd name="connsiteY81" fmla="*/ 88496 h 309617"/>
                    <a:gd name="connsiteX82" fmla="*/ 297028 w 315801"/>
                    <a:gd name="connsiteY82" fmla="*/ 101450 h 309617"/>
                    <a:gd name="connsiteX83" fmla="*/ 220351 w 315801"/>
                    <a:gd name="connsiteY83" fmla="*/ 101355 h 309617"/>
                    <a:gd name="connsiteX84" fmla="*/ 218351 w 315801"/>
                    <a:gd name="connsiteY84" fmla="*/ 107070 h 309617"/>
                    <a:gd name="connsiteX85" fmla="*/ 225304 w 315801"/>
                    <a:gd name="connsiteY85" fmla="*/ 141741 h 309617"/>
                    <a:gd name="connsiteX86" fmla="*/ 238638 w 315801"/>
                    <a:gd name="connsiteY86" fmla="*/ 179079 h 309617"/>
                    <a:gd name="connsiteX87" fmla="*/ 254356 w 315801"/>
                    <a:gd name="connsiteY87" fmla="*/ 101355 h 3096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Lst>
                  <a:rect l="l" t="t" r="r" b="b"/>
                  <a:pathLst>
                    <a:path w="315801" h="309617">
                      <a:moveTo>
                        <a:pt x="42615" y="66684"/>
                      </a:moveTo>
                      <a:lnTo>
                        <a:pt x="19277" y="66684"/>
                      </a:lnTo>
                      <a:cubicBezTo>
                        <a:pt x="11182" y="65350"/>
                        <a:pt x="5657" y="57731"/>
                        <a:pt x="6992" y="49635"/>
                      </a:cubicBezTo>
                      <a:cubicBezTo>
                        <a:pt x="8038" y="43348"/>
                        <a:pt x="12992" y="38395"/>
                        <a:pt x="19277" y="37347"/>
                      </a:cubicBezTo>
                      <a:lnTo>
                        <a:pt x="42615" y="37347"/>
                      </a:lnTo>
                      <a:lnTo>
                        <a:pt x="42615" y="12678"/>
                      </a:lnTo>
                      <a:cubicBezTo>
                        <a:pt x="43280" y="4485"/>
                        <a:pt x="50520" y="-1705"/>
                        <a:pt x="58712" y="-1039"/>
                      </a:cubicBezTo>
                      <a:cubicBezTo>
                        <a:pt x="58998" y="-1039"/>
                        <a:pt x="59189" y="-944"/>
                        <a:pt x="59379" y="-944"/>
                      </a:cubicBezTo>
                      <a:cubicBezTo>
                        <a:pt x="67474" y="-1801"/>
                        <a:pt x="74713" y="4105"/>
                        <a:pt x="75667" y="12201"/>
                      </a:cubicBezTo>
                      <a:cubicBezTo>
                        <a:pt x="75667" y="12296"/>
                        <a:pt x="75667" y="12487"/>
                        <a:pt x="75667" y="12678"/>
                      </a:cubicBezTo>
                      <a:lnTo>
                        <a:pt x="75667" y="37347"/>
                      </a:lnTo>
                      <a:lnTo>
                        <a:pt x="102051" y="37347"/>
                      </a:lnTo>
                      <a:lnTo>
                        <a:pt x="102051" y="12678"/>
                      </a:lnTo>
                      <a:cubicBezTo>
                        <a:pt x="103765" y="3533"/>
                        <a:pt x="112527" y="-2468"/>
                        <a:pt x="121576" y="-753"/>
                      </a:cubicBezTo>
                      <a:cubicBezTo>
                        <a:pt x="128436" y="581"/>
                        <a:pt x="133768" y="5914"/>
                        <a:pt x="135007" y="12678"/>
                      </a:cubicBezTo>
                      <a:lnTo>
                        <a:pt x="135007" y="37347"/>
                      </a:lnTo>
                      <a:lnTo>
                        <a:pt x="155390" y="37347"/>
                      </a:lnTo>
                      <a:cubicBezTo>
                        <a:pt x="163487" y="38681"/>
                        <a:pt x="169012" y="46300"/>
                        <a:pt x="167678" y="54397"/>
                      </a:cubicBezTo>
                      <a:cubicBezTo>
                        <a:pt x="166631" y="60683"/>
                        <a:pt x="161678" y="65636"/>
                        <a:pt x="155390" y="66684"/>
                      </a:cubicBezTo>
                      <a:lnTo>
                        <a:pt x="135007" y="66684"/>
                      </a:lnTo>
                      <a:lnTo>
                        <a:pt x="135007" y="93354"/>
                      </a:lnTo>
                      <a:lnTo>
                        <a:pt x="159676" y="93354"/>
                      </a:lnTo>
                      <a:cubicBezTo>
                        <a:pt x="167964" y="94497"/>
                        <a:pt x="173775" y="102116"/>
                        <a:pt x="172631" y="110404"/>
                      </a:cubicBezTo>
                      <a:cubicBezTo>
                        <a:pt x="171677" y="117167"/>
                        <a:pt x="166440" y="122405"/>
                        <a:pt x="159676" y="123358"/>
                      </a:cubicBezTo>
                      <a:lnTo>
                        <a:pt x="10038" y="123358"/>
                      </a:lnTo>
                      <a:cubicBezTo>
                        <a:pt x="1753" y="122215"/>
                        <a:pt x="-4059" y="114595"/>
                        <a:pt x="-2914" y="106308"/>
                      </a:cubicBezTo>
                      <a:cubicBezTo>
                        <a:pt x="-1963" y="99546"/>
                        <a:pt x="3276" y="94306"/>
                        <a:pt x="10038" y="93354"/>
                      </a:cubicBezTo>
                      <a:lnTo>
                        <a:pt x="42615" y="93354"/>
                      </a:lnTo>
                      <a:close/>
                      <a:moveTo>
                        <a:pt x="58331" y="251374"/>
                      </a:moveTo>
                      <a:lnTo>
                        <a:pt x="58331" y="294713"/>
                      </a:lnTo>
                      <a:cubicBezTo>
                        <a:pt x="56617" y="303952"/>
                        <a:pt x="47757" y="309953"/>
                        <a:pt x="38518" y="308238"/>
                      </a:cubicBezTo>
                      <a:cubicBezTo>
                        <a:pt x="31660" y="306999"/>
                        <a:pt x="26233" y="301570"/>
                        <a:pt x="24993" y="294713"/>
                      </a:cubicBezTo>
                      <a:lnTo>
                        <a:pt x="24993" y="172697"/>
                      </a:lnTo>
                      <a:cubicBezTo>
                        <a:pt x="24993" y="148028"/>
                        <a:pt x="34518" y="139359"/>
                        <a:pt x="63951" y="139359"/>
                      </a:cubicBezTo>
                      <a:lnTo>
                        <a:pt x="115385" y="139359"/>
                      </a:lnTo>
                      <a:cubicBezTo>
                        <a:pt x="142723" y="139359"/>
                        <a:pt x="152058" y="148028"/>
                        <a:pt x="152058" y="172697"/>
                      </a:cubicBezTo>
                      <a:lnTo>
                        <a:pt x="152058" y="270042"/>
                      </a:lnTo>
                      <a:cubicBezTo>
                        <a:pt x="152058" y="295093"/>
                        <a:pt x="141388" y="305095"/>
                        <a:pt x="116339" y="305095"/>
                      </a:cubicBezTo>
                      <a:cubicBezTo>
                        <a:pt x="111100" y="305095"/>
                        <a:pt x="105860" y="304618"/>
                        <a:pt x="100716" y="303761"/>
                      </a:cubicBezTo>
                      <a:cubicBezTo>
                        <a:pt x="93001" y="302904"/>
                        <a:pt x="87287" y="296142"/>
                        <a:pt x="87668" y="288426"/>
                      </a:cubicBezTo>
                      <a:cubicBezTo>
                        <a:pt x="87001" y="280616"/>
                        <a:pt x="92717" y="273757"/>
                        <a:pt x="100526" y="272995"/>
                      </a:cubicBezTo>
                      <a:cubicBezTo>
                        <a:pt x="101575" y="272900"/>
                        <a:pt x="102621" y="272995"/>
                        <a:pt x="103670" y="273091"/>
                      </a:cubicBezTo>
                      <a:cubicBezTo>
                        <a:pt x="106814" y="273662"/>
                        <a:pt x="109955" y="273948"/>
                        <a:pt x="113195" y="274043"/>
                      </a:cubicBezTo>
                      <a:cubicBezTo>
                        <a:pt x="117576" y="274043"/>
                        <a:pt x="118911" y="272423"/>
                        <a:pt x="118911" y="266423"/>
                      </a:cubicBezTo>
                      <a:lnTo>
                        <a:pt x="118911" y="251374"/>
                      </a:lnTo>
                      <a:close/>
                      <a:moveTo>
                        <a:pt x="118720" y="174031"/>
                      </a:moveTo>
                      <a:cubicBezTo>
                        <a:pt x="118720" y="167744"/>
                        <a:pt x="117004" y="166696"/>
                        <a:pt x="110337" y="166696"/>
                      </a:cubicBezTo>
                      <a:lnTo>
                        <a:pt x="67665" y="166696"/>
                      </a:lnTo>
                      <a:cubicBezTo>
                        <a:pt x="60045" y="166696"/>
                        <a:pt x="58140" y="168697"/>
                        <a:pt x="58140" y="174031"/>
                      </a:cubicBezTo>
                      <a:lnTo>
                        <a:pt x="58140" y="183556"/>
                      </a:lnTo>
                      <a:lnTo>
                        <a:pt x="118529" y="183556"/>
                      </a:lnTo>
                      <a:close/>
                      <a:moveTo>
                        <a:pt x="118720" y="209368"/>
                      </a:moveTo>
                      <a:lnTo>
                        <a:pt x="58331" y="209368"/>
                      </a:lnTo>
                      <a:lnTo>
                        <a:pt x="58331" y="226513"/>
                      </a:lnTo>
                      <a:lnTo>
                        <a:pt x="118720" y="226513"/>
                      </a:lnTo>
                      <a:close/>
                      <a:moveTo>
                        <a:pt x="75667" y="93354"/>
                      </a:moveTo>
                      <a:lnTo>
                        <a:pt x="102051" y="93354"/>
                      </a:lnTo>
                      <a:lnTo>
                        <a:pt x="102051" y="66684"/>
                      </a:lnTo>
                      <a:lnTo>
                        <a:pt x="75667" y="66684"/>
                      </a:lnTo>
                      <a:close/>
                      <a:moveTo>
                        <a:pt x="287026" y="101355"/>
                      </a:moveTo>
                      <a:cubicBezTo>
                        <a:pt x="284549" y="140788"/>
                        <a:pt x="274548" y="179365"/>
                        <a:pt x="257688" y="215084"/>
                      </a:cubicBezTo>
                      <a:cubicBezTo>
                        <a:pt x="270167" y="234229"/>
                        <a:pt x="285694" y="251088"/>
                        <a:pt x="303695" y="265090"/>
                      </a:cubicBezTo>
                      <a:cubicBezTo>
                        <a:pt x="309029" y="268710"/>
                        <a:pt x="312457" y="274615"/>
                        <a:pt x="312743" y="281092"/>
                      </a:cubicBezTo>
                      <a:cubicBezTo>
                        <a:pt x="312362" y="290807"/>
                        <a:pt x="304458" y="298523"/>
                        <a:pt x="294742" y="298713"/>
                      </a:cubicBezTo>
                      <a:cubicBezTo>
                        <a:pt x="290075" y="298523"/>
                        <a:pt x="285598" y="296808"/>
                        <a:pt x="282073" y="293761"/>
                      </a:cubicBezTo>
                      <a:cubicBezTo>
                        <a:pt x="265690" y="280044"/>
                        <a:pt x="251212" y="264232"/>
                        <a:pt x="239020" y="246706"/>
                      </a:cubicBezTo>
                      <a:cubicBezTo>
                        <a:pt x="224351" y="267756"/>
                        <a:pt x="206540" y="286331"/>
                        <a:pt x="186060" y="301761"/>
                      </a:cubicBezTo>
                      <a:cubicBezTo>
                        <a:pt x="183014" y="304047"/>
                        <a:pt x="179202" y="305381"/>
                        <a:pt x="175393" y="305381"/>
                      </a:cubicBezTo>
                      <a:cubicBezTo>
                        <a:pt x="166726" y="305476"/>
                        <a:pt x="159676" y="298713"/>
                        <a:pt x="159392" y="290046"/>
                      </a:cubicBezTo>
                      <a:cubicBezTo>
                        <a:pt x="159583" y="284236"/>
                        <a:pt x="162534" y="278901"/>
                        <a:pt x="167391" y="275758"/>
                      </a:cubicBezTo>
                      <a:cubicBezTo>
                        <a:pt x="189013" y="259660"/>
                        <a:pt x="207208" y="239467"/>
                        <a:pt x="221018" y="216416"/>
                      </a:cubicBezTo>
                      <a:cubicBezTo>
                        <a:pt x="210445" y="195653"/>
                        <a:pt x="202350" y="173745"/>
                        <a:pt x="197015" y="151075"/>
                      </a:cubicBezTo>
                      <a:cubicBezTo>
                        <a:pt x="193490" y="154981"/>
                        <a:pt x="188632" y="157171"/>
                        <a:pt x="183395" y="157362"/>
                      </a:cubicBezTo>
                      <a:cubicBezTo>
                        <a:pt x="174154" y="157743"/>
                        <a:pt x="166440" y="150599"/>
                        <a:pt x="166059" y="141360"/>
                      </a:cubicBezTo>
                      <a:cubicBezTo>
                        <a:pt x="166059" y="141360"/>
                        <a:pt x="166059" y="141360"/>
                        <a:pt x="166059" y="141360"/>
                      </a:cubicBezTo>
                      <a:cubicBezTo>
                        <a:pt x="166250" y="138217"/>
                        <a:pt x="167105" y="135169"/>
                        <a:pt x="168726" y="132406"/>
                      </a:cubicBezTo>
                      <a:cubicBezTo>
                        <a:pt x="188251" y="95259"/>
                        <a:pt x="202254" y="55540"/>
                        <a:pt x="210349" y="14391"/>
                      </a:cubicBezTo>
                      <a:cubicBezTo>
                        <a:pt x="211875" y="6295"/>
                        <a:pt x="219207" y="581"/>
                        <a:pt x="227399" y="1056"/>
                      </a:cubicBezTo>
                      <a:cubicBezTo>
                        <a:pt x="237401" y="1056"/>
                        <a:pt x="247689" y="8010"/>
                        <a:pt x="245022" y="20106"/>
                      </a:cubicBezTo>
                      <a:cubicBezTo>
                        <a:pt x="241401" y="36490"/>
                        <a:pt x="236734" y="53159"/>
                        <a:pt x="231399" y="69446"/>
                      </a:cubicBezTo>
                      <a:lnTo>
                        <a:pt x="297028" y="69446"/>
                      </a:lnTo>
                      <a:cubicBezTo>
                        <a:pt x="305885" y="71160"/>
                        <a:pt x="311697" y="79638"/>
                        <a:pt x="309980" y="88496"/>
                      </a:cubicBezTo>
                      <a:cubicBezTo>
                        <a:pt x="308743" y="95068"/>
                        <a:pt x="303599" y="100212"/>
                        <a:pt x="297028" y="101450"/>
                      </a:cubicBezTo>
                      <a:close/>
                      <a:moveTo>
                        <a:pt x="220351" y="101355"/>
                      </a:moveTo>
                      <a:cubicBezTo>
                        <a:pt x="219684" y="103355"/>
                        <a:pt x="219019" y="105070"/>
                        <a:pt x="218351" y="107070"/>
                      </a:cubicBezTo>
                      <a:cubicBezTo>
                        <a:pt x="220351" y="118691"/>
                        <a:pt x="222351" y="130407"/>
                        <a:pt x="225304" y="141741"/>
                      </a:cubicBezTo>
                      <a:cubicBezTo>
                        <a:pt x="229018" y="154410"/>
                        <a:pt x="233494" y="166887"/>
                        <a:pt x="238638" y="179079"/>
                      </a:cubicBezTo>
                      <a:cubicBezTo>
                        <a:pt x="247403" y="154028"/>
                        <a:pt x="252640" y="127835"/>
                        <a:pt x="254356" y="101355"/>
                      </a:cubicBezTo>
                      <a:close/>
                    </a:path>
                  </a:pathLst>
                </a:custGeom>
                <a:grpFill/>
                <a:ln w="9525" cap="flat">
                  <a:noFill/>
                  <a:prstDash val="solid"/>
                  <a:miter/>
                </a:ln>
              </p:spPr>
              <p:txBody>
                <a:bodyPr rtlCol="0" anchor="ctr"/>
                <a:lstStyle/>
                <a:p>
                  <a:endParaRPr lang="ja-JP" altLang="en-US"/>
                </a:p>
              </p:txBody>
            </p:sp>
            <p:sp>
              <p:nvSpPr>
                <p:cNvPr id="34" name="フリーフォーム: 図形 33">
                  <a:extLst>
                    <a:ext uri="{FF2B5EF4-FFF2-40B4-BE49-F238E27FC236}">
                      <a16:creationId xmlns:a16="http://schemas.microsoft.com/office/drawing/2014/main" id="{50F988CA-5E57-418E-4506-9FE106E2AA2F}"/>
                    </a:ext>
                  </a:extLst>
                </p:cNvPr>
                <p:cNvSpPr/>
                <p:nvPr/>
              </p:nvSpPr>
              <p:spPr>
                <a:xfrm>
                  <a:off x="8244191" y="3525060"/>
                  <a:ext cx="50507" cy="265129"/>
                </a:xfrm>
                <a:custGeom>
                  <a:avLst/>
                  <a:gdLst>
                    <a:gd name="connsiteX0" fmla="*/ 47378 w 50507"/>
                    <a:gd name="connsiteY0" fmla="*/ 240370 h 265129"/>
                    <a:gd name="connsiteX1" fmla="*/ 20612 w 50507"/>
                    <a:gd name="connsiteY1" fmla="*/ 263992 h 265129"/>
                    <a:gd name="connsiteX2" fmla="*/ -3010 w 50507"/>
                    <a:gd name="connsiteY2" fmla="*/ 240370 h 265129"/>
                    <a:gd name="connsiteX3" fmla="*/ 20612 w 50507"/>
                    <a:gd name="connsiteY3" fmla="*/ 213606 h 265129"/>
                    <a:gd name="connsiteX4" fmla="*/ 47378 w 50507"/>
                    <a:gd name="connsiteY4" fmla="*/ 237228 h 265129"/>
                    <a:gd name="connsiteX5" fmla="*/ 47378 w 50507"/>
                    <a:gd name="connsiteY5" fmla="*/ 240370 h 265129"/>
                    <a:gd name="connsiteX6" fmla="*/ -1391 w 50507"/>
                    <a:gd name="connsiteY6" fmla="*/ 22724 h 265129"/>
                    <a:gd name="connsiteX7" fmla="*/ 22421 w 50507"/>
                    <a:gd name="connsiteY7" fmla="*/ -1088 h 265129"/>
                    <a:gd name="connsiteX8" fmla="*/ 46234 w 50507"/>
                    <a:gd name="connsiteY8" fmla="*/ 22724 h 265129"/>
                    <a:gd name="connsiteX9" fmla="*/ 46234 w 50507"/>
                    <a:gd name="connsiteY9" fmla="*/ 26344 h 265129"/>
                    <a:gd name="connsiteX10" fmla="*/ 37853 w 50507"/>
                    <a:gd name="connsiteY10" fmla="*/ 180078 h 265129"/>
                    <a:gd name="connsiteX11" fmla="*/ 23375 w 50507"/>
                    <a:gd name="connsiteY11" fmla="*/ 194174 h 265129"/>
                    <a:gd name="connsiteX12" fmla="*/ 22138 w 50507"/>
                    <a:gd name="connsiteY12" fmla="*/ 194079 h 265129"/>
                    <a:gd name="connsiteX13" fmla="*/ 7278 w 50507"/>
                    <a:gd name="connsiteY13" fmla="*/ 181696 h 265129"/>
                    <a:gd name="connsiteX14" fmla="*/ 7183 w 50507"/>
                    <a:gd name="connsiteY14" fmla="*/ 180078 h 265129"/>
                    <a:gd name="connsiteX15" fmla="*/ -1200 w 50507"/>
                    <a:gd name="connsiteY15" fmla="*/ 26344 h 26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507" h="265129">
                      <a:moveTo>
                        <a:pt x="47378" y="240370"/>
                      </a:moveTo>
                      <a:cubicBezTo>
                        <a:pt x="46520" y="254277"/>
                        <a:pt x="34518" y="264850"/>
                        <a:pt x="20612" y="263992"/>
                      </a:cubicBezTo>
                      <a:cubicBezTo>
                        <a:pt x="7946" y="263231"/>
                        <a:pt x="-2247" y="253134"/>
                        <a:pt x="-3010" y="240370"/>
                      </a:cubicBezTo>
                      <a:cubicBezTo>
                        <a:pt x="-3865" y="226464"/>
                        <a:pt x="6706" y="214463"/>
                        <a:pt x="20612" y="213606"/>
                      </a:cubicBezTo>
                      <a:cubicBezTo>
                        <a:pt x="34518" y="212748"/>
                        <a:pt x="46520" y="223320"/>
                        <a:pt x="47378" y="237228"/>
                      </a:cubicBezTo>
                      <a:cubicBezTo>
                        <a:pt x="47473" y="238275"/>
                        <a:pt x="47473" y="239323"/>
                        <a:pt x="47378" y="240370"/>
                      </a:cubicBezTo>
                      <a:close/>
                      <a:moveTo>
                        <a:pt x="-1391" y="22724"/>
                      </a:moveTo>
                      <a:cubicBezTo>
                        <a:pt x="-1391" y="9580"/>
                        <a:pt x="9278" y="-1088"/>
                        <a:pt x="22421" y="-1088"/>
                      </a:cubicBezTo>
                      <a:cubicBezTo>
                        <a:pt x="35567" y="-1088"/>
                        <a:pt x="46234" y="9580"/>
                        <a:pt x="46234" y="22724"/>
                      </a:cubicBezTo>
                      <a:lnTo>
                        <a:pt x="46234" y="26344"/>
                      </a:lnTo>
                      <a:cubicBezTo>
                        <a:pt x="42234" y="75017"/>
                        <a:pt x="39853" y="123403"/>
                        <a:pt x="37853" y="180078"/>
                      </a:cubicBezTo>
                      <a:cubicBezTo>
                        <a:pt x="37758" y="187983"/>
                        <a:pt x="31281" y="194270"/>
                        <a:pt x="23375" y="194174"/>
                      </a:cubicBezTo>
                      <a:cubicBezTo>
                        <a:pt x="22993" y="194174"/>
                        <a:pt x="22517" y="194079"/>
                        <a:pt x="22138" y="194079"/>
                      </a:cubicBezTo>
                      <a:cubicBezTo>
                        <a:pt x="14613" y="194745"/>
                        <a:pt x="7946" y="189221"/>
                        <a:pt x="7278" y="181696"/>
                      </a:cubicBezTo>
                      <a:cubicBezTo>
                        <a:pt x="7183" y="181125"/>
                        <a:pt x="7183" y="180649"/>
                        <a:pt x="7183" y="180078"/>
                      </a:cubicBezTo>
                      <a:cubicBezTo>
                        <a:pt x="5183" y="122928"/>
                        <a:pt x="2802" y="75303"/>
                        <a:pt x="-1200" y="26344"/>
                      </a:cubicBezTo>
                      <a:close/>
                    </a:path>
                  </a:pathLst>
                </a:custGeom>
                <a:grpFill/>
                <a:ln w="9525" cap="flat">
                  <a:noFill/>
                  <a:prstDash val="solid"/>
                  <a:miter/>
                </a:ln>
              </p:spPr>
              <p:txBody>
                <a:bodyPr rtlCol="0" anchor="ctr"/>
                <a:lstStyle/>
                <a:p>
                  <a:endParaRPr lang="ja-JP" altLang="en-US"/>
                </a:p>
              </p:txBody>
            </p:sp>
          </p:grpSp>
          <p:grpSp>
            <p:nvGrpSpPr>
              <p:cNvPr id="28" name="グループ化 27">
                <a:extLst>
                  <a:ext uri="{FF2B5EF4-FFF2-40B4-BE49-F238E27FC236}">
                    <a16:creationId xmlns:a16="http://schemas.microsoft.com/office/drawing/2014/main" id="{C9462CD5-999D-1C6D-292C-2FF43C9D3476}"/>
                  </a:ext>
                </a:extLst>
              </p:cNvPr>
              <p:cNvGrpSpPr/>
              <p:nvPr/>
            </p:nvGrpSpPr>
            <p:grpSpPr>
              <a:xfrm rot="760577">
                <a:off x="7599097" y="3953651"/>
                <a:ext cx="805417" cy="310330"/>
                <a:chOff x="8395299" y="3507344"/>
                <a:chExt cx="805417" cy="310330"/>
              </a:xfrm>
              <a:grpFill/>
            </p:grpSpPr>
            <p:sp>
              <p:nvSpPr>
                <p:cNvPr id="29" name="フリーフォーム: 図形 28">
                  <a:extLst>
                    <a:ext uri="{FF2B5EF4-FFF2-40B4-BE49-F238E27FC236}">
                      <a16:creationId xmlns:a16="http://schemas.microsoft.com/office/drawing/2014/main" id="{242B3BBE-FC91-E792-168C-1AB97ABDA69F}"/>
                    </a:ext>
                  </a:extLst>
                </p:cNvPr>
                <p:cNvSpPr/>
                <p:nvPr/>
              </p:nvSpPr>
              <p:spPr>
                <a:xfrm>
                  <a:off x="8395299" y="3507344"/>
                  <a:ext cx="304712" cy="305847"/>
                </a:xfrm>
                <a:custGeom>
                  <a:avLst/>
                  <a:gdLst>
                    <a:gd name="connsiteX0" fmla="*/ 92391 w 304712"/>
                    <a:gd name="connsiteY0" fmla="*/ 69397 h 305847"/>
                    <a:gd name="connsiteX1" fmla="*/ 105915 w 304712"/>
                    <a:gd name="connsiteY1" fmla="*/ 87875 h 305847"/>
                    <a:gd name="connsiteX2" fmla="*/ 92391 w 304712"/>
                    <a:gd name="connsiteY2" fmla="*/ 101401 h 305847"/>
                    <a:gd name="connsiteX3" fmla="*/ 74101 w 304712"/>
                    <a:gd name="connsiteY3" fmla="*/ 101401 h 305847"/>
                    <a:gd name="connsiteX4" fmla="*/ 74101 w 304712"/>
                    <a:gd name="connsiteY4" fmla="*/ 152455 h 305847"/>
                    <a:gd name="connsiteX5" fmla="*/ 86103 w 304712"/>
                    <a:gd name="connsiteY5" fmla="*/ 147788 h 305847"/>
                    <a:gd name="connsiteX6" fmla="*/ 92391 w 304712"/>
                    <a:gd name="connsiteY6" fmla="*/ 146454 h 305847"/>
                    <a:gd name="connsiteX7" fmla="*/ 107439 w 304712"/>
                    <a:gd name="connsiteY7" fmla="*/ 163123 h 305847"/>
                    <a:gd name="connsiteX8" fmla="*/ 98772 w 304712"/>
                    <a:gd name="connsiteY8" fmla="*/ 176743 h 305847"/>
                    <a:gd name="connsiteX9" fmla="*/ 74101 w 304712"/>
                    <a:gd name="connsiteY9" fmla="*/ 187792 h 305847"/>
                    <a:gd name="connsiteX10" fmla="*/ 74101 w 304712"/>
                    <a:gd name="connsiteY10" fmla="*/ 270470 h 305847"/>
                    <a:gd name="connsiteX11" fmla="*/ 36764 w 304712"/>
                    <a:gd name="connsiteY11" fmla="*/ 304760 h 305847"/>
                    <a:gd name="connsiteX12" fmla="*/ 17714 w 304712"/>
                    <a:gd name="connsiteY12" fmla="*/ 303140 h 305847"/>
                    <a:gd name="connsiteX13" fmla="*/ 4094 w 304712"/>
                    <a:gd name="connsiteY13" fmla="*/ 286757 h 305847"/>
                    <a:gd name="connsiteX14" fmla="*/ 19237 w 304712"/>
                    <a:gd name="connsiteY14" fmla="*/ 269612 h 305847"/>
                    <a:gd name="connsiteX15" fmla="*/ 23144 w 304712"/>
                    <a:gd name="connsiteY15" fmla="*/ 269802 h 305847"/>
                    <a:gd name="connsiteX16" fmla="*/ 32669 w 304712"/>
                    <a:gd name="connsiteY16" fmla="*/ 270755 h 305847"/>
                    <a:gd name="connsiteX17" fmla="*/ 39336 w 304712"/>
                    <a:gd name="connsiteY17" fmla="*/ 263802 h 305847"/>
                    <a:gd name="connsiteX18" fmla="*/ 39336 w 304712"/>
                    <a:gd name="connsiteY18" fmla="*/ 200460 h 305847"/>
                    <a:gd name="connsiteX19" fmla="*/ 18286 w 304712"/>
                    <a:gd name="connsiteY19" fmla="*/ 206747 h 305847"/>
                    <a:gd name="connsiteX20" fmla="*/ 13333 w 304712"/>
                    <a:gd name="connsiteY20" fmla="*/ 207414 h 305847"/>
                    <a:gd name="connsiteX21" fmla="*/ -3050 w 304712"/>
                    <a:gd name="connsiteY21" fmla="*/ 190078 h 305847"/>
                    <a:gd name="connsiteX22" fmla="*/ -3050 w 304712"/>
                    <a:gd name="connsiteY22" fmla="*/ 189792 h 305847"/>
                    <a:gd name="connsiteX23" fmla="*/ 9617 w 304712"/>
                    <a:gd name="connsiteY23" fmla="*/ 173791 h 305847"/>
                    <a:gd name="connsiteX24" fmla="*/ 39336 w 304712"/>
                    <a:gd name="connsiteY24" fmla="*/ 164266 h 305847"/>
                    <a:gd name="connsiteX25" fmla="*/ 39336 w 304712"/>
                    <a:gd name="connsiteY25" fmla="*/ 100924 h 305847"/>
                    <a:gd name="connsiteX26" fmla="*/ 14000 w 304712"/>
                    <a:gd name="connsiteY26" fmla="*/ 100924 h 305847"/>
                    <a:gd name="connsiteX27" fmla="*/ 1045 w 304712"/>
                    <a:gd name="connsiteY27" fmla="*/ 81874 h 305847"/>
                    <a:gd name="connsiteX28" fmla="*/ 14000 w 304712"/>
                    <a:gd name="connsiteY28" fmla="*/ 68920 h 305847"/>
                    <a:gd name="connsiteX29" fmla="*/ 39336 w 304712"/>
                    <a:gd name="connsiteY29" fmla="*/ 68920 h 305847"/>
                    <a:gd name="connsiteX30" fmla="*/ 39336 w 304712"/>
                    <a:gd name="connsiteY30" fmla="*/ 13295 h 305847"/>
                    <a:gd name="connsiteX31" fmla="*/ 56958 w 304712"/>
                    <a:gd name="connsiteY31" fmla="*/ -1088 h 305847"/>
                    <a:gd name="connsiteX32" fmla="*/ 74673 w 304712"/>
                    <a:gd name="connsiteY32" fmla="*/ 13295 h 305847"/>
                    <a:gd name="connsiteX33" fmla="*/ 74673 w 304712"/>
                    <a:gd name="connsiteY33" fmla="*/ 68920 h 305847"/>
                    <a:gd name="connsiteX34" fmla="*/ 190782 w 304712"/>
                    <a:gd name="connsiteY34" fmla="*/ 15104 h 305847"/>
                    <a:gd name="connsiteX35" fmla="*/ 208786 w 304712"/>
                    <a:gd name="connsiteY35" fmla="*/ 1389 h 305847"/>
                    <a:gd name="connsiteX36" fmla="*/ 226787 w 304712"/>
                    <a:gd name="connsiteY36" fmla="*/ 15104 h 305847"/>
                    <a:gd name="connsiteX37" fmla="*/ 226787 w 304712"/>
                    <a:gd name="connsiteY37" fmla="*/ 50441 h 305847"/>
                    <a:gd name="connsiteX38" fmla="*/ 283081 w 304712"/>
                    <a:gd name="connsiteY38" fmla="*/ 50441 h 305847"/>
                    <a:gd name="connsiteX39" fmla="*/ 296892 w 304712"/>
                    <a:gd name="connsiteY39" fmla="*/ 65967 h 305847"/>
                    <a:gd name="connsiteX40" fmla="*/ 296797 w 304712"/>
                    <a:gd name="connsiteY40" fmla="*/ 66730 h 305847"/>
                    <a:gd name="connsiteX41" fmla="*/ 283556 w 304712"/>
                    <a:gd name="connsiteY41" fmla="*/ 83113 h 305847"/>
                    <a:gd name="connsiteX42" fmla="*/ 283081 w 304712"/>
                    <a:gd name="connsiteY42" fmla="*/ 83113 h 305847"/>
                    <a:gd name="connsiteX43" fmla="*/ 163447 w 304712"/>
                    <a:gd name="connsiteY43" fmla="*/ 83113 h 305847"/>
                    <a:gd name="connsiteX44" fmla="*/ 152396 w 304712"/>
                    <a:gd name="connsiteY44" fmla="*/ 92638 h 305847"/>
                    <a:gd name="connsiteX45" fmla="*/ 152396 w 304712"/>
                    <a:gd name="connsiteY45" fmla="*/ 118641 h 305847"/>
                    <a:gd name="connsiteX46" fmla="*/ 117059 w 304712"/>
                    <a:gd name="connsiteY46" fmla="*/ 289329 h 305847"/>
                    <a:gd name="connsiteX47" fmla="*/ 99725 w 304712"/>
                    <a:gd name="connsiteY47" fmla="*/ 300378 h 305847"/>
                    <a:gd name="connsiteX48" fmla="*/ 82389 w 304712"/>
                    <a:gd name="connsiteY48" fmla="*/ 284662 h 305847"/>
                    <a:gd name="connsiteX49" fmla="*/ 85056 w 304712"/>
                    <a:gd name="connsiteY49" fmla="*/ 275137 h 305847"/>
                    <a:gd name="connsiteX50" fmla="*/ 117059 w 304712"/>
                    <a:gd name="connsiteY50" fmla="*/ 116450 h 305847"/>
                    <a:gd name="connsiteX51" fmla="*/ 117059 w 304712"/>
                    <a:gd name="connsiteY51" fmla="*/ 85780 h 305847"/>
                    <a:gd name="connsiteX52" fmla="*/ 159066 w 304712"/>
                    <a:gd name="connsiteY52" fmla="*/ 50441 h 305847"/>
                    <a:gd name="connsiteX53" fmla="*/ 190782 w 304712"/>
                    <a:gd name="connsiteY53" fmla="*/ 50441 h 305847"/>
                    <a:gd name="connsiteX54" fmla="*/ 152682 w 304712"/>
                    <a:gd name="connsiteY54" fmla="*/ 292092 h 305847"/>
                    <a:gd name="connsiteX55" fmla="*/ 135348 w 304712"/>
                    <a:gd name="connsiteY55" fmla="*/ 274946 h 305847"/>
                    <a:gd name="connsiteX56" fmla="*/ 150015 w 304712"/>
                    <a:gd name="connsiteY56" fmla="*/ 257801 h 305847"/>
                    <a:gd name="connsiteX57" fmla="*/ 158398 w 304712"/>
                    <a:gd name="connsiteY57" fmla="*/ 257135 h 305847"/>
                    <a:gd name="connsiteX58" fmla="*/ 196498 w 304712"/>
                    <a:gd name="connsiteY58" fmla="*/ 112735 h 305847"/>
                    <a:gd name="connsiteX59" fmla="*/ 214213 w 304712"/>
                    <a:gd name="connsiteY59" fmla="*/ 99781 h 305847"/>
                    <a:gd name="connsiteX60" fmla="*/ 233263 w 304712"/>
                    <a:gd name="connsiteY60" fmla="*/ 118831 h 305847"/>
                    <a:gd name="connsiteX61" fmla="*/ 196212 w 304712"/>
                    <a:gd name="connsiteY61" fmla="*/ 252181 h 305847"/>
                    <a:gd name="connsiteX62" fmla="*/ 245932 w 304712"/>
                    <a:gd name="connsiteY62" fmla="*/ 243799 h 305847"/>
                    <a:gd name="connsiteX63" fmla="*/ 231550 w 304712"/>
                    <a:gd name="connsiteY63" fmla="*/ 219130 h 305847"/>
                    <a:gd name="connsiteX64" fmla="*/ 228596 w 304712"/>
                    <a:gd name="connsiteY64" fmla="*/ 209605 h 305847"/>
                    <a:gd name="connsiteX65" fmla="*/ 245265 w 304712"/>
                    <a:gd name="connsiteY65" fmla="*/ 194555 h 305847"/>
                    <a:gd name="connsiteX66" fmla="*/ 261555 w 304712"/>
                    <a:gd name="connsiteY66" fmla="*/ 204080 h 305847"/>
                    <a:gd name="connsiteX67" fmla="*/ 299655 w 304712"/>
                    <a:gd name="connsiteY67" fmla="*/ 270755 h 305847"/>
                    <a:gd name="connsiteX68" fmla="*/ 301655 w 304712"/>
                    <a:gd name="connsiteY68" fmla="*/ 280280 h 305847"/>
                    <a:gd name="connsiteX69" fmla="*/ 282605 w 304712"/>
                    <a:gd name="connsiteY69" fmla="*/ 298282 h 305847"/>
                    <a:gd name="connsiteX70" fmla="*/ 266222 w 304712"/>
                    <a:gd name="connsiteY70" fmla="*/ 286948 h 305847"/>
                    <a:gd name="connsiteX71" fmla="*/ 260601 w 304712"/>
                    <a:gd name="connsiteY71" fmla="*/ 274279 h 305847"/>
                    <a:gd name="connsiteX72" fmla="*/ 152396 w 304712"/>
                    <a:gd name="connsiteY72" fmla="*/ 292092 h 30584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Lst>
                  <a:rect l="l" t="t" r="r" b="b"/>
                  <a:pathLst>
                    <a:path w="304712" h="305847">
                      <a:moveTo>
                        <a:pt x="92391" y="69397"/>
                      </a:moveTo>
                      <a:cubicBezTo>
                        <a:pt x="101248" y="70730"/>
                        <a:pt x="107248" y="79016"/>
                        <a:pt x="105915" y="87875"/>
                      </a:cubicBezTo>
                      <a:cubicBezTo>
                        <a:pt x="104867" y="94828"/>
                        <a:pt x="99344" y="100353"/>
                        <a:pt x="92391" y="101401"/>
                      </a:cubicBezTo>
                      <a:lnTo>
                        <a:pt x="74101" y="101401"/>
                      </a:lnTo>
                      <a:lnTo>
                        <a:pt x="74101" y="152455"/>
                      </a:lnTo>
                      <a:cubicBezTo>
                        <a:pt x="78103" y="151121"/>
                        <a:pt x="82103" y="149406"/>
                        <a:pt x="86103" y="147788"/>
                      </a:cubicBezTo>
                      <a:cubicBezTo>
                        <a:pt x="88103" y="146835"/>
                        <a:pt x="90200" y="146454"/>
                        <a:pt x="92391" y="146454"/>
                      </a:cubicBezTo>
                      <a:cubicBezTo>
                        <a:pt x="101153" y="146930"/>
                        <a:pt x="107915" y="154359"/>
                        <a:pt x="107439" y="163123"/>
                      </a:cubicBezTo>
                      <a:cubicBezTo>
                        <a:pt x="107439" y="168933"/>
                        <a:pt x="104106" y="174266"/>
                        <a:pt x="98772" y="176743"/>
                      </a:cubicBezTo>
                      <a:cubicBezTo>
                        <a:pt x="91056" y="180458"/>
                        <a:pt x="82770" y="184077"/>
                        <a:pt x="74101" y="187792"/>
                      </a:cubicBezTo>
                      <a:lnTo>
                        <a:pt x="74101" y="270470"/>
                      </a:lnTo>
                      <a:cubicBezTo>
                        <a:pt x="74101" y="293139"/>
                        <a:pt x="62385" y="304760"/>
                        <a:pt x="36764" y="304760"/>
                      </a:cubicBezTo>
                      <a:cubicBezTo>
                        <a:pt x="30383" y="304760"/>
                        <a:pt x="23999" y="304187"/>
                        <a:pt x="17714" y="303140"/>
                      </a:cubicBezTo>
                      <a:cubicBezTo>
                        <a:pt x="9521" y="302188"/>
                        <a:pt x="3617" y="294949"/>
                        <a:pt x="4094" y="286757"/>
                      </a:cubicBezTo>
                      <a:cubicBezTo>
                        <a:pt x="3522" y="277804"/>
                        <a:pt x="10284" y="270184"/>
                        <a:pt x="19237" y="269612"/>
                      </a:cubicBezTo>
                      <a:cubicBezTo>
                        <a:pt x="20572" y="269516"/>
                        <a:pt x="21809" y="269612"/>
                        <a:pt x="23144" y="269802"/>
                      </a:cubicBezTo>
                      <a:cubicBezTo>
                        <a:pt x="26285" y="270470"/>
                        <a:pt x="29429" y="270850"/>
                        <a:pt x="32669" y="270755"/>
                      </a:cubicBezTo>
                      <a:cubicBezTo>
                        <a:pt x="37622" y="270755"/>
                        <a:pt x="39336" y="269136"/>
                        <a:pt x="39336" y="263802"/>
                      </a:cubicBezTo>
                      <a:lnTo>
                        <a:pt x="39336" y="200460"/>
                      </a:lnTo>
                      <a:cubicBezTo>
                        <a:pt x="32001" y="202747"/>
                        <a:pt x="24953" y="205128"/>
                        <a:pt x="18286" y="206747"/>
                      </a:cubicBezTo>
                      <a:cubicBezTo>
                        <a:pt x="16665" y="207128"/>
                        <a:pt x="15047" y="207414"/>
                        <a:pt x="13333" y="207414"/>
                      </a:cubicBezTo>
                      <a:cubicBezTo>
                        <a:pt x="3998" y="207128"/>
                        <a:pt x="-3336" y="199412"/>
                        <a:pt x="-3050" y="190078"/>
                      </a:cubicBezTo>
                      <a:cubicBezTo>
                        <a:pt x="-3050" y="189983"/>
                        <a:pt x="-3050" y="189887"/>
                        <a:pt x="-3050" y="189792"/>
                      </a:cubicBezTo>
                      <a:cubicBezTo>
                        <a:pt x="-3145" y="182173"/>
                        <a:pt x="2189" y="175505"/>
                        <a:pt x="9617" y="173791"/>
                      </a:cubicBezTo>
                      <a:cubicBezTo>
                        <a:pt x="19142" y="171124"/>
                        <a:pt x="28667" y="168076"/>
                        <a:pt x="39336" y="164266"/>
                      </a:cubicBezTo>
                      <a:lnTo>
                        <a:pt x="39336" y="100924"/>
                      </a:lnTo>
                      <a:lnTo>
                        <a:pt x="14000" y="100924"/>
                      </a:lnTo>
                      <a:cubicBezTo>
                        <a:pt x="5140" y="99210"/>
                        <a:pt x="-669" y="90733"/>
                        <a:pt x="1045" y="81874"/>
                      </a:cubicBezTo>
                      <a:cubicBezTo>
                        <a:pt x="2282" y="75303"/>
                        <a:pt x="7426" y="70159"/>
                        <a:pt x="14000" y="68920"/>
                      </a:cubicBezTo>
                      <a:lnTo>
                        <a:pt x="39336" y="68920"/>
                      </a:lnTo>
                      <a:lnTo>
                        <a:pt x="39336" y="13295"/>
                      </a:lnTo>
                      <a:cubicBezTo>
                        <a:pt x="39336" y="3770"/>
                        <a:pt x="48289" y="-1088"/>
                        <a:pt x="56958" y="-1088"/>
                      </a:cubicBezTo>
                      <a:cubicBezTo>
                        <a:pt x="65625" y="-1088"/>
                        <a:pt x="74673" y="3579"/>
                        <a:pt x="74673" y="13295"/>
                      </a:cubicBezTo>
                      <a:lnTo>
                        <a:pt x="74673" y="68920"/>
                      </a:lnTo>
                      <a:close/>
                      <a:moveTo>
                        <a:pt x="190782" y="15104"/>
                      </a:moveTo>
                      <a:cubicBezTo>
                        <a:pt x="190782" y="5579"/>
                        <a:pt x="199738" y="1389"/>
                        <a:pt x="208786" y="1389"/>
                      </a:cubicBezTo>
                      <a:cubicBezTo>
                        <a:pt x="217834" y="1389"/>
                        <a:pt x="226787" y="5770"/>
                        <a:pt x="226787" y="15104"/>
                      </a:cubicBezTo>
                      <a:lnTo>
                        <a:pt x="226787" y="50441"/>
                      </a:lnTo>
                      <a:lnTo>
                        <a:pt x="283081" y="50441"/>
                      </a:lnTo>
                      <a:cubicBezTo>
                        <a:pt x="291176" y="50918"/>
                        <a:pt x="297369" y="57871"/>
                        <a:pt x="296892" y="65967"/>
                      </a:cubicBezTo>
                      <a:cubicBezTo>
                        <a:pt x="296892" y="66253"/>
                        <a:pt x="296797" y="66444"/>
                        <a:pt x="296797" y="66730"/>
                      </a:cubicBezTo>
                      <a:cubicBezTo>
                        <a:pt x="297653" y="74921"/>
                        <a:pt x="291748" y="82160"/>
                        <a:pt x="283556" y="83113"/>
                      </a:cubicBezTo>
                      <a:cubicBezTo>
                        <a:pt x="283460" y="83113"/>
                        <a:pt x="283270" y="83113"/>
                        <a:pt x="283081" y="83113"/>
                      </a:cubicBezTo>
                      <a:lnTo>
                        <a:pt x="163447" y="83113"/>
                      </a:lnTo>
                      <a:cubicBezTo>
                        <a:pt x="154778" y="83113"/>
                        <a:pt x="152396" y="85780"/>
                        <a:pt x="152396" y="92638"/>
                      </a:cubicBezTo>
                      <a:lnTo>
                        <a:pt x="152396" y="118641"/>
                      </a:lnTo>
                      <a:cubicBezTo>
                        <a:pt x="152396" y="193984"/>
                        <a:pt x="141443" y="246371"/>
                        <a:pt x="117059" y="289329"/>
                      </a:cubicBezTo>
                      <a:cubicBezTo>
                        <a:pt x="113822" y="295996"/>
                        <a:pt x="107153" y="300188"/>
                        <a:pt x="99725" y="300378"/>
                      </a:cubicBezTo>
                      <a:cubicBezTo>
                        <a:pt x="90674" y="300663"/>
                        <a:pt x="82961" y="293710"/>
                        <a:pt x="82389" y="284662"/>
                      </a:cubicBezTo>
                      <a:cubicBezTo>
                        <a:pt x="82389" y="281328"/>
                        <a:pt x="83340" y="277994"/>
                        <a:pt x="85056" y="275137"/>
                      </a:cubicBezTo>
                      <a:cubicBezTo>
                        <a:pt x="108106" y="235131"/>
                        <a:pt x="117059" y="192459"/>
                        <a:pt x="117059" y="116450"/>
                      </a:cubicBezTo>
                      <a:lnTo>
                        <a:pt x="117059" y="85780"/>
                      </a:lnTo>
                      <a:cubicBezTo>
                        <a:pt x="117059" y="59777"/>
                        <a:pt x="128109" y="50441"/>
                        <a:pt x="159066" y="50441"/>
                      </a:cubicBezTo>
                      <a:lnTo>
                        <a:pt x="190782" y="50441"/>
                      </a:lnTo>
                      <a:close/>
                      <a:moveTo>
                        <a:pt x="152682" y="292092"/>
                      </a:moveTo>
                      <a:cubicBezTo>
                        <a:pt x="143157" y="292186"/>
                        <a:pt x="135348" y="284471"/>
                        <a:pt x="135348" y="274946"/>
                      </a:cubicBezTo>
                      <a:cubicBezTo>
                        <a:pt x="135253" y="266374"/>
                        <a:pt x="141539" y="259039"/>
                        <a:pt x="150015" y="257801"/>
                      </a:cubicBezTo>
                      <a:cubicBezTo>
                        <a:pt x="152778" y="257421"/>
                        <a:pt x="155636" y="257135"/>
                        <a:pt x="158398" y="257135"/>
                      </a:cubicBezTo>
                      <a:cubicBezTo>
                        <a:pt x="175353" y="210271"/>
                        <a:pt x="188115" y="161885"/>
                        <a:pt x="196498" y="112735"/>
                      </a:cubicBezTo>
                      <a:cubicBezTo>
                        <a:pt x="198403" y="104639"/>
                        <a:pt x="205928" y="99115"/>
                        <a:pt x="214213" y="99781"/>
                      </a:cubicBezTo>
                      <a:cubicBezTo>
                        <a:pt x="224883" y="99781"/>
                        <a:pt x="235835" y="106734"/>
                        <a:pt x="233263" y="118831"/>
                      </a:cubicBezTo>
                      <a:cubicBezTo>
                        <a:pt x="224310" y="164170"/>
                        <a:pt x="211928" y="208748"/>
                        <a:pt x="196212" y="252181"/>
                      </a:cubicBezTo>
                      <a:cubicBezTo>
                        <a:pt x="212881" y="249800"/>
                        <a:pt x="229264" y="246848"/>
                        <a:pt x="245932" y="243799"/>
                      </a:cubicBezTo>
                      <a:cubicBezTo>
                        <a:pt x="241265" y="234846"/>
                        <a:pt x="236407" y="226464"/>
                        <a:pt x="231550" y="219130"/>
                      </a:cubicBezTo>
                      <a:cubicBezTo>
                        <a:pt x="229740" y="216272"/>
                        <a:pt x="228692" y="213034"/>
                        <a:pt x="228596" y="209605"/>
                      </a:cubicBezTo>
                      <a:cubicBezTo>
                        <a:pt x="229073" y="200841"/>
                        <a:pt x="236503" y="194174"/>
                        <a:pt x="245265" y="194555"/>
                      </a:cubicBezTo>
                      <a:cubicBezTo>
                        <a:pt x="251934" y="194745"/>
                        <a:pt x="258125" y="198365"/>
                        <a:pt x="261555" y="204080"/>
                      </a:cubicBezTo>
                      <a:cubicBezTo>
                        <a:pt x="275938" y="225321"/>
                        <a:pt x="288700" y="247610"/>
                        <a:pt x="299655" y="270755"/>
                      </a:cubicBezTo>
                      <a:cubicBezTo>
                        <a:pt x="300987" y="273708"/>
                        <a:pt x="301655" y="277041"/>
                        <a:pt x="301655" y="280280"/>
                      </a:cubicBezTo>
                      <a:cubicBezTo>
                        <a:pt x="301083" y="290377"/>
                        <a:pt x="292702" y="298282"/>
                        <a:pt x="282605" y="298282"/>
                      </a:cubicBezTo>
                      <a:cubicBezTo>
                        <a:pt x="275270" y="298377"/>
                        <a:pt x="268698" y="293806"/>
                        <a:pt x="266222" y="286948"/>
                      </a:cubicBezTo>
                      <a:cubicBezTo>
                        <a:pt x="264220" y="282947"/>
                        <a:pt x="262601" y="278566"/>
                        <a:pt x="260601" y="274279"/>
                      </a:cubicBezTo>
                      <a:cubicBezTo>
                        <a:pt x="224978" y="282567"/>
                        <a:pt x="188782" y="288472"/>
                        <a:pt x="152396" y="292092"/>
                      </a:cubicBezTo>
                      <a:close/>
                    </a:path>
                  </a:pathLst>
                </a:custGeom>
                <a:grpFill/>
                <a:ln w="9525" cap="flat">
                  <a:noFill/>
                  <a:prstDash val="solid"/>
                  <a:miter/>
                </a:ln>
              </p:spPr>
              <p:txBody>
                <a:bodyPr rtlCol="0" anchor="ctr"/>
                <a:lstStyle/>
                <a:p>
                  <a:endParaRPr lang="ja-JP" altLang="en-US"/>
                </a:p>
              </p:txBody>
            </p:sp>
            <p:sp>
              <p:nvSpPr>
                <p:cNvPr id="30" name="フリーフォーム: 図形 29">
                  <a:extLst>
                    <a:ext uri="{FF2B5EF4-FFF2-40B4-BE49-F238E27FC236}">
                      <a16:creationId xmlns:a16="http://schemas.microsoft.com/office/drawing/2014/main" id="{DF6E9A19-A142-ECAE-EFD8-53817F06ABE0}"/>
                    </a:ext>
                  </a:extLst>
                </p:cNvPr>
                <p:cNvSpPr/>
                <p:nvPr/>
              </p:nvSpPr>
              <p:spPr>
                <a:xfrm>
                  <a:off x="8734347" y="3508099"/>
                  <a:ext cx="315803" cy="309575"/>
                </a:xfrm>
                <a:custGeom>
                  <a:avLst/>
                  <a:gdLst>
                    <a:gd name="connsiteX0" fmla="*/ 42710 w 315803"/>
                    <a:gd name="connsiteY0" fmla="*/ 66641 h 309575"/>
                    <a:gd name="connsiteX1" fmla="*/ 19374 w 315803"/>
                    <a:gd name="connsiteY1" fmla="*/ 66641 h 309575"/>
                    <a:gd name="connsiteX2" fmla="*/ 7087 w 315803"/>
                    <a:gd name="connsiteY2" fmla="*/ 49592 h 309575"/>
                    <a:gd name="connsiteX3" fmla="*/ 19374 w 315803"/>
                    <a:gd name="connsiteY3" fmla="*/ 37304 h 309575"/>
                    <a:gd name="connsiteX4" fmla="*/ 42710 w 315803"/>
                    <a:gd name="connsiteY4" fmla="*/ 37304 h 309575"/>
                    <a:gd name="connsiteX5" fmla="*/ 42710 w 315803"/>
                    <a:gd name="connsiteY5" fmla="*/ 12635 h 309575"/>
                    <a:gd name="connsiteX6" fmla="*/ 62237 w 315803"/>
                    <a:gd name="connsiteY6" fmla="*/ -796 h 309575"/>
                    <a:gd name="connsiteX7" fmla="*/ 75666 w 315803"/>
                    <a:gd name="connsiteY7" fmla="*/ 12635 h 309575"/>
                    <a:gd name="connsiteX8" fmla="*/ 75666 w 315803"/>
                    <a:gd name="connsiteY8" fmla="*/ 37304 h 309575"/>
                    <a:gd name="connsiteX9" fmla="*/ 102528 w 315803"/>
                    <a:gd name="connsiteY9" fmla="*/ 37304 h 309575"/>
                    <a:gd name="connsiteX10" fmla="*/ 102528 w 315803"/>
                    <a:gd name="connsiteY10" fmla="*/ 12635 h 309575"/>
                    <a:gd name="connsiteX11" fmla="*/ 122054 w 315803"/>
                    <a:gd name="connsiteY11" fmla="*/ -796 h 309575"/>
                    <a:gd name="connsiteX12" fmla="*/ 135484 w 315803"/>
                    <a:gd name="connsiteY12" fmla="*/ 12635 h 309575"/>
                    <a:gd name="connsiteX13" fmla="*/ 135484 w 315803"/>
                    <a:gd name="connsiteY13" fmla="*/ 37304 h 309575"/>
                    <a:gd name="connsiteX14" fmla="*/ 155868 w 315803"/>
                    <a:gd name="connsiteY14" fmla="*/ 37304 h 309575"/>
                    <a:gd name="connsiteX15" fmla="*/ 168154 w 315803"/>
                    <a:gd name="connsiteY15" fmla="*/ 54355 h 309575"/>
                    <a:gd name="connsiteX16" fmla="*/ 155868 w 315803"/>
                    <a:gd name="connsiteY16" fmla="*/ 66641 h 309575"/>
                    <a:gd name="connsiteX17" fmla="*/ 135484 w 315803"/>
                    <a:gd name="connsiteY17" fmla="*/ 66641 h 309575"/>
                    <a:gd name="connsiteX18" fmla="*/ 135484 w 315803"/>
                    <a:gd name="connsiteY18" fmla="*/ 93311 h 309575"/>
                    <a:gd name="connsiteX19" fmla="*/ 159678 w 315803"/>
                    <a:gd name="connsiteY19" fmla="*/ 93311 h 309575"/>
                    <a:gd name="connsiteX20" fmla="*/ 172633 w 315803"/>
                    <a:gd name="connsiteY20" fmla="*/ 110362 h 309575"/>
                    <a:gd name="connsiteX21" fmla="*/ 159678 w 315803"/>
                    <a:gd name="connsiteY21" fmla="*/ 123315 h 309575"/>
                    <a:gd name="connsiteX22" fmla="*/ 10040 w 315803"/>
                    <a:gd name="connsiteY22" fmla="*/ 123315 h 309575"/>
                    <a:gd name="connsiteX23" fmla="*/ -2915 w 315803"/>
                    <a:gd name="connsiteY23" fmla="*/ 106265 h 309575"/>
                    <a:gd name="connsiteX24" fmla="*/ 10040 w 315803"/>
                    <a:gd name="connsiteY24" fmla="*/ 93311 h 309575"/>
                    <a:gd name="connsiteX25" fmla="*/ 42710 w 315803"/>
                    <a:gd name="connsiteY25" fmla="*/ 93311 h 309575"/>
                    <a:gd name="connsiteX26" fmla="*/ 58333 w 315803"/>
                    <a:gd name="connsiteY26" fmla="*/ 251331 h 309575"/>
                    <a:gd name="connsiteX27" fmla="*/ 58333 w 315803"/>
                    <a:gd name="connsiteY27" fmla="*/ 294670 h 309575"/>
                    <a:gd name="connsiteX28" fmla="*/ 38520 w 315803"/>
                    <a:gd name="connsiteY28" fmla="*/ 308195 h 309575"/>
                    <a:gd name="connsiteX29" fmla="*/ 24995 w 315803"/>
                    <a:gd name="connsiteY29" fmla="*/ 294670 h 309575"/>
                    <a:gd name="connsiteX30" fmla="*/ 24995 w 315803"/>
                    <a:gd name="connsiteY30" fmla="*/ 172654 h 309575"/>
                    <a:gd name="connsiteX31" fmla="*/ 64046 w 315803"/>
                    <a:gd name="connsiteY31" fmla="*/ 139317 h 309575"/>
                    <a:gd name="connsiteX32" fmla="*/ 115387 w 315803"/>
                    <a:gd name="connsiteY32" fmla="*/ 139317 h 309575"/>
                    <a:gd name="connsiteX33" fmla="*/ 152057 w 315803"/>
                    <a:gd name="connsiteY33" fmla="*/ 172654 h 309575"/>
                    <a:gd name="connsiteX34" fmla="*/ 152057 w 315803"/>
                    <a:gd name="connsiteY34" fmla="*/ 270000 h 309575"/>
                    <a:gd name="connsiteX35" fmla="*/ 116338 w 315803"/>
                    <a:gd name="connsiteY35" fmla="*/ 305052 h 309575"/>
                    <a:gd name="connsiteX36" fmla="*/ 100718 w 315803"/>
                    <a:gd name="connsiteY36" fmla="*/ 303718 h 309575"/>
                    <a:gd name="connsiteX37" fmla="*/ 87668 w 315803"/>
                    <a:gd name="connsiteY37" fmla="*/ 288383 h 309575"/>
                    <a:gd name="connsiteX38" fmla="*/ 100528 w 315803"/>
                    <a:gd name="connsiteY38" fmla="*/ 272953 h 309575"/>
                    <a:gd name="connsiteX39" fmla="*/ 103672 w 315803"/>
                    <a:gd name="connsiteY39" fmla="*/ 273048 h 309575"/>
                    <a:gd name="connsiteX40" fmla="*/ 113197 w 315803"/>
                    <a:gd name="connsiteY40" fmla="*/ 274000 h 309575"/>
                    <a:gd name="connsiteX41" fmla="*/ 118910 w 315803"/>
                    <a:gd name="connsiteY41" fmla="*/ 266380 h 309575"/>
                    <a:gd name="connsiteX42" fmla="*/ 118910 w 315803"/>
                    <a:gd name="connsiteY42" fmla="*/ 251331 h 309575"/>
                    <a:gd name="connsiteX43" fmla="*/ 118720 w 315803"/>
                    <a:gd name="connsiteY43" fmla="*/ 173988 h 309575"/>
                    <a:gd name="connsiteX44" fmla="*/ 110339 w 315803"/>
                    <a:gd name="connsiteY44" fmla="*/ 166654 h 309575"/>
                    <a:gd name="connsiteX45" fmla="*/ 67667 w 315803"/>
                    <a:gd name="connsiteY45" fmla="*/ 166654 h 309575"/>
                    <a:gd name="connsiteX46" fmla="*/ 58142 w 315803"/>
                    <a:gd name="connsiteY46" fmla="*/ 173988 h 309575"/>
                    <a:gd name="connsiteX47" fmla="*/ 58142 w 315803"/>
                    <a:gd name="connsiteY47" fmla="*/ 183513 h 309575"/>
                    <a:gd name="connsiteX48" fmla="*/ 118529 w 315803"/>
                    <a:gd name="connsiteY48" fmla="*/ 183513 h 309575"/>
                    <a:gd name="connsiteX49" fmla="*/ 118720 w 315803"/>
                    <a:gd name="connsiteY49" fmla="*/ 209325 h 309575"/>
                    <a:gd name="connsiteX50" fmla="*/ 58333 w 315803"/>
                    <a:gd name="connsiteY50" fmla="*/ 209325 h 309575"/>
                    <a:gd name="connsiteX51" fmla="*/ 58333 w 315803"/>
                    <a:gd name="connsiteY51" fmla="*/ 226471 h 309575"/>
                    <a:gd name="connsiteX52" fmla="*/ 118720 w 315803"/>
                    <a:gd name="connsiteY52" fmla="*/ 226471 h 309575"/>
                    <a:gd name="connsiteX53" fmla="*/ 75666 w 315803"/>
                    <a:gd name="connsiteY53" fmla="*/ 93311 h 309575"/>
                    <a:gd name="connsiteX54" fmla="*/ 102528 w 315803"/>
                    <a:gd name="connsiteY54" fmla="*/ 93311 h 309575"/>
                    <a:gd name="connsiteX55" fmla="*/ 102528 w 315803"/>
                    <a:gd name="connsiteY55" fmla="*/ 66641 h 309575"/>
                    <a:gd name="connsiteX56" fmla="*/ 76143 w 315803"/>
                    <a:gd name="connsiteY56" fmla="*/ 66641 h 309575"/>
                    <a:gd name="connsiteX57" fmla="*/ 287121 w 315803"/>
                    <a:gd name="connsiteY57" fmla="*/ 101312 h 309575"/>
                    <a:gd name="connsiteX58" fmla="*/ 257785 w 315803"/>
                    <a:gd name="connsiteY58" fmla="*/ 215041 h 309575"/>
                    <a:gd name="connsiteX59" fmla="*/ 303790 w 315803"/>
                    <a:gd name="connsiteY59" fmla="*/ 265048 h 309575"/>
                    <a:gd name="connsiteX60" fmla="*/ 312745 w 315803"/>
                    <a:gd name="connsiteY60" fmla="*/ 281049 h 309575"/>
                    <a:gd name="connsiteX61" fmla="*/ 294741 w 315803"/>
                    <a:gd name="connsiteY61" fmla="*/ 298670 h 309575"/>
                    <a:gd name="connsiteX62" fmla="*/ 282075 w 315803"/>
                    <a:gd name="connsiteY62" fmla="*/ 293718 h 309575"/>
                    <a:gd name="connsiteX63" fmla="*/ 239022 w 315803"/>
                    <a:gd name="connsiteY63" fmla="*/ 246664 h 309575"/>
                    <a:gd name="connsiteX64" fmla="*/ 186062 w 315803"/>
                    <a:gd name="connsiteY64" fmla="*/ 301719 h 309575"/>
                    <a:gd name="connsiteX65" fmla="*/ 175393 w 315803"/>
                    <a:gd name="connsiteY65" fmla="*/ 305338 h 309575"/>
                    <a:gd name="connsiteX66" fmla="*/ 159391 w 315803"/>
                    <a:gd name="connsiteY66" fmla="*/ 290003 h 309575"/>
                    <a:gd name="connsiteX67" fmla="*/ 167393 w 315803"/>
                    <a:gd name="connsiteY67" fmla="*/ 275715 h 309575"/>
                    <a:gd name="connsiteX68" fmla="*/ 221113 w 315803"/>
                    <a:gd name="connsiteY68" fmla="*/ 216374 h 309575"/>
                    <a:gd name="connsiteX69" fmla="*/ 197015 w 315803"/>
                    <a:gd name="connsiteY69" fmla="*/ 151032 h 309575"/>
                    <a:gd name="connsiteX70" fmla="*/ 183395 w 315803"/>
                    <a:gd name="connsiteY70" fmla="*/ 157319 h 309575"/>
                    <a:gd name="connsiteX71" fmla="*/ 166059 w 315803"/>
                    <a:gd name="connsiteY71" fmla="*/ 141318 h 309575"/>
                    <a:gd name="connsiteX72" fmla="*/ 166059 w 315803"/>
                    <a:gd name="connsiteY72" fmla="*/ 141318 h 309575"/>
                    <a:gd name="connsiteX73" fmla="*/ 168726 w 315803"/>
                    <a:gd name="connsiteY73" fmla="*/ 132364 h 309575"/>
                    <a:gd name="connsiteX74" fmla="*/ 210447 w 315803"/>
                    <a:gd name="connsiteY74" fmla="*/ 14349 h 309575"/>
                    <a:gd name="connsiteX75" fmla="*/ 227401 w 315803"/>
                    <a:gd name="connsiteY75" fmla="*/ 1014 h 309575"/>
                    <a:gd name="connsiteX76" fmla="*/ 245116 w 315803"/>
                    <a:gd name="connsiteY76" fmla="*/ 20064 h 309575"/>
                    <a:gd name="connsiteX77" fmla="*/ 231401 w 315803"/>
                    <a:gd name="connsiteY77" fmla="*/ 69404 h 309575"/>
                    <a:gd name="connsiteX78" fmla="*/ 297123 w 315803"/>
                    <a:gd name="connsiteY78" fmla="*/ 69404 h 309575"/>
                    <a:gd name="connsiteX79" fmla="*/ 310078 w 315803"/>
                    <a:gd name="connsiteY79" fmla="*/ 88454 h 309575"/>
                    <a:gd name="connsiteX80" fmla="*/ 297123 w 315803"/>
                    <a:gd name="connsiteY80" fmla="*/ 101407 h 309575"/>
                    <a:gd name="connsiteX81" fmla="*/ 220446 w 315803"/>
                    <a:gd name="connsiteY81" fmla="*/ 101312 h 309575"/>
                    <a:gd name="connsiteX82" fmla="*/ 218446 w 315803"/>
                    <a:gd name="connsiteY82" fmla="*/ 107027 h 309575"/>
                    <a:gd name="connsiteX83" fmla="*/ 225494 w 315803"/>
                    <a:gd name="connsiteY83" fmla="*/ 141698 h 309575"/>
                    <a:gd name="connsiteX84" fmla="*/ 238831 w 315803"/>
                    <a:gd name="connsiteY84" fmla="*/ 179036 h 309575"/>
                    <a:gd name="connsiteX85" fmla="*/ 254451 w 315803"/>
                    <a:gd name="connsiteY85" fmla="*/ 101312 h 3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Lst>
                  <a:rect l="l" t="t" r="r" b="b"/>
                  <a:pathLst>
                    <a:path w="315803" h="309575">
                      <a:moveTo>
                        <a:pt x="42710" y="66641"/>
                      </a:moveTo>
                      <a:lnTo>
                        <a:pt x="19374" y="66641"/>
                      </a:lnTo>
                      <a:cubicBezTo>
                        <a:pt x="11277" y="65307"/>
                        <a:pt x="5754" y="57688"/>
                        <a:pt x="7087" y="49592"/>
                      </a:cubicBezTo>
                      <a:cubicBezTo>
                        <a:pt x="8136" y="43305"/>
                        <a:pt x="13089" y="38352"/>
                        <a:pt x="19374" y="37304"/>
                      </a:cubicBezTo>
                      <a:lnTo>
                        <a:pt x="42710" y="37304"/>
                      </a:lnTo>
                      <a:lnTo>
                        <a:pt x="42710" y="12635"/>
                      </a:lnTo>
                      <a:cubicBezTo>
                        <a:pt x="44424" y="3490"/>
                        <a:pt x="53189" y="-2511"/>
                        <a:pt x="62237" y="-796"/>
                      </a:cubicBezTo>
                      <a:cubicBezTo>
                        <a:pt x="69095" y="538"/>
                        <a:pt x="74429" y="5871"/>
                        <a:pt x="75666" y="12635"/>
                      </a:cubicBezTo>
                      <a:lnTo>
                        <a:pt x="75666" y="37304"/>
                      </a:lnTo>
                      <a:lnTo>
                        <a:pt x="102528" y="37304"/>
                      </a:lnTo>
                      <a:lnTo>
                        <a:pt x="102528" y="12635"/>
                      </a:lnTo>
                      <a:cubicBezTo>
                        <a:pt x="104241" y="3490"/>
                        <a:pt x="113006" y="-2511"/>
                        <a:pt x="122054" y="-796"/>
                      </a:cubicBezTo>
                      <a:cubicBezTo>
                        <a:pt x="128912" y="538"/>
                        <a:pt x="134247" y="5871"/>
                        <a:pt x="135484" y="12635"/>
                      </a:cubicBezTo>
                      <a:lnTo>
                        <a:pt x="135484" y="37304"/>
                      </a:lnTo>
                      <a:lnTo>
                        <a:pt x="155868" y="37304"/>
                      </a:lnTo>
                      <a:cubicBezTo>
                        <a:pt x="163963" y="38638"/>
                        <a:pt x="169489" y="46257"/>
                        <a:pt x="168154" y="54355"/>
                      </a:cubicBezTo>
                      <a:cubicBezTo>
                        <a:pt x="167107" y="60640"/>
                        <a:pt x="162154" y="65593"/>
                        <a:pt x="155868" y="66641"/>
                      </a:cubicBezTo>
                      <a:lnTo>
                        <a:pt x="135484" y="66641"/>
                      </a:lnTo>
                      <a:lnTo>
                        <a:pt x="135484" y="93311"/>
                      </a:lnTo>
                      <a:lnTo>
                        <a:pt x="159678" y="93311"/>
                      </a:lnTo>
                      <a:cubicBezTo>
                        <a:pt x="167965" y="94454"/>
                        <a:pt x="173774" y="102074"/>
                        <a:pt x="172633" y="110362"/>
                      </a:cubicBezTo>
                      <a:cubicBezTo>
                        <a:pt x="171679" y="117124"/>
                        <a:pt x="166440" y="122362"/>
                        <a:pt x="159678" y="123315"/>
                      </a:cubicBezTo>
                      <a:lnTo>
                        <a:pt x="10040" y="123315"/>
                      </a:lnTo>
                      <a:cubicBezTo>
                        <a:pt x="1752" y="122173"/>
                        <a:pt x="-4057" y="114552"/>
                        <a:pt x="-2915" y="106265"/>
                      </a:cubicBezTo>
                      <a:cubicBezTo>
                        <a:pt x="-1961" y="99503"/>
                        <a:pt x="3278" y="94264"/>
                        <a:pt x="10040" y="93311"/>
                      </a:cubicBezTo>
                      <a:lnTo>
                        <a:pt x="42710" y="93311"/>
                      </a:lnTo>
                      <a:close/>
                      <a:moveTo>
                        <a:pt x="58333" y="251331"/>
                      </a:moveTo>
                      <a:lnTo>
                        <a:pt x="58333" y="294670"/>
                      </a:lnTo>
                      <a:cubicBezTo>
                        <a:pt x="56616" y="303909"/>
                        <a:pt x="47759" y="309910"/>
                        <a:pt x="38520" y="308195"/>
                      </a:cubicBezTo>
                      <a:cubicBezTo>
                        <a:pt x="31662" y="306957"/>
                        <a:pt x="26232" y="301528"/>
                        <a:pt x="24995" y="294670"/>
                      </a:cubicBezTo>
                      <a:lnTo>
                        <a:pt x="24995" y="172654"/>
                      </a:lnTo>
                      <a:cubicBezTo>
                        <a:pt x="24995" y="147985"/>
                        <a:pt x="34520" y="139317"/>
                        <a:pt x="64046" y="139317"/>
                      </a:cubicBezTo>
                      <a:lnTo>
                        <a:pt x="115387" y="139317"/>
                      </a:lnTo>
                      <a:cubicBezTo>
                        <a:pt x="142723" y="139317"/>
                        <a:pt x="152057" y="147985"/>
                        <a:pt x="152057" y="172654"/>
                      </a:cubicBezTo>
                      <a:lnTo>
                        <a:pt x="152057" y="270000"/>
                      </a:lnTo>
                      <a:cubicBezTo>
                        <a:pt x="152057" y="295050"/>
                        <a:pt x="141390" y="305052"/>
                        <a:pt x="116338" y="305052"/>
                      </a:cubicBezTo>
                      <a:cubicBezTo>
                        <a:pt x="111099" y="305052"/>
                        <a:pt x="105862" y="304575"/>
                        <a:pt x="100718" y="303718"/>
                      </a:cubicBezTo>
                      <a:cubicBezTo>
                        <a:pt x="93003" y="302861"/>
                        <a:pt x="87287" y="296099"/>
                        <a:pt x="87668" y="288383"/>
                      </a:cubicBezTo>
                      <a:cubicBezTo>
                        <a:pt x="87003" y="280573"/>
                        <a:pt x="92716" y="273714"/>
                        <a:pt x="100528" y="272953"/>
                      </a:cubicBezTo>
                      <a:cubicBezTo>
                        <a:pt x="101574" y="272858"/>
                        <a:pt x="102623" y="272953"/>
                        <a:pt x="103672" y="273048"/>
                      </a:cubicBezTo>
                      <a:cubicBezTo>
                        <a:pt x="106813" y="273619"/>
                        <a:pt x="109957" y="273905"/>
                        <a:pt x="113197" y="274000"/>
                      </a:cubicBezTo>
                      <a:cubicBezTo>
                        <a:pt x="117578" y="274000"/>
                        <a:pt x="118910" y="272381"/>
                        <a:pt x="118910" y="266380"/>
                      </a:cubicBezTo>
                      <a:lnTo>
                        <a:pt x="118910" y="251331"/>
                      </a:lnTo>
                      <a:close/>
                      <a:moveTo>
                        <a:pt x="118720" y="173988"/>
                      </a:moveTo>
                      <a:cubicBezTo>
                        <a:pt x="118720" y="167701"/>
                        <a:pt x="117006" y="166654"/>
                        <a:pt x="110339" y="166654"/>
                      </a:cubicBezTo>
                      <a:lnTo>
                        <a:pt x="67667" y="166654"/>
                      </a:lnTo>
                      <a:cubicBezTo>
                        <a:pt x="60046" y="166654"/>
                        <a:pt x="58142" y="168655"/>
                        <a:pt x="58142" y="173988"/>
                      </a:cubicBezTo>
                      <a:lnTo>
                        <a:pt x="58142" y="183513"/>
                      </a:lnTo>
                      <a:lnTo>
                        <a:pt x="118529" y="183513"/>
                      </a:lnTo>
                      <a:close/>
                      <a:moveTo>
                        <a:pt x="118720" y="209325"/>
                      </a:moveTo>
                      <a:lnTo>
                        <a:pt x="58333" y="209325"/>
                      </a:lnTo>
                      <a:lnTo>
                        <a:pt x="58333" y="226471"/>
                      </a:lnTo>
                      <a:lnTo>
                        <a:pt x="118720" y="226471"/>
                      </a:lnTo>
                      <a:close/>
                      <a:moveTo>
                        <a:pt x="75666" y="93311"/>
                      </a:moveTo>
                      <a:lnTo>
                        <a:pt x="102528" y="93311"/>
                      </a:lnTo>
                      <a:lnTo>
                        <a:pt x="102528" y="66641"/>
                      </a:lnTo>
                      <a:lnTo>
                        <a:pt x="76143" y="66641"/>
                      </a:lnTo>
                      <a:close/>
                      <a:moveTo>
                        <a:pt x="287121" y="101312"/>
                      </a:moveTo>
                      <a:cubicBezTo>
                        <a:pt x="284551" y="140746"/>
                        <a:pt x="274645" y="179323"/>
                        <a:pt x="257785" y="215041"/>
                      </a:cubicBezTo>
                      <a:cubicBezTo>
                        <a:pt x="270264" y="234187"/>
                        <a:pt x="285788" y="251045"/>
                        <a:pt x="303790" y="265048"/>
                      </a:cubicBezTo>
                      <a:cubicBezTo>
                        <a:pt x="309124" y="268667"/>
                        <a:pt x="312459" y="274573"/>
                        <a:pt x="312745" y="281049"/>
                      </a:cubicBezTo>
                      <a:cubicBezTo>
                        <a:pt x="312459" y="290765"/>
                        <a:pt x="304457" y="298575"/>
                        <a:pt x="294741" y="298670"/>
                      </a:cubicBezTo>
                      <a:cubicBezTo>
                        <a:pt x="290074" y="298480"/>
                        <a:pt x="285598" y="296765"/>
                        <a:pt x="282075" y="293718"/>
                      </a:cubicBezTo>
                      <a:cubicBezTo>
                        <a:pt x="265690" y="280001"/>
                        <a:pt x="251214" y="264189"/>
                        <a:pt x="239022" y="246664"/>
                      </a:cubicBezTo>
                      <a:cubicBezTo>
                        <a:pt x="224353" y="267714"/>
                        <a:pt x="206540" y="286288"/>
                        <a:pt x="186062" y="301719"/>
                      </a:cubicBezTo>
                      <a:cubicBezTo>
                        <a:pt x="183013" y="304004"/>
                        <a:pt x="179204" y="305338"/>
                        <a:pt x="175393" y="305338"/>
                      </a:cubicBezTo>
                      <a:cubicBezTo>
                        <a:pt x="166726" y="305433"/>
                        <a:pt x="159678" y="298670"/>
                        <a:pt x="159391" y="290003"/>
                      </a:cubicBezTo>
                      <a:cubicBezTo>
                        <a:pt x="159582" y="284193"/>
                        <a:pt x="162535" y="278858"/>
                        <a:pt x="167393" y="275715"/>
                      </a:cubicBezTo>
                      <a:cubicBezTo>
                        <a:pt x="189015" y="259618"/>
                        <a:pt x="207207" y="239425"/>
                        <a:pt x="221113" y="216374"/>
                      </a:cubicBezTo>
                      <a:cubicBezTo>
                        <a:pt x="210542" y="195610"/>
                        <a:pt x="202445" y="173702"/>
                        <a:pt x="197015" y="151032"/>
                      </a:cubicBezTo>
                      <a:cubicBezTo>
                        <a:pt x="193492" y="154938"/>
                        <a:pt x="188634" y="157129"/>
                        <a:pt x="183395" y="157319"/>
                      </a:cubicBezTo>
                      <a:cubicBezTo>
                        <a:pt x="174156" y="157701"/>
                        <a:pt x="166440" y="150557"/>
                        <a:pt x="166059" y="141318"/>
                      </a:cubicBezTo>
                      <a:cubicBezTo>
                        <a:pt x="166059" y="141318"/>
                        <a:pt x="166059" y="141318"/>
                        <a:pt x="166059" y="141318"/>
                      </a:cubicBezTo>
                      <a:cubicBezTo>
                        <a:pt x="166249" y="138174"/>
                        <a:pt x="167107" y="135126"/>
                        <a:pt x="168726" y="132364"/>
                      </a:cubicBezTo>
                      <a:cubicBezTo>
                        <a:pt x="188348" y="95311"/>
                        <a:pt x="202349" y="55498"/>
                        <a:pt x="210447" y="14349"/>
                      </a:cubicBezTo>
                      <a:cubicBezTo>
                        <a:pt x="211874" y="6253"/>
                        <a:pt x="219209" y="538"/>
                        <a:pt x="227401" y="1014"/>
                      </a:cubicBezTo>
                      <a:cubicBezTo>
                        <a:pt x="236926" y="1014"/>
                        <a:pt x="247784" y="7968"/>
                        <a:pt x="245116" y="20064"/>
                      </a:cubicBezTo>
                      <a:cubicBezTo>
                        <a:pt x="241403" y="36448"/>
                        <a:pt x="236736" y="53116"/>
                        <a:pt x="231401" y="69404"/>
                      </a:cubicBezTo>
                      <a:lnTo>
                        <a:pt x="297123" y="69404"/>
                      </a:lnTo>
                      <a:cubicBezTo>
                        <a:pt x="305983" y="71117"/>
                        <a:pt x="311791" y="79595"/>
                        <a:pt x="310078" y="88454"/>
                      </a:cubicBezTo>
                      <a:cubicBezTo>
                        <a:pt x="308838" y="95025"/>
                        <a:pt x="303697" y="100169"/>
                        <a:pt x="297123" y="101407"/>
                      </a:cubicBezTo>
                      <a:close/>
                      <a:moveTo>
                        <a:pt x="220446" y="101312"/>
                      </a:moveTo>
                      <a:cubicBezTo>
                        <a:pt x="219781" y="103312"/>
                        <a:pt x="219113" y="105027"/>
                        <a:pt x="218446" y="107027"/>
                      </a:cubicBezTo>
                      <a:cubicBezTo>
                        <a:pt x="220446" y="118648"/>
                        <a:pt x="222448" y="130364"/>
                        <a:pt x="225494" y="141698"/>
                      </a:cubicBezTo>
                      <a:cubicBezTo>
                        <a:pt x="229115" y="154367"/>
                        <a:pt x="233592" y="166844"/>
                        <a:pt x="238831" y="179036"/>
                      </a:cubicBezTo>
                      <a:cubicBezTo>
                        <a:pt x="247498" y="153986"/>
                        <a:pt x="252737" y="127792"/>
                        <a:pt x="254451" y="101312"/>
                      </a:cubicBezTo>
                      <a:close/>
                    </a:path>
                  </a:pathLst>
                </a:custGeom>
                <a:grpFill/>
                <a:ln w="9525" cap="flat">
                  <a:noFill/>
                  <a:prstDash val="solid"/>
                  <a:miter/>
                </a:ln>
              </p:spPr>
              <p:txBody>
                <a:bodyPr rtlCol="0" anchor="ctr"/>
                <a:lstStyle/>
                <a:p>
                  <a:endParaRPr lang="ja-JP" altLang="en-US"/>
                </a:p>
              </p:txBody>
            </p:sp>
            <p:sp>
              <p:nvSpPr>
                <p:cNvPr id="31" name="フリーフォーム: 図形 30">
                  <a:extLst>
                    <a:ext uri="{FF2B5EF4-FFF2-40B4-BE49-F238E27FC236}">
                      <a16:creationId xmlns:a16="http://schemas.microsoft.com/office/drawing/2014/main" id="{0A518516-8122-45A5-F5DC-20C896039F7E}"/>
                    </a:ext>
                  </a:extLst>
                </p:cNvPr>
                <p:cNvSpPr/>
                <p:nvPr/>
              </p:nvSpPr>
              <p:spPr>
                <a:xfrm>
                  <a:off x="9150210" y="3525060"/>
                  <a:ext cx="50506" cy="265129"/>
                </a:xfrm>
                <a:custGeom>
                  <a:avLst/>
                  <a:gdLst>
                    <a:gd name="connsiteX0" fmla="*/ 47378 w 50506"/>
                    <a:gd name="connsiteY0" fmla="*/ 240370 h 265129"/>
                    <a:gd name="connsiteX1" fmla="*/ 20612 w 50506"/>
                    <a:gd name="connsiteY1" fmla="*/ 263992 h 265129"/>
                    <a:gd name="connsiteX2" fmla="*/ -3009 w 50506"/>
                    <a:gd name="connsiteY2" fmla="*/ 240370 h 265129"/>
                    <a:gd name="connsiteX3" fmla="*/ 20612 w 50506"/>
                    <a:gd name="connsiteY3" fmla="*/ 213606 h 265129"/>
                    <a:gd name="connsiteX4" fmla="*/ 47378 w 50506"/>
                    <a:gd name="connsiteY4" fmla="*/ 237228 h 265129"/>
                    <a:gd name="connsiteX5" fmla="*/ 47378 w 50506"/>
                    <a:gd name="connsiteY5" fmla="*/ 240370 h 265129"/>
                    <a:gd name="connsiteX6" fmla="*/ -1296 w 50506"/>
                    <a:gd name="connsiteY6" fmla="*/ 22724 h 265129"/>
                    <a:gd name="connsiteX7" fmla="*/ 22517 w 50506"/>
                    <a:gd name="connsiteY7" fmla="*/ -1088 h 265129"/>
                    <a:gd name="connsiteX8" fmla="*/ 46329 w 50506"/>
                    <a:gd name="connsiteY8" fmla="*/ 22724 h 265129"/>
                    <a:gd name="connsiteX9" fmla="*/ 46329 w 50506"/>
                    <a:gd name="connsiteY9" fmla="*/ 26344 h 265129"/>
                    <a:gd name="connsiteX10" fmla="*/ 37946 w 50506"/>
                    <a:gd name="connsiteY10" fmla="*/ 180078 h 265129"/>
                    <a:gd name="connsiteX11" fmla="*/ 23470 w 50506"/>
                    <a:gd name="connsiteY11" fmla="*/ 194174 h 265129"/>
                    <a:gd name="connsiteX12" fmla="*/ 22326 w 50506"/>
                    <a:gd name="connsiteY12" fmla="*/ 194079 h 265129"/>
                    <a:gd name="connsiteX13" fmla="*/ 7371 w 50506"/>
                    <a:gd name="connsiteY13" fmla="*/ 181601 h 265129"/>
                    <a:gd name="connsiteX14" fmla="*/ 7276 w 50506"/>
                    <a:gd name="connsiteY14" fmla="*/ 180078 h 265129"/>
                    <a:gd name="connsiteX15" fmla="*/ -1010 w 50506"/>
                    <a:gd name="connsiteY15" fmla="*/ 26344 h 2651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50506" h="265129">
                      <a:moveTo>
                        <a:pt x="47378" y="240370"/>
                      </a:moveTo>
                      <a:cubicBezTo>
                        <a:pt x="46520" y="254277"/>
                        <a:pt x="34519" y="264850"/>
                        <a:pt x="20612" y="263992"/>
                      </a:cubicBezTo>
                      <a:cubicBezTo>
                        <a:pt x="7943" y="263231"/>
                        <a:pt x="-2249" y="253134"/>
                        <a:pt x="-3009" y="240370"/>
                      </a:cubicBezTo>
                      <a:cubicBezTo>
                        <a:pt x="-3867" y="226464"/>
                        <a:pt x="6706" y="214463"/>
                        <a:pt x="20612" y="213606"/>
                      </a:cubicBezTo>
                      <a:cubicBezTo>
                        <a:pt x="34519" y="212748"/>
                        <a:pt x="46520" y="223320"/>
                        <a:pt x="47378" y="237228"/>
                      </a:cubicBezTo>
                      <a:cubicBezTo>
                        <a:pt x="47471" y="238275"/>
                        <a:pt x="47471" y="239323"/>
                        <a:pt x="47378" y="240370"/>
                      </a:cubicBezTo>
                      <a:close/>
                      <a:moveTo>
                        <a:pt x="-1296" y="22724"/>
                      </a:moveTo>
                      <a:cubicBezTo>
                        <a:pt x="-1296" y="9580"/>
                        <a:pt x="9371" y="-1088"/>
                        <a:pt x="22517" y="-1088"/>
                      </a:cubicBezTo>
                      <a:cubicBezTo>
                        <a:pt x="35660" y="-1088"/>
                        <a:pt x="46329" y="9580"/>
                        <a:pt x="46329" y="22724"/>
                      </a:cubicBezTo>
                      <a:lnTo>
                        <a:pt x="46329" y="26344"/>
                      </a:lnTo>
                      <a:cubicBezTo>
                        <a:pt x="42330" y="75017"/>
                        <a:pt x="39948" y="123403"/>
                        <a:pt x="37946" y="180078"/>
                      </a:cubicBezTo>
                      <a:cubicBezTo>
                        <a:pt x="37853" y="187983"/>
                        <a:pt x="31375" y="194270"/>
                        <a:pt x="23470" y="194174"/>
                      </a:cubicBezTo>
                      <a:cubicBezTo>
                        <a:pt x="23089" y="194174"/>
                        <a:pt x="22708" y="194079"/>
                        <a:pt x="22326" y="194079"/>
                      </a:cubicBezTo>
                      <a:cubicBezTo>
                        <a:pt x="14706" y="194745"/>
                        <a:pt x="8039" y="189126"/>
                        <a:pt x="7371" y="181601"/>
                      </a:cubicBezTo>
                      <a:cubicBezTo>
                        <a:pt x="7276" y="181030"/>
                        <a:pt x="7276" y="180553"/>
                        <a:pt x="7276" y="180078"/>
                      </a:cubicBezTo>
                      <a:cubicBezTo>
                        <a:pt x="5276" y="122928"/>
                        <a:pt x="2990" y="75303"/>
                        <a:pt x="-1010" y="26344"/>
                      </a:cubicBezTo>
                      <a:close/>
                    </a:path>
                  </a:pathLst>
                </a:custGeom>
                <a:grpFill/>
                <a:ln w="9525" cap="flat">
                  <a:noFill/>
                  <a:prstDash val="solid"/>
                  <a:miter/>
                </a:ln>
              </p:spPr>
              <p:txBody>
                <a:bodyPr rtlCol="0" anchor="ctr"/>
                <a:lstStyle/>
                <a:p>
                  <a:endParaRPr lang="ja-JP" altLang="en-US"/>
                </a:p>
              </p:txBody>
            </p:sp>
          </p:grpSp>
        </p:grpSp>
      </p:grpSp>
      <p:sp>
        <p:nvSpPr>
          <p:cNvPr id="39" name="テキスト ボックス 38">
            <a:extLst>
              <a:ext uri="{FF2B5EF4-FFF2-40B4-BE49-F238E27FC236}">
                <a16:creationId xmlns:a16="http://schemas.microsoft.com/office/drawing/2014/main" id="{FE641DFA-3D64-FB46-5EC1-6CCC7C1AF6A7}"/>
              </a:ext>
            </a:extLst>
          </p:cNvPr>
          <p:cNvSpPr txBox="1"/>
          <p:nvPr/>
        </p:nvSpPr>
        <p:spPr>
          <a:xfrm>
            <a:off x="372103" y="9832817"/>
            <a:ext cx="7739298"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ja-JP" altLang="en-US" sz="1400" spc="100" dirty="0">
                <a:solidFill>
                  <a:schemeClr val="tx2"/>
                </a:solidFill>
                <a:latin typeface="+mn-ea"/>
              </a:rPr>
              <a:t>総務省「インターネットとの向き合い方～ニセ・誤情報に騙されないために～」</a:t>
            </a:r>
          </a:p>
        </p:txBody>
      </p:sp>
      <p:sp>
        <p:nvSpPr>
          <p:cNvPr id="40" name="四角形: 角を丸くする 39">
            <a:extLst>
              <a:ext uri="{FF2B5EF4-FFF2-40B4-BE49-F238E27FC236}">
                <a16:creationId xmlns:a16="http://schemas.microsoft.com/office/drawing/2014/main" id="{5A1ED98B-27CA-F0C0-9C21-57D5A25F865E}"/>
              </a:ext>
            </a:extLst>
          </p:cNvPr>
          <p:cNvSpPr/>
          <p:nvPr/>
        </p:nvSpPr>
        <p:spPr>
          <a:xfrm>
            <a:off x="1696158" y="1574741"/>
            <a:ext cx="6119283" cy="830143"/>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972000" tIns="18000" rIns="900000" bIns="18000" rtlCol="0" anchor="ctr">
            <a:spAutoFit/>
          </a:bodyPr>
          <a:lstStyle/>
          <a:p>
            <a:pPr algn="ctr"/>
            <a:r>
              <a:rPr kumimoji="1" lang="ja-JP" altLang="en-US" sz="3600" spc="300" dirty="0">
                <a:solidFill>
                  <a:schemeClr val="bg1"/>
                </a:solidFill>
                <a:latin typeface="+mj-ea"/>
                <a:ea typeface="+mj-ea"/>
              </a:rPr>
              <a:t>安易に拡散しない</a:t>
            </a:r>
          </a:p>
        </p:txBody>
      </p:sp>
      <p:sp>
        <p:nvSpPr>
          <p:cNvPr id="48" name="テキスト ボックス 47">
            <a:extLst>
              <a:ext uri="{FF2B5EF4-FFF2-40B4-BE49-F238E27FC236}">
                <a16:creationId xmlns:a16="http://schemas.microsoft.com/office/drawing/2014/main" id="{02B978CF-017D-4EC3-F4D6-A1AC4E6E8D3A}"/>
              </a:ext>
            </a:extLst>
          </p:cNvPr>
          <p:cNvSpPr txBox="1"/>
          <p:nvPr/>
        </p:nvSpPr>
        <p:spPr>
          <a:xfrm>
            <a:off x="2402591" y="6625846"/>
            <a:ext cx="4706417" cy="2263055"/>
          </a:xfrm>
          <a:prstGeom prst="rect">
            <a:avLst/>
          </a:prstGeom>
          <a:noFill/>
        </p:spPr>
        <p:txBody>
          <a:bodyPr wrap="none" lIns="0" tIns="0" rIns="0" bIns="0" rtlCol="0">
            <a:spAutoFit/>
          </a:bodyPr>
          <a:lstStyle/>
          <a:p>
            <a:pPr marL="432000" indent="-432000">
              <a:lnSpc>
                <a:spcPct val="120000"/>
              </a:lnSpc>
              <a:spcAft>
                <a:spcPts val="1200"/>
              </a:spcAft>
              <a:buClr>
                <a:schemeClr val="accent3"/>
              </a:buClr>
              <a:buFont typeface="Wingdings" panose="05000000000000000000" pitchFamily="2" charset="2"/>
              <a:buChar char="l"/>
            </a:pPr>
            <a:r>
              <a:rPr kumimoji="1" lang="ja-JP" altLang="en-US" sz="3600" spc="100" dirty="0">
                <a:latin typeface="+mn-ea"/>
              </a:rPr>
              <a:t>わからないもの</a:t>
            </a:r>
          </a:p>
          <a:p>
            <a:pPr marL="432000" indent="-432000">
              <a:lnSpc>
                <a:spcPct val="120000"/>
              </a:lnSpc>
              <a:spcAft>
                <a:spcPts val="1200"/>
              </a:spcAft>
              <a:buClr>
                <a:schemeClr val="accent3"/>
              </a:buClr>
              <a:buFont typeface="Wingdings" panose="05000000000000000000" pitchFamily="2" charset="2"/>
              <a:buChar char="l"/>
            </a:pPr>
            <a:r>
              <a:rPr kumimoji="1" lang="ja-JP" altLang="en-US" sz="3600" spc="100" dirty="0">
                <a:latin typeface="+mn-ea"/>
              </a:rPr>
              <a:t>誰かを傷つけるもの</a:t>
            </a:r>
          </a:p>
          <a:p>
            <a:pPr marL="432000" indent="-432000">
              <a:lnSpc>
                <a:spcPct val="120000"/>
              </a:lnSpc>
              <a:spcAft>
                <a:spcPts val="1200"/>
              </a:spcAft>
              <a:buClr>
                <a:schemeClr val="accent3"/>
              </a:buClr>
              <a:buFont typeface="Wingdings" panose="05000000000000000000" pitchFamily="2" charset="2"/>
              <a:buChar char="l"/>
            </a:pPr>
            <a:r>
              <a:rPr kumimoji="1" lang="ja-JP" altLang="en-US" sz="3600" spc="100" dirty="0">
                <a:latin typeface="+mn-ea"/>
              </a:rPr>
              <a:t>医療・健康情報</a:t>
            </a:r>
          </a:p>
        </p:txBody>
      </p:sp>
      <p:sp>
        <p:nvSpPr>
          <p:cNvPr id="49" name="テキスト ボックス 48">
            <a:extLst>
              <a:ext uri="{FF2B5EF4-FFF2-40B4-BE49-F238E27FC236}">
                <a16:creationId xmlns:a16="http://schemas.microsoft.com/office/drawing/2014/main" id="{99BDCECA-1E16-14B8-ACE5-833542E0F625}"/>
              </a:ext>
            </a:extLst>
          </p:cNvPr>
          <p:cNvSpPr txBox="1"/>
          <p:nvPr/>
        </p:nvSpPr>
        <p:spPr>
          <a:xfrm>
            <a:off x="10031455" y="6511776"/>
            <a:ext cx="6796732" cy="2491195"/>
          </a:xfrm>
          <a:prstGeom prst="rect">
            <a:avLst/>
          </a:prstGeom>
          <a:noFill/>
        </p:spPr>
        <p:txBody>
          <a:bodyPr wrap="none" lIns="0" tIns="0" rIns="0" bIns="0" rtlCol="0">
            <a:spAutoFit/>
          </a:bodyPr>
          <a:lstStyle/>
          <a:p>
            <a:pPr marL="432000" indent="-432000">
              <a:lnSpc>
                <a:spcPct val="120000"/>
              </a:lnSpc>
              <a:spcAft>
                <a:spcPts val="1200"/>
              </a:spcAft>
              <a:buClr>
                <a:schemeClr val="accent2"/>
              </a:buClr>
              <a:buFont typeface="Wingdings" panose="05000000000000000000" pitchFamily="2" charset="2"/>
              <a:buChar char="l"/>
            </a:pPr>
            <a:r>
              <a:rPr kumimoji="1" lang="ja-JP" altLang="en-US" sz="3000" spc="100" dirty="0">
                <a:latin typeface="+mn-ea"/>
              </a:rPr>
              <a:t>拡散する前にひと呼吸</a:t>
            </a:r>
          </a:p>
          <a:p>
            <a:pPr marL="432000" indent="-432000">
              <a:lnSpc>
                <a:spcPct val="120000"/>
              </a:lnSpc>
              <a:spcAft>
                <a:spcPts val="1200"/>
              </a:spcAft>
              <a:buClr>
                <a:schemeClr val="accent2"/>
              </a:buClr>
              <a:buFont typeface="Wingdings" panose="05000000000000000000" pitchFamily="2" charset="2"/>
              <a:buChar char="l"/>
            </a:pPr>
            <a:r>
              <a:rPr kumimoji="1" lang="ja-JP" altLang="en-US" sz="3000" spc="100" dirty="0">
                <a:latin typeface="+mn-ea"/>
              </a:rPr>
              <a:t>手を止めて</a:t>
            </a:r>
            <a:br>
              <a:rPr kumimoji="1" lang="en-US" altLang="ja-JP" sz="3000" spc="100" dirty="0">
                <a:latin typeface="+mn-ea"/>
              </a:rPr>
            </a:br>
            <a:r>
              <a:rPr kumimoji="1" lang="ja-JP" altLang="en-US" sz="3000" spc="100" dirty="0">
                <a:latin typeface="+mn-ea"/>
              </a:rPr>
              <a:t>「間違いでは</a:t>
            </a:r>
            <a:r>
              <a:rPr kumimoji="1" lang="en-US" altLang="ja-JP" sz="3000" spc="100" dirty="0">
                <a:latin typeface="+mn-ea"/>
              </a:rPr>
              <a:t>??</a:t>
            </a:r>
            <a:r>
              <a:rPr kumimoji="1" lang="ja-JP" altLang="en-US" sz="3000" spc="100" dirty="0">
                <a:latin typeface="+mn-ea"/>
              </a:rPr>
              <a:t>」と考える</a:t>
            </a:r>
          </a:p>
          <a:p>
            <a:pPr marL="432000" indent="-432000">
              <a:lnSpc>
                <a:spcPct val="120000"/>
              </a:lnSpc>
              <a:spcAft>
                <a:spcPts val="1200"/>
              </a:spcAft>
              <a:buClr>
                <a:schemeClr val="accent2"/>
              </a:buClr>
              <a:buFont typeface="Wingdings" panose="05000000000000000000" pitchFamily="2" charset="2"/>
              <a:buChar char="l"/>
            </a:pPr>
            <a:r>
              <a:rPr kumimoji="1" lang="ja-JP" altLang="en-US" sz="3000" spc="100" dirty="0">
                <a:latin typeface="+mn-ea"/>
              </a:rPr>
              <a:t>異なる情報が出ていないかチェック</a:t>
            </a:r>
          </a:p>
        </p:txBody>
      </p:sp>
      <p:sp>
        <p:nvSpPr>
          <p:cNvPr id="43" name="スライド番号プレースホルダー 42">
            <a:extLst>
              <a:ext uri="{FF2B5EF4-FFF2-40B4-BE49-F238E27FC236}">
                <a16:creationId xmlns:a16="http://schemas.microsoft.com/office/drawing/2014/main" id="{777E93C9-706A-6A3A-8CAE-0BE73DD5A645}"/>
              </a:ext>
            </a:extLst>
          </p:cNvPr>
          <p:cNvSpPr>
            <a:spLocks noGrp="1"/>
          </p:cNvSpPr>
          <p:nvPr>
            <p:ph type="sldNum" sz="quarter" idx="11"/>
          </p:nvPr>
        </p:nvSpPr>
        <p:spPr>
          <a:xfrm>
            <a:off x="17695001" y="9786651"/>
            <a:ext cx="327013" cy="307777"/>
          </a:xfrm>
        </p:spPr>
        <p:txBody>
          <a:bodyPr/>
          <a:lstStyle/>
          <a:p>
            <a:r>
              <a:rPr lang="en-US" altLang="ja-JP"/>
              <a:t>40</a:t>
            </a:r>
            <a:endParaRPr lang="ja-JP" altLang="en-US" dirty="0"/>
          </a:p>
        </p:txBody>
      </p:sp>
      <p:grpSp>
        <p:nvGrpSpPr>
          <p:cNvPr id="57" name="グループ化 56">
            <a:extLst>
              <a:ext uri="{FF2B5EF4-FFF2-40B4-BE49-F238E27FC236}">
                <a16:creationId xmlns:a16="http://schemas.microsoft.com/office/drawing/2014/main" id="{3CBD59C3-50E5-13E6-6BA3-C658CA8343EC}"/>
              </a:ext>
            </a:extLst>
          </p:cNvPr>
          <p:cNvGrpSpPr/>
          <p:nvPr/>
        </p:nvGrpSpPr>
        <p:grpSpPr>
          <a:xfrm>
            <a:off x="11548170" y="2875803"/>
            <a:ext cx="3968062" cy="3436196"/>
            <a:chOff x="11548170" y="2875803"/>
            <a:chExt cx="3968062" cy="3436196"/>
          </a:xfrm>
        </p:grpSpPr>
        <p:grpSp>
          <p:nvGrpSpPr>
            <p:cNvPr id="36" name="グループ化 35">
              <a:extLst>
                <a:ext uri="{FF2B5EF4-FFF2-40B4-BE49-F238E27FC236}">
                  <a16:creationId xmlns:a16="http://schemas.microsoft.com/office/drawing/2014/main" id="{ABED6C40-DA82-7D15-19AF-4E522DFC3BFB}"/>
                </a:ext>
              </a:extLst>
            </p:cNvPr>
            <p:cNvGrpSpPr/>
            <p:nvPr/>
          </p:nvGrpSpPr>
          <p:grpSpPr>
            <a:xfrm>
              <a:off x="11854768" y="2875803"/>
              <a:ext cx="3150107" cy="3150107"/>
              <a:chOff x="11731405" y="2100574"/>
              <a:chExt cx="3859306" cy="3859306"/>
            </a:xfrm>
          </p:grpSpPr>
          <p:sp>
            <p:nvSpPr>
              <p:cNvPr id="37" name="楕円 36">
                <a:extLst>
                  <a:ext uri="{FF2B5EF4-FFF2-40B4-BE49-F238E27FC236}">
                    <a16:creationId xmlns:a16="http://schemas.microsoft.com/office/drawing/2014/main" id="{702701AC-4434-3F66-27A3-69FD2FBE1EFA}"/>
                  </a:ext>
                </a:extLst>
              </p:cNvPr>
              <p:cNvSpPr/>
              <p:nvPr/>
            </p:nvSpPr>
            <p:spPr>
              <a:xfrm>
                <a:off x="11731405" y="2100574"/>
                <a:ext cx="3859306" cy="3859306"/>
              </a:xfrm>
              <a:prstGeom prst="ellipse">
                <a:avLst/>
              </a:prstGeom>
              <a:noFill/>
              <a:ln w="2540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6000" dirty="0">
                  <a:solidFill>
                    <a:schemeClr val="bg1"/>
                  </a:solidFill>
                </a:endParaRPr>
              </a:p>
            </p:txBody>
          </p:sp>
          <p:sp>
            <p:nvSpPr>
              <p:cNvPr id="38" name="楕円 37">
                <a:extLst>
                  <a:ext uri="{FF2B5EF4-FFF2-40B4-BE49-F238E27FC236}">
                    <a16:creationId xmlns:a16="http://schemas.microsoft.com/office/drawing/2014/main" id="{EBC142CE-62B2-CD2F-7B55-9AC87248347B}"/>
                  </a:ext>
                </a:extLst>
              </p:cNvPr>
              <p:cNvSpPr/>
              <p:nvPr/>
            </p:nvSpPr>
            <p:spPr>
              <a:xfrm>
                <a:off x="12384750" y="2753919"/>
                <a:ext cx="2552616" cy="2552616"/>
              </a:xfrm>
              <a:prstGeom prst="ellipse">
                <a:avLst/>
              </a:prstGeom>
              <a:noFill/>
              <a:ln w="254000">
                <a:solidFill>
                  <a:schemeClr val="accent2">
                    <a:lumMod val="20000"/>
                    <a:lumOff val="8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6000" dirty="0">
                  <a:solidFill>
                    <a:schemeClr val="bg1"/>
                  </a:solidFill>
                </a:endParaRPr>
              </a:p>
            </p:txBody>
          </p:sp>
        </p:grpSp>
        <p:grpSp>
          <p:nvGrpSpPr>
            <p:cNvPr id="23" name="グループ化 22">
              <a:extLst>
                <a:ext uri="{FF2B5EF4-FFF2-40B4-BE49-F238E27FC236}">
                  <a16:creationId xmlns:a16="http://schemas.microsoft.com/office/drawing/2014/main" id="{BE0D7EE0-8039-33D2-633F-4BECB3373D1F}"/>
                </a:ext>
              </a:extLst>
            </p:cNvPr>
            <p:cNvGrpSpPr/>
            <p:nvPr/>
          </p:nvGrpSpPr>
          <p:grpSpPr>
            <a:xfrm>
              <a:off x="11548170" y="3358504"/>
              <a:ext cx="3968062" cy="1597122"/>
              <a:chOff x="11735974" y="2780085"/>
              <a:chExt cx="4479367" cy="1802919"/>
            </a:xfrm>
            <a:solidFill>
              <a:schemeClr val="tx1"/>
            </a:solidFill>
          </p:grpSpPr>
          <p:grpSp>
            <p:nvGrpSpPr>
              <p:cNvPr id="5" name="グループ化 4">
                <a:extLst>
                  <a:ext uri="{FF2B5EF4-FFF2-40B4-BE49-F238E27FC236}">
                    <a16:creationId xmlns:a16="http://schemas.microsoft.com/office/drawing/2014/main" id="{93524084-3EC9-59DA-9C0D-0579E5BF6E26}"/>
                  </a:ext>
                </a:extLst>
              </p:cNvPr>
              <p:cNvGrpSpPr/>
              <p:nvPr/>
            </p:nvGrpSpPr>
            <p:grpSpPr>
              <a:xfrm rot="361661">
                <a:off x="11735974" y="3558267"/>
                <a:ext cx="1502130" cy="1024737"/>
                <a:chOff x="419871" y="4476540"/>
                <a:chExt cx="1782329" cy="1215886"/>
              </a:xfrm>
              <a:grpFill/>
            </p:grpSpPr>
            <p:grpSp>
              <p:nvGrpSpPr>
                <p:cNvPr id="6" name="グループ化 5">
                  <a:extLst>
                    <a:ext uri="{FF2B5EF4-FFF2-40B4-BE49-F238E27FC236}">
                      <a16:creationId xmlns:a16="http://schemas.microsoft.com/office/drawing/2014/main" id="{3E271CE5-B6EA-08FF-A557-E89AF115E8B4}"/>
                    </a:ext>
                  </a:extLst>
                </p:cNvPr>
                <p:cNvGrpSpPr/>
                <p:nvPr/>
              </p:nvGrpSpPr>
              <p:grpSpPr>
                <a:xfrm rot="16711988">
                  <a:off x="346514" y="4694977"/>
                  <a:ext cx="1070806" cy="924092"/>
                  <a:chOff x="8516387" y="877055"/>
                  <a:chExt cx="864936" cy="746426"/>
                </a:xfrm>
                <a:grpFill/>
              </p:grpSpPr>
              <p:sp>
                <p:nvSpPr>
                  <p:cNvPr id="10" name="フリーフォーム: 図形 9">
                    <a:extLst>
                      <a:ext uri="{FF2B5EF4-FFF2-40B4-BE49-F238E27FC236}">
                        <a16:creationId xmlns:a16="http://schemas.microsoft.com/office/drawing/2014/main" id="{E9BC212A-044E-0C14-42C8-D83423037352}"/>
                      </a:ext>
                    </a:extLst>
                  </p:cNvPr>
                  <p:cNvSpPr/>
                  <p:nvPr/>
                </p:nvSpPr>
                <p:spPr>
                  <a:xfrm rot="8100000">
                    <a:off x="8516387" y="877055"/>
                    <a:ext cx="864936" cy="746426"/>
                  </a:xfrm>
                  <a:custGeom>
                    <a:avLst/>
                    <a:gdLst>
                      <a:gd name="connsiteX0" fmla="*/ 373213 w 864936"/>
                      <a:gd name="connsiteY0" fmla="*/ 0 h 746426"/>
                      <a:gd name="connsiteX1" fmla="*/ 738844 w 864936"/>
                      <a:gd name="connsiteY1" fmla="*/ 297998 h 746426"/>
                      <a:gd name="connsiteX2" fmla="*/ 738991 w 864936"/>
                      <a:gd name="connsiteY2" fmla="*/ 299461 h 746426"/>
                      <a:gd name="connsiteX3" fmla="*/ 864936 w 864936"/>
                      <a:gd name="connsiteY3" fmla="*/ 371842 h 746426"/>
                      <a:gd name="connsiteX4" fmla="*/ 739249 w 864936"/>
                      <a:gd name="connsiteY4" fmla="*/ 444408 h 746426"/>
                      <a:gd name="connsiteX5" fmla="*/ 738844 w 864936"/>
                      <a:gd name="connsiteY5" fmla="*/ 448429 h 746426"/>
                      <a:gd name="connsiteX6" fmla="*/ 373213 w 864936"/>
                      <a:gd name="connsiteY6" fmla="*/ 746426 h 746426"/>
                      <a:gd name="connsiteX7" fmla="*/ 0 w 864936"/>
                      <a:gd name="connsiteY7" fmla="*/ 373213 h 746426"/>
                      <a:gd name="connsiteX8" fmla="*/ 373213 w 864936"/>
                      <a:gd name="connsiteY8" fmla="*/ 0 h 74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4936" h="746426">
                        <a:moveTo>
                          <a:pt x="373213" y="0"/>
                        </a:moveTo>
                        <a:cubicBezTo>
                          <a:pt x="553568" y="0"/>
                          <a:pt x="704043" y="127931"/>
                          <a:pt x="738844" y="297998"/>
                        </a:cubicBezTo>
                        <a:lnTo>
                          <a:pt x="738991" y="299461"/>
                        </a:lnTo>
                        <a:lnTo>
                          <a:pt x="864936" y="371842"/>
                        </a:lnTo>
                        <a:lnTo>
                          <a:pt x="739249" y="444408"/>
                        </a:lnTo>
                        <a:lnTo>
                          <a:pt x="738844" y="448429"/>
                        </a:lnTo>
                        <a:cubicBezTo>
                          <a:pt x="704043" y="618495"/>
                          <a:pt x="553568" y="746426"/>
                          <a:pt x="373213" y="746426"/>
                        </a:cubicBezTo>
                        <a:cubicBezTo>
                          <a:pt x="167093" y="746426"/>
                          <a:pt x="0" y="579333"/>
                          <a:pt x="0" y="373213"/>
                        </a:cubicBezTo>
                        <a:cubicBezTo>
                          <a:pt x="0" y="167093"/>
                          <a:pt x="167093" y="0"/>
                          <a:pt x="373213" y="0"/>
                        </a:cubicBezTo>
                        <a:close/>
                      </a:path>
                    </a:pathLst>
                  </a:custGeom>
                  <a:solidFill>
                    <a:schemeClr val="bg1"/>
                  </a:solidFill>
                  <a:ln w="38100">
                    <a:solidFill>
                      <a:srgbClr val="09204A"/>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000" dirty="0"/>
                  </a:p>
                </p:txBody>
              </p:sp>
              <p:sp>
                <p:nvSpPr>
                  <p:cNvPr id="11" name="楕円 10">
                    <a:extLst>
                      <a:ext uri="{FF2B5EF4-FFF2-40B4-BE49-F238E27FC236}">
                        <a16:creationId xmlns:a16="http://schemas.microsoft.com/office/drawing/2014/main" id="{D857AE2B-F8B2-5F8C-E0F5-104A832AE526}"/>
                      </a:ext>
                    </a:extLst>
                  </p:cNvPr>
                  <p:cNvSpPr/>
                  <p:nvPr/>
                </p:nvSpPr>
                <p:spPr>
                  <a:xfrm>
                    <a:off x="8790163" y="1015357"/>
                    <a:ext cx="391666" cy="391666"/>
                  </a:xfrm>
                  <a:prstGeom prst="ellipse">
                    <a:avLst/>
                  </a:prstGeom>
                  <a:solidFill>
                    <a:schemeClr val="bg1"/>
                  </a:solidFill>
                  <a:ln w="76200">
                    <a:solidFill>
                      <a:schemeClr val="accent3"/>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ja-JP" altLang="en-US" sz="2000" dirty="0"/>
                  </a:p>
                </p:txBody>
              </p:sp>
            </p:grpSp>
            <p:grpSp>
              <p:nvGrpSpPr>
                <p:cNvPr id="7" name="グループ化 6">
                  <a:extLst>
                    <a:ext uri="{FF2B5EF4-FFF2-40B4-BE49-F238E27FC236}">
                      <a16:creationId xmlns:a16="http://schemas.microsoft.com/office/drawing/2014/main" id="{6683E119-2A19-6351-39E7-3AE42922F367}"/>
                    </a:ext>
                  </a:extLst>
                </p:cNvPr>
                <p:cNvGrpSpPr/>
                <p:nvPr/>
              </p:nvGrpSpPr>
              <p:grpSpPr>
                <a:xfrm rot="19533921">
                  <a:off x="1131394" y="4476540"/>
                  <a:ext cx="1070806" cy="924091"/>
                  <a:chOff x="8505453" y="907511"/>
                  <a:chExt cx="864936" cy="746426"/>
                </a:xfrm>
                <a:grpFill/>
              </p:grpSpPr>
              <p:sp>
                <p:nvSpPr>
                  <p:cNvPr id="8" name="フリーフォーム: 図形 7">
                    <a:extLst>
                      <a:ext uri="{FF2B5EF4-FFF2-40B4-BE49-F238E27FC236}">
                        <a16:creationId xmlns:a16="http://schemas.microsoft.com/office/drawing/2014/main" id="{FA8A69A1-4879-334B-579A-78BD9A5CA1AA}"/>
                      </a:ext>
                    </a:extLst>
                  </p:cNvPr>
                  <p:cNvSpPr/>
                  <p:nvPr/>
                </p:nvSpPr>
                <p:spPr>
                  <a:xfrm rot="8100000">
                    <a:off x="8505453" y="907511"/>
                    <a:ext cx="864936" cy="746426"/>
                  </a:xfrm>
                  <a:custGeom>
                    <a:avLst/>
                    <a:gdLst>
                      <a:gd name="connsiteX0" fmla="*/ 373213 w 864936"/>
                      <a:gd name="connsiteY0" fmla="*/ 0 h 746426"/>
                      <a:gd name="connsiteX1" fmla="*/ 738844 w 864936"/>
                      <a:gd name="connsiteY1" fmla="*/ 297998 h 746426"/>
                      <a:gd name="connsiteX2" fmla="*/ 738991 w 864936"/>
                      <a:gd name="connsiteY2" fmla="*/ 299461 h 746426"/>
                      <a:gd name="connsiteX3" fmla="*/ 864936 w 864936"/>
                      <a:gd name="connsiteY3" fmla="*/ 371842 h 746426"/>
                      <a:gd name="connsiteX4" fmla="*/ 739249 w 864936"/>
                      <a:gd name="connsiteY4" fmla="*/ 444408 h 746426"/>
                      <a:gd name="connsiteX5" fmla="*/ 738844 w 864936"/>
                      <a:gd name="connsiteY5" fmla="*/ 448429 h 746426"/>
                      <a:gd name="connsiteX6" fmla="*/ 373213 w 864936"/>
                      <a:gd name="connsiteY6" fmla="*/ 746426 h 746426"/>
                      <a:gd name="connsiteX7" fmla="*/ 0 w 864936"/>
                      <a:gd name="connsiteY7" fmla="*/ 373213 h 746426"/>
                      <a:gd name="connsiteX8" fmla="*/ 373213 w 864936"/>
                      <a:gd name="connsiteY8" fmla="*/ 0 h 74642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64936" h="746426">
                        <a:moveTo>
                          <a:pt x="373213" y="0"/>
                        </a:moveTo>
                        <a:cubicBezTo>
                          <a:pt x="553568" y="0"/>
                          <a:pt x="704043" y="127931"/>
                          <a:pt x="738844" y="297998"/>
                        </a:cubicBezTo>
                        <a:lnTo>
                          <a:pt x="738991" y="299461"/>
                        </a:lnTo>
                        <a:lnTo>
                          <a:pt x="864936" y="371842"/>
                        </a:lnTo>
                        <a:lnTo>
                          <a:pt x="739249" y="444408"/>
                        </a:lnTo>
                        <a:lnTo>
                          <a:pt x="738844" y="448429"/>
                        </a:lnTo>
                        <a:cubicBezTo>
                          <a:pt x="704043" y="618495"/>
                          <a:pt x="553568" y="746426"/>
                          <a:pt x="373213" y="746426"/>
                        </a:cubicBezTo>
                        <a:cubicBezTo>
                          <a:pt x="167093" y="746426"/>
                          <a:pt x="0" y="579333"/>
                          <a:pt x="0" y="373213"/>
                        </a:cubicBezTo>
                        <a:cubicBezTo>
                          <a:pt x="0" y="167093"/>
                          <a:pt x="167093" y="0"/>
                          <a:pt x="373213" y="0"/>
                        </a:cubicBezTo>
                        <a:close/>
                      </a:path>
                    </a:pathLst>
                  </a:custGeom>
                  <a:solidFill>
                    <a:schemeClr val="bg1"/>
                  </a:solidFill>
                  <a:ln w="38100">
                    <a:solidFill>
                      <a:srgbClr val="09204A"/>
                    </a:solidFill>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000" dirty="0"/>
                  </a:p>
                </p:txBody>
              </p:sp>
              <p:sp>
                <p:nvSpPr>
                  <p:cNvPr id="9" name="乗算記号 8">
                    <a:extLst>
                      <a:ext uri="{FF2B5EF4-FFF2-40B4-BE49-F238E27FC236}">
                        <a16:creationId xmlns:a16="http://schemas.microsoft.com/office/drawing/2014/main" id="{FA78120E-0407-9E6B-986D-C1A567A44498}"/>
                      </a:ext>
                    </a:extLst>
                  </p:cNvPr>
                  <p:cNvSpPr/>
                  <p:nvPr/>
                </p:nvSpPr>
                <p:spPr>
                  <a:xfrm rot="17623621">
                    <a:off x="8668747" y="941055"/>
                    <a:ext cx="611998" cy="612002"/>
                  </a:xfrm>
                  <a:prstGeom prst="mathMultiply">
                    <a:avLst>
                      <a:gd name="adj1" fmla="val 0"/>
                    </a:avLst>
                  </a:prstGeom>
                  <a:grpFill/>
                  <a:ln w="76200">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rtlCol="0" anchor="ctr">
                    <a:noAutofit/>
                  </a:bodyPr>
                  <a:lstStyle/>
                  <a:p>
                    <a:pPr algn="ctr"/>
                    <a:endParaRPr kumimoji="1" lang="ja-JP" altLang="en-US" sz="2000" dirty="0"/>
                  </a:p>
                </p:txBody>
              </p:sp>
            </p:grpSp>
          </p:grpSp>
          <p:grpSp>
            <p:nvGrpSpPr>
              <p:cNvPr id="12" name="グループ化 11">
                <a:extLst>
                  <a:ext uri="{FF2B5EF4-FFF2-40B4-BE49-F238E27FC236}">
                    <a16:creationId xmlns:a16="http://schemas.microsoft.com/office/drawing/2014/main" id="{902F5F3E-6297-B56C-FEC4-29DC2308DE8F}"/>
                  </a:ext>
                </a:extLst>
              </p:cNvPr>
              <p:cNvGrpSpPr/>
              <p:nvPr/>
            </p:nvGrpSpPr>
            <p:grpSpPr>
              <a:xfrm rot="4816373">
                <a:off x="11986072" y="2723677"/>
                <a:ext cx="683098" cy="795914"/>
                <a:chOff x="928572" y="2112337"/>
                <a:chExt cx="469846" cy="547443"/>
              </a:xfrm>
              <a:grpFill/>
            </p:grpSpPr>
            <p:pic>
              <p:nvPicPr>
                <p:cNvPr id="13" name="グラフィックス 12">
                  <a:extLst>
                    <a:ext uri="{FF2B5EF4-FFF2-40B4-BE49-F238E27FC236}">
                      <a16:creationId xmlns:a16="http://schemas.microsoft.com/office/drawing/2014/main" id="{DD50747B-412B-4D24-032F-A964AAFFCA4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5309896">
                  <a:off x="1020338" y="2281701"/>
                  <a:ext cx="286313" cy="469846"/>
                </a:xfrm>
                <a:prstGeom prst="rect">
                  <a:avLst/>
                </a:prstGeom>
              </p:spPr>
            </p:pic>
            <p:pic>
              <p:nvPicPr>
                <p:cNvPr id="14" name="グラフィックス 13">
                  <a:extLst>
                    <a:ext uri="{FF2B5EF4-FFF2-40B4-BE49-F238E27FC236}">
                      <a16:creationId xmlns:a16="http://schemas.microsoft.com/office/drawing/2014/main" id="{7ADBD436-4EF1-902F-24F9-A4AAC3561F07}"/>
                    </a:ext>
                  </a:extLst>
                </p:cNvPr>
                <p:cNvPicPr>
                  <a:picLocks noChangeAspect="1"/>
                </p:cNvPicPr>
                <p:nvPr/>
              </p:nvPicPr>
              <p:blipFill>
                <a:blip r:embed="rId8">
                  <a:extLst>
                    <a:ext uri="{96DAC541-7B7A-43D3-8B79-37D633B846F1}">
                      <asvg:svgBlip xmlns:asvg="http://schemas.microsoft.com/office/drawing/2016/SVG/main" r:embed="rId9"/>
                    </a:ext>
                  </a:extLst>
                </a:blip>
                <a:stretch>
                  <a:fillRect/>
                </a:stretch>
              </p:blipFill>
              <p:spPr>
                <a:xfrm rot="16875311">
                  <a:off x="1023791" y="2042543"/>
                  <a:ext cx="217757" cy="357345"/>
                </a:xfrm>
                <a:prstGeom prst="rect">
                  <a:avLst/>
                </a:prstGeom>
              </p:spPr>
            </p:pic>
          </p:grpSp>
          <p:grpSp>
            <p:nvGrpSpPr>
              <p:cNvPr id="15" name="グループ化 14">
                <a:extLst>
                  <a:ext uri="{FF2B5EF4-FFF2-40B4-BE49-F238E27FC236}">
                    <a16:creationId xmlns:a16="http://schemas.microsoft.com/office/drawing/2014/main" id="{8594FB2D-2588-6177-E330-4EE6ACA98430}"/>
                  </a:ext>
                </a:extLst>
              </p:cNvPr>
              <p:cNvGrpSpPr/>
              <p:nvPr/>
            </p:nvGrpSpPr>
            <p:grpSpPr>
              <a:xfrm>
                <a:off x="14896172" y="2786515"/>
                <a:ext cx="1319169" cy="1437806"/>
                <a:chOff x="14931935" y="2957339"/>
                <a:chExt cx="1319169" cy="1437806"/>
              </a:xfrm>
              <a:grpFill/>
            </p:grpSpPr>
            <p:pic>
              <p:nvPicPr>
                <p:cNvPr id="16" name="グラフィックス 15">
                  <a:extLst>
                    <a:ext uri="{FF2B5EF4-FFF2-40B4-BE49-F238E27FC236}">
                      <a16:creationId xmlns:a16="http://schemas.microsoft.com/office/drawing/2014/main" id="{0BCE7E01-023B-FFA8-5881-96F5DBB31BDF}"/>
                    </a:ext>
                  </a:extLst>
                </p:cNvPr>
                <p:cNvPicPr>
                  <a:picLocks noChangeAspect="1"/>
                </p:cNvPicPr>
                <p:nvPr/>
              </p:nvPicPr>
              <p:blipFill>
                <a:blip r:embed="rId10">
                  <a:extLst>
                    <a:ext uri="{96DAC541-7B7A-43D3-8B79-37D633B846F1}">
                      <asvg:svgBlip xmlns:asvg="http://schemas.microsoft.com/office/drawing/2016/SVG/main" r:embed="rId11"/>
                    </a:ext>
                  </a:extLst>
                </a:blip>
                <a:stretch>
                  <a:fillRect/>
                </a:stretch>
              </p:blipFill>
              <p:spPr>
                <a:xfrm rot="4114509">
                  <a:off x="14864107" y="3431987"/>
                  <a:ext cx="1030986" cy="895329"/>
                </a:xfrm>
                <a:prstGeom prst="rect">
                  <a:avLst/>
                </a:prstGeom>
              </p:spPr>
            </p:pic>
            <p:grpSp>
              <p:nvGrpSpPr>
                <p:cNvPr id="17" name="グループ化 16">
                  <a:extLst>
                    <a:ext uri="{FF2B5EF4-FFF2-40B4-BE49-F238E27FC236}">
                      <a16:creationId xmlns:a16="http://schemas.microsoft.com/office/drawing/2014/main" id="{35246829-E49F-8B4A-BE0A-0C40306B86ED}"/>
                    </a:ext>
                  </a:extLst>
                </p:cNvPr>
                <p:cNvGrpSpPr/>
                <p:nvPr/>
              </p:nvGrpSpPr>
              <p:grpSpPr>
                <a:xfrm rot="21258099">
                  <a:off x="14988219" y="2957339"/>
                  <a:ext cx="1262885" cy="1044029"/>
                  <a:chOff x="14937766" y="2972669"/>
                  <a:chExt cx="1262885" cy="1044029"/>
                </a:xfrm>
                <a:grpFill/>
              </p:grpSpPr>
              <p:sp>
                <p:nvSpPr>
                  <p:cNvPr id="18" name="フリーフォーム: 図形 17">
                    <a:extLst>
                      <a:ext uri="{FF2B5EF4-FFF2-40B4-BE49-F238E27FC236}">
                        <a16:creationId xmlns:a16="http://schemas.microsoft.com/office/drawing/2014/main" id="{61A992D0-3704-CB77-2784-29923A540860}"/>
                      </a:ext>
                    </a:extLst>
                  </p:cNvPr>
                  <p:cNvSpPr/>
                  <p:nvPr/>
                </p:nvSpPr>
                <p:spPr>
                  <a:xfrm rot="2192747">
                    <a:off x="14937766" y="2972669"/>
                    <a:ext cx="317200" cy="335871"/>
                  </a:xfrm>
                  <a:custGeom>
                    <a:avLst/>
                    <a:gdLst>
                      <a:gd name="connsiteX0" fmla="*/ 68387 w 317200"/>
                      <a:gd name="connsiteY0" fmla="*/ 177078 h 335871"/>
                      <a:gd name="connsiteX1" fmla="*/ 76248 w 317200"/>
                      <a:gd name="connsiteY1" fmla="*/ 200319 h 335871"/>
                      <a:gd name="connsiteX2" fmla="*/ 64241 w 317200"/>
                      <a:gd name="connsiteY2" fmla="*/ 210321 h 335871"/>
                      <a:gd name="connsiteX3" fmla="*/ 51628 w 317200"/>
                      <a:gd name="connsiteY3" fmla="*/ 207939 h 335871"/>
                      <a:gd name="connsiteX4" fmla="*/ 25711 w 317200"/>
                      <a:gd name="connsiteY4" fmla="*/ 194413 h 335871"/>
                      <a:gd name="connsiteX5" fmla="*/ 16120 w 317200"/>
                      <a:gd name="connsiteY5" fmla="*/ 182984 h 335871"/>
                      <a:gd name="connsiteX6" fmla="*/ 29598 w 317200"/>
                      <a:gd name="connsiteY6" fmla="*/ 162600 h 335871"/>
                      <a:gd name="connsiteX7" fmla="*/ 40137 w 317200"/>
                      <a:gd name="connsiteY7" fmla="*/ 163266 h 335871"/>
                      <a:gd name="connsiteX8" fmla="*/ 68387 w 317200"/>
                      <a:gd name="connsiteY8" fmla="*/ 177078 h 335871"/>
                      <a:gd name="connsiteX9" fmla="*/ 116335 w 317200"/>
                      <a:gd name="connsiteY9" fmla="*/ 80685 h 335871"/>
                      <a:gd name="connsiteX10" fmla="*/ 101819 w 317200"/>
                      <a:gd name="connsiteY10" fmla="*/ 96687 h 335871"/>
                      <a:gd name="connsiteX11" fmla="*/ 83160 w 317200"/>
                      <a:gd name="connsiteY11" fmla="*/ 87162 h 335871"/>
                      <a:gd name="connsiteX12" fmla="*/ 81346 w 317200"/>
                      <a:gd name="connsiteY12" fmla="*/ 76589 h 335871"/>
                      <a:gd name="connsiteX13" fmla="*/ 12752 w 317200"/>
                      <a:gd name="connsiteY13" fmla="*/ 91258 h 335871"/>
                      <a:gd name="connsiteX14" fmla="*/ -2799 w 317200"/>
                      <a:gd name="connsiteY14" fmla="*/ 79923 h 335871"/>
                      <a:gd name="connsiteX15" fmla="*/ 7481 w 317200"/>
                      <a:gd name="connsiteY15" fmla="*/ 62683 h 335871"/>
                      <a:gd name="connsiteX16" fmla="*/ 76594 w 317200"/>
                      <a:gd name="connsiteY16" fmla="*/ 47919 h 335871"/>
                      <a:gd name="connsiteX17" fmla="*/ 74088 w 317200"/>
                      <a:gd name="connsiteY17" fmla="*/ 32870 h 335871"/>
                      <a:gd name="connsiteX18" fmla="*/ 88861 w 317200"/>
                      <a:gd name="connsiteY18" fmla="*/ 16677 h 335871"/>
                      <a:gd name="connsiteX19" fmla="*/ 107782 w 317200"/>
                      <a:gd name="connsiteY19" fmla="*/ 26202 h 335871"/>
                      <a:gd name="connsiteX20" fmla="*/ 110113 w 317200"/>
                      <a:gd name="connsiteY20" fmla="*/ 41347 h 335871"/>
                      <a:gd name="connsiteX21" fmla="*/ 170586 w 317200"/>
                      <a:gd name="connsiteY21" fmla="*/ 30298 h 335871"/>
                      <a:gd name="connsiteX22" fmla="*/ 168427 w 317200"/>
                      <a:gd name="connsiteY22" fmla="*/ 15153 h 335871"/>
                      <a:gd name="connsiteX23" fmla="*/ 183459 w 317200"/>
                      <a:gd name="connsiteY23" fmla="*/ -658 h 335871"/>
                      <a:gd name="connsiteX24" fmla="*/ 202120 w 317200"/>
                      <a:gd name="connsiteY24" fmla="*/ 9438 h 335871"/>
                      <a:gd name="connsiteX25" fmla="*/ 204194 w 317200"/>
                      <a:gd name="connsiteY25" fmla="*/ 24583 h 335871"/>
                      <a:gd name="connsiteX26" fmla="*/ 273739 w 317200"/>
                      <a:gd name="connsiteY26" fmla="*/ 13915 h 335871"/>
                      <a:gd name="connsiteX27" fmla="*/ 287301 w 317200"/>
                      <a:gd name="connsiteY27" fmla="*/ 25440 h 335871"/>
                      <a:gd name="connsiteX28" fmla="*/ 287387 w 317200"/>
                      <a:gd name="connsiteY28" fmla="*/ 26488 h 335871"/>
                      <a:gd name="connsiteX29" fmla="*/ 277885 w 317200"/>
                      <a:gd name="connsiteY29" fmla="*/ 42490 h 335871"/>
                      <a:gd name="connsiteX30" fmla="*/ 277107 w 317200"/>
                      <a:gd name="connsiteY30" fmla="*/ 42680 h 335871"/>
                      <a:gd name="connsiteX31" fmla="*/ 207994 w 317200"/>
                      <a:gd name="connsiteY31" fmla="*/ 53253 h 335871"/>
                      <a:gd name="connsiteX32" fmla="*/ 209376 w 317200"/>
                      <a:gd name="connsiteY32" fmla="*/ 62778 h 335871"/>
                      <a:gd name="connsiteX33" fmla="*/ 194430 w 317200"/>
                      <a:gd name="connsiteY33" fmla="*/ 78114 h 335871"/>
                      <a:gd name="connsiteX34" fmla="*/ 176030 w 317200"/>
                      <a:gd name="connsiteY34" fmla="*/ 68589 h 335871"/>
                      <a:gd name="connsiteX35" fmla="*/ 174649 w 317200"/>
                      <a:gd name="connsiteY35" fmla="*/ 59064 h 335871"/>
                      <a:gd name="connsiteX36" fmla="*/ 114778 w 317200"/>
                      <a:gd name="connsiteY36" fmla="*/ 70112 h 335871"/>
                      <a:gd name="connsiteX37" fmla="*/ 116335 w 317200"/>
                      <a:gd name="connsiteY37" fmla="*/ 80685 h 335871"/>
                      <a:gd name="connsiteX38" fmla="*/ 86269 w 317200"/>
                      <a:gd name="connsiteY38" fmla="*/ 226608 h 335871"/>
                      <a:gd name="connsiteX39" fmla="*/ 106312 w 317200"/>
                      <a:gd name="connsiteY39" fmla="*/ 239466 h 335871"/>
                      <a:gd name="connsiteX40" fmla="*/ 106312 w 317200"/>
                      <a:gd name="connsiteY40" fmla="*/ 246992 h 335871"/>
                      <a:gd name="connsiteX41" fmla="*/ 82727 w 317200"/>
                      <a:gd name="connsiteY41" fmla="*/ 321858 h 335871"/>
                      <a:gd name="connsiteX42" fmla="*/ 68820 w 317200"/>
                      <a:gd name="connsiteY42" fmla="*/ 334432 h 335871"/>
                      <a:gd name="connsiteX43" fmla="*/ 49898 w 317200"/>
                      <a:gd name="connsiteY43" fmla="*/ 321667 h 335871"/>
                      <a:gd name="connsiteX44" fmla="*/ 51712 w 317200"/>
                      <a:gd name="connsiteY44" fmla="*/ 309285 h 335871"/>
                      <a:gd name="connsiteX45" fmla="*/ 73396 w 317200"/>
                      <a:gd name="connsiteY45" fmla="*/ 240325 h 335871"/>
                      <a:gd name="connsiteX46" fmla="*/ 86269 w 317200"/>
                      <a:gd name="connsiteY46" fmla="*/ 226703 h 335871"/>
                      <a:gd name="connsiteX47" fmla="*/ 83333 w 317200"/>
                      <a:gd name="connsiteY47" fmla="*/ 117737 h 335871"/>
                      <a:gd name="connsiteX48" fmla="*/ 91972 w 317200"/>
                      <a:gd name="connsiteY48" fmla="*/ 129548 h 335871"/>
                      <a:gd name="connsiteX49" fmla="*/ 77889 w 317200"/>
                      <a:gd name="connsiteY49" fmla="*/ 150027 h 335871"/>
                      <a:gd name="connsiteX50" fmla="*/ 65709 w 317200"/>
                      <a:gd name="connsiteY50" fmla="*/ 147551 h 335871"/>
                      <a:gd name="connsiteX51" fmla="*/ 40742 w 317200"/>
                      <a:gd name="connsiteY51" fmla="*/ 133549 h 335871"/>
                      <a:gd name="connsiteX52" fmla="*/ 30979 w 317200"/>
                      <a:gd name="connsiteY52" fmla="*/ 121738 h 335871"/>
                      <a:gd name="connsiteX53" fmla="*/ 44284 w 317200"/>
                      <a:gd name="connsiteY53" fmla="*/ 102116 h 335871"/>
                      <a:gd name="connsiteX54" fmla="*/ 55342 w 317200"/>
                      <a:gd name="connsiteY54" fmla="*/ 103164 h 335871"/>
                      <a:gd name="connsiteX55" fmla="*/ 83333 w 317200"/>
                      <a:gd name="connsiteY55" fmla="*/ 117737 h 335871"/>
                      <a:gd name="connsiteX56" fmla="*/ 221039 w 317200"/>
                      <a:gd name="connsiteY56" fmla="*/ 90210 h 335871"/>
                      <a:gd name="connsiteX57" fmla="*/ 256028 w 317200"/>
                      <a:gd name="connsiteY57" fmla="*/ 107927 h 335871"/>
                      <a:gd name="connsiteX58" fmla="*/ 250241 w 317200"/>
                      <a:gd name="connsiteY58" fmla="*/ 131358 h 335871"/>
                      <a:gd name="connsiteX59" fmla="*/ 229852 w 317200"/>
                      <a:gd name="connsiteY59" fmla="*/ 161933 h 335871"/>
                      <a:gd name="connsiteX60" fmla="*/ 299743 w 317200"/>
                      <a:gd name="connsiteY60" fmla="*/ 179650 h 335871"/>
                      <a:gd name="connsiteX61" fmla="*/ 313996 w 317200"/>
                      <a:gd name="connsiteY61" fmla="*/ 194413 h 335871"/>
                      <a:gd name="connsiteX62" fmla="*/ 300086 w 317200"/>
                      <a:gd name="connsiteY62" fmla="*/ 214225 h 335871"/>
                      <a:gd name="connsiteX63" fmla="*/ 299916 w 317200"/>
                      <a:gd name="connsiteY63" fmla="*/ 214225 h 335871"/>
                      <a:gd name="connsiteX64" fmla="*/ 293694 w 317200"/>
                      <a:gd name="connsiteY64" fmla="*/ 214225 h 335871"/>
                      <a:gd name="connsiteX65" fmla="*/ 208340 w 317200"/>
                      <a:gd name="connsiteY65" fmla="*/ 185650 h 335871"/>
                      <a:gd name="connsiteX66" fmla="*/ 134216 w 317200"/>
                      <a:gd name="connsiteY66" fmla="*/ 241657 h 335871"/>
                      <a:gd name="connsiteX67" fmla="*/ 128861 w 317200"/>
                      <a:gd name="connsiteY67" fmla="*/ 243753 h 335871"/>
                      <a:gd name="connsiteX68" fmla="*/ 112964 w 317200"/>
                      <a:gd name="connsiteY68" fmla="*/ 231466 h 335871"/>
                      <a:gd name="connsiteX69" fmla="*/ 112964 w 317200"/>
                      <a:gd name="connsiteY69" fmla="*/ 231370 h 335871"/>
                      <a:gd name="connsiteX70" fmla="*/ 121603 w 317200"/>
                      <a:gd name="connsiteY70" fmla="*/ 215463 h 335871"/>
                      <a:gd name="connsiteX71" fmla="*/ 182077 w 317200"/>
                      <a:gd name="connsiteY71" fmla="*/ 170982 h 335871"/>
                      <a:gd name="connsiteX72" fmla="*/ 154346 w 317200"/>
                      <a:gd name="connsiteY72" fmla="*/ 150980 h 335871"/>
                      <a:gd name="connsiteX73" fmla="*/ 134908 w 317200"/>
                      <a:gd name="connsiteY73" fmla="*/ 177269 h 335871"/>
                      <a:gd name="connsiteX74" fmla="*/ 125060 w 317200"/>
                      <a:gd name="connsiteY74" fmla="*/ 183555 h 335871"/>
                      <a:gd name="connsiteX75" fmla="*/ 107782 w 317200"/>
                      <a:gd name="connsiteY75" fmla="*/ 170792 h 335871"/>
                      <a:gd name="connsiteX76" fmla="*/ 111756 w 317200"/>
                      <a:gd name="connsiteY76" fmla="*/ 157456 h 335871"/>
                      <a:gd name="connsiteX77" fmla="*/ 152013 w 317200"/>
                      <a:gd name="connsiteY77" fmla="*/ 88591 h 335871"/>
                      <a:gd name="connsiteX78" fmla="*/ 164280 w 317200"/>
                      <a:gd name="connsiteY78" fmla="*/ 78208 h 335871"/>
                      <a:gd name="connsiteX79" fmla="*/ 183288 w 317200"/>
                      <a:gd name="connsiteY79" fmla="*/ 90115 h 335871"/>
                      <a:gd name="connsiteX80" fmla="*/ 182855 w 317200"/>
                      <a:gd name="connsiteY80" fmla="*/ 96211 h 335871"/>
                      <a:gd name="connsiteX81" fmla="*/ 198060 w 317200"/>
                      <a:gd name="connsiteY81" fmla="*/ 307952 h 335871"/>
                      <a:gd name="connsiteX82" fmla="*/ 157801 w 317200"/>
                      <a:gd name="connsiteY82" fmla="*/ 283853 h 335871"/>
                      <a:gd name="connsiteX83" fmla="*/ 153654 w 317200"/>
                      <a:gd name="connsiteY83" fmla="*/ 257278 h 335871"/>
                      <a:gd name="connsiteX84" fmla="*/ 185275 w 317200"/>
                      <a:gd name="connsiteY84" fmla="*/ 220036 h 335871"/>
                      <a:gd name="connsiteX85" fmla="*/ 236417 w 317200"/>
                      <a:gd name="connsiteY85" fmla="*/ 211368 h 335871"/>
                      <a:gd name="connsiteX86" fmla="*/ 276675 w 317200"/>
                      <a:gd name="connsiteY86" fmla="*/ 236419 h 335871"/>
                      <a:gd name="connsiteX87" fmla="*/ 279959 w 317200"/>
                      <a:gd name="connsiteY87" fmla="*/ 263184 h 335871"/>
                      <a:gd name="connsiteX88" fmla="*/ 248167 w 317200"/>
                      <a:gd name="connsiteY88" fmla="*/ 299474 h 335871"/>
                      <a:gd name="connsiteX89" fmla="*/ 198060 w 317200"/>
                      <a:gd name="connsiteY89" fmla="*/ 307952 h 335871"/>
                      <a:gd name="connsiteX90" fmla="*/ 241256 w 317200"/>
                      <a:gd name="connsiteY90" fmla="*/ 272899 h 335871"/>
                      <a:gd name="connsiteX91" fmla="*/ 248511 w 317200"/>
                      <a:gd name="connsiteY91" fmla="*/ 264327 h 335871"/>
                      <a:gd name="connsiteX92" fmla="*/ 246008 w 317200"/>
                      <a:gd name="connsiteY92" fmla="*/ 245277 h 335871"/>
                      <a:gd name="connsiteX93" fmla="*/ 236763 w 317200"/>
                      <a:gd name="connsiteY93" fmla="*/ 239371 h 335871"/>
                      <a:gd name="connsiteX94" fmla="*/ 192616 w 317200"/>
                      <a:gd name="connsiteY94" fmla="*/ 246801 h 335871"/>
                      <a:gd name="connsiteX95" fmla="*/ 185447 w 317200"/>
                      <a:gd name="connsiteY95" fmla="*/ 255564 h 335871"/>
                      <a:gd name="connsiteX96" fmla="*/ 188297 w 317200"/>
                      <a:gd name="connsiteY96" fmla="*/ 274614 h 335871"/>
                      <a:gd name="connsiteX97" fmla="*/ 197541 w 317200"/>
                      <a:gd name="connsiteY97" fmla="*/ 280329 h 335871"/>
                      <a:gd name="connsiteX98" fmla="*/ 241169 w 317200"/>
                      <a:gd name="connsiteY98" fmla="*/ 272899 h 335871"/>
                      <a:gd name="connsiteX99" fmla="*/ 202897 w 317200"/>
                      <a:gd name="connsiteY99" fmla="*/ 149074 h 335871"/>
                      <a:gd name="connsiteX100" fmla="*/ 219571 w 317200"/>
                      <a:gd name="connsiteY100" fmla="*/ 125072 h 335871"/>
                      <a:gd name="connsiteX101" fmla="*/ 220867 w 317200"/>
                      <a:gd name="connsiteY101" fmla="*/ 120499 h 335871"/>
                      <a:gd name="connsiteX102" fmla="*/ 215079 w 317200"/>
                      <a:gd name="connsiteY102" fmla="*/ 118404 h 335871"/>
                      <a:gd name="connsiteX103" fmla="*/ 169291 w 317200"/>
                      <a:gd name="connsiteY103" fmla="*/ 126215 h 335871"/>
                      <a:gd name="connsiteX104" fmla="*/ 202812 w 317200"/>
                      <a:gd name="connsiteY104" fmla="*/ 148789 h 335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Lst>
                    <a:rect l="l" t="t" r="r" b="b"/>
                    <a:pathLst>
                      <a:path w="317200" h="335871">
                        <a:moveTo>
                          <a:pt x="68387" y="177078"/>
                        </a:moveTo>
                        <a:cubicBezTo>
                          <a:pt x="76334" y="181078"/>
                          <a:pt x="79876" y="191557"/>
                          <a:pt x="76248" y="200319"/>
                        </a:cubicBezTo>
                        <a:cubicBezTo>
                          <a:pt x="74002" y="205653"/>
                          <a:pt x="69509" y="209368"/>
                          <a:pt x="64241" y="210321"/>
                        </a:cubicBezTo>
                        <a:cubicBezTo>
                          <a:pt x="59921" y="211273"/>
                          <a:pt x="55429" y="210416"/>
                          <a:pt x="51628" y="207939"/>
                        </a:cubicBezTo>
                        <a:cubicBezTo>
                          <a:pt x="43246" y="202795"/>
                          <a:pt x="34607" y="198319"/>
                          <a:pt x="25711" y="194413"/>
                        </a:cubicBezTo>
                        <a:cubicBezTo>
                          <a:pt x="20959" y="192700"/>
                          <a:pt x="17329" y="188413"/>
                          <a:pt x="16120" y="182984"/>
                        </a:cubicBezTo>
                        <a:cubicBezTo>
                          <a:pt x="14912" y="173268"/>
                          <a:pt x="20872" y="164219"/>
                          <a:pt x="29598" y="162600"/>
                        </a:cubicBezTo>
                        <a:cubicBezTo>
                          <a:pt x="33139" y="161933"/>
                          <a:pt x="36680" y="162124"/>
                          <a:pt x="40137" y="163266"/>
                        </a:cubicBezTo>
                        <a:cubicBezTo>
                          <a:pt x="49898" y="166981"/>
                          <a:pt x="59402" y="171553"/>
                          <a:pt x="68387" y="177078"/>
                        </a:cubicBezTo>
                        <a:close/>
                        <a:moveTo>
                          <a:pt x="116335" y="80685"/>
                        </a:moveTo>
                        <a:cubicBezTo>
                          <a:pt x="117630" y="89258"/>
                          <a:pt x="110113" y="95068"/>
                          <a:pt x="101819" y="96687"/>
                        </a:cubicBezTo>
                        <a:cubicBezTo>
                          <a:pt x="93526" y="98306"/>
                          <a:pt x="84541" y="95735"/>
                          <a:pt x="83160" y="87162"/>
                        </a:cubicBezTo>
                        <a:cubicBezTo>
                          <a:pt x="82468" y="82971"/>
                          <a:pt x="82122" y="80876"/>
                          <a:pt x="81346" y="76589"/>
                        </a:cubicBezTo>
                        <a:cubicBezTo>
                          <a:pt x="53872" y="82209"/>
                          <a:pt x="40137" y="85162"/>
                          <a:pt x="12752" y="91258"/>
                        </a:cubicBezTo>
                        <a:cubicBezTo>
                          <a:pt x="5581" y="92877"/>
                          <a:pt x="-1417" y="87733"/>
                          <a:pt x="-2799" y="79923"/>
                        </a:cubicBezTo>
                        <a:cubicBezTo>
                          <a:pt x="-4269" y="72017"/>
                          <a:pt x="310" y="64302"/>
                          <a:pt x="7481" y="62683"/>
                        </a:cubicBezTo>
                        <a:cubicBezTo>
                          <a:pt x="35126" y="56492"/>
                          <a:pt x="48949" y="53158"/>
                          <a:pt x="76594" y="47919"/>
                        </a:cubicBezTo>
                        <a:cubicBezTo>
                          <a:pt x="75643" y="41918"/>
                          <a:pt x="75126" y="38394"/>
                          <a:pt x="74088" y="32870"/>
                        </a:cubicBezTo>
                        <a:cubicBezTo>
                          <a:pt x="72707" y="24297"/>
                          <a:pt x="80395" y="18296"/>
                          <a:pt x="88861" y="16677"/>
                        </a:cubicBezTo>
                        <a:cubicBezTo>
                          <a:pt x="97327" y="15058"/>
                          <a:pt x="106139" y="17629"/>
                          <a:pt x="107782" y="26202"/>
                        </a:cubicBezTo>
                        <a:cubicBezTo>
                          <a:pt x="108731" y="32203"/>
                          <a:pt x="109164" y="35251"/>
                          <a:pt x="110113" y="41347"/>
                        </a:cubicBezTo>
                        <a:cubicBezTo>
                          <a:pt x="134216" y="36679"/>
                          <a:pt x="146312" y="34489"/>
                          <a:pt x="170586" y="30298"/>
                        </a:cubicBezTo>
                        <a:lnTo>
                          <a:pt x="168427" y="15153"/>
                        </a:lnTo>
                        <a:cubicBezTo>
                          <a:pt x="167132" y="6581"/>
                          <a:pt x="174992" y="771"/>
                          <a:pt x="183459" y="-658"/>
                        </a:cubicBezTo>
                        <a:cubicBezTo>
                          <a:pt x="191927" y="-2087"/>
                          <a:pt x="200737" y="865"/>
                          <a:pt x="202120" y="9438"/>
                        </a:cubicBezTo>
                        <a:cubicBezTo>
                          <a:pt x="202897" y="15439"/>
                          <a:pt x="203329" y="18487"/>
                          <a:pt x="204194" y="24583"/>
                        </a:cubicBezTo>
                        <a:cubicBezTo>
                          <a:pt x="232011" y="20011"/>
                          <a:pt x="245921" y="17915"/>
                          <a:pt x="273739" y="13915"/>
                        </a:cubicBezTo>
                        <a:cubicBezTo>
                          <a:pt x="280391" y="12962"/>
                          <a:pt x="286438" y="18106"/>
                          <a:pt x="287301" y="25440"/>
                        </a:cubicBezTo>
                        <a:cubicBezTo>
                          <a:pt x="287301" y="25726"/>
                          <a:pt x="287387" y="26107"/>
                          <a:pt x="287387" y="26488"/>
                        </a:cubicBezTo>
                        <a:cubicBezTo>
                          <a:pt x="288771" y="33822"/>
                          <a:pt x="284538" y="40966"/>
                          <a:pt x="277885" y="42490"/>
                        </a:cubicBezTo>
                        <a:cubicBezTo>
                          <a:pt x="277626" y="42585"/>
                          <a:pt x="277367" y="42680"/>
                          <a:pt x="277107" y="42680"/>
                        </a:cubicBezTo>
                        <a:cubicBezTo>
                          <a:pt x="249462" y="46681"/>
                          <a:pt x="235639" y="48776"/>
                          <a:pt x="207994" y="53253"/>
                        </a:cubicBezTo>
                        <a:cubicBezTo>
                          <a:pt x="208600" y="57254"/>
                          <a:pt x="208859" y="59254"/>
                          <a:pt x="209376" y="62778"/>
                        </a:cubicBezTo>
                        <a:cubicBezTo>
                          <a:pt x="210500" y="71065"/>
                          <a:pt x="202726" y="76685"/>
                          <a:pt x="194430" y="78114"/>
                        </a:cubicBezTo>
                        <a:cubicBezTo>
                          <a:pt x="186137" y="79542"/>
                          <a:pt x="177152" y="76685"/>
                          <a:pt x="176030" y="68589"/>
                        </a:cubicBezTo>
                        <a:lnTo>
                          <a:pt x="174649" y="59064"/>
                        </a:lnTo>
                        <a:cubicBezTo>
                          <a:pt x="150632" y="63255"/>
                          <a:pt x="138709" y="65445"/>
                          <a:pt x="114778" y="70112"/>
                        </a:cubicBezTo>
                        <a:cubicBezTo>
                          <a:pt x="115383" y="74303"/>
                          <a:pt x="115383" y="76494"/>
                          <a:pt x="116335" y="80685"/>
                        </a:cubicBezTo>
                        <a:close/>
                        <a:moveTo>
                          <a:pt x="86269" y="226608"/>
                        </a:moveTo>
                        <a:cubicBezTo>
                          <a:pt x="94994" y="224131"/>
                          <a:pt x="103893" y="229846"/>
                          <a:pt x="106312" y="239466"/>
                        </a:cubicBezTo>
                        <a:cubicBezTo>
                          <a:pt x="106744" y="241943"/>
                          <a:pt x="106744" y="244515"/>
                          <a:pt x="106312" y="246992"/>
                        </a:cubicBezTo>
                        <a:cubicBezTo>
                          <a:pt x="101043" y="272899"/>
                          <a:pt x="93180" y="297950"/>
                          <a:pt x="82727" y="321858"/>
                        </a:cubicBezTo>
                        <a:cubicBezTo>
                          <a:pt x="80135" y="328240"/>
                          <a:pt x="75039" y="332907"/>
                          <a:pt x="68820" y="334432"/>
                        </a:cubicBezTo>
                        <a:cubicBezTo>
                          <a:pt x="60438" y="336527"/>
                          <a:pt x="52058" y="330906"/>
                          <a:pt x="49898" y="321667"/>
                        </a:cubicBezTo>
                        <a:cubicBezTo>
                          <a:pt x="49209" y="317477"/>
                          <a:pt x="49898" y="313095"/>
                          <a:pt x="51712" y="309285"/>
                        </a:cubicBezTo>
                        <a:cubicBezTo>
                          <a:pt x="61130" y="287187"/>
                          <a:pt x="68387" y="264137"/>
                          <a:pt x="73396" y="240325"/>
                        </a:cubicBezTo>
                        <a:cubicBezTo>
                          <a:pt x="74867" y="233370"/>
                          <a:pt x="79962" y="228037"/>
                          <a:pt x="86269" y="226703"/>
                        </a:cubicBezTo>
                        <a:close/>
                        <a:moveTo>
                          <a:pt x="83333" y="117737"/>
                        </a:moveTo>
                        <a:cubicBezTo>
                          <a:pt x="87652" y="120023"/>
                          <a:pt x="90848" y="124405"/>
                          <a:pt x="91972" y="129548"/>
                        </a:cubicBezTo>
                        <a:cubicBezTo>
                          <a:pt x="92748" y="139359"/>
                          <a:pt x="86701" y="148217"/>
                          <a:pt x="77889" y="150027"/>
                        </a:cubicBezTo>
                        <a:cubicBezTo>
                          <a:pt x="73656" y="150789"/>
                          <a:pt x="69423" y="149932"/>
                          <a:pt x="65709" y="147551"/>
                        </a:cubicBezTo>
                        <a:cubicBezTo>
                          <a:pt x="57588" y="142407"/>
                          <a:pt x="49295" y="137740"/>
                          <a:pt x="40742" y="133549"/>
                        </a:cubicBezTo>
                        <a:cubicBezTo>
                          <a:pt x="35904" y="131644"/>
                          <a:pt x="32274" y="127167"/>
                          <a:pt x="30979" y="121738"/>
                        </a:cubicBezTo>
                        <a:cubicBezTo>
                          <a:pt x="30030" y="112308"/>
                          <a:pt x="35818" y="103736"/>
                          <a:pt x="44284" y="102116"/>
                        </a:cubicBezTo>
                        <a:cubicBezTo>
                          <a:pt x="47998" y="101355"/>
                          <a:pt x="51799" y="101735"/>
                          <a:pt x="55342" y="103164"/>
                        </a:cubicBezTo>
                        <a:cubicBezTo>
                          <a:pt x="65017" y="107165"/>
                          <a:pt x="74434" y="112022"/>
                          <a:pt x="83333" y="117737"/>
                        </a:cubicBezTo>
                        <a:close/>
                        <a:moveTo>
                          <a:pt x="221039" y="90210"/>
                        </a:moveTo>
                        <a:cubicBezTo>
                          <a:pt x="242291" y="86781"/>
                          <a:pt x="254301" y="94782"/>
                          <a:pt x="256028" y="107927"/>
                        </a:cubicBezTo>
                        <a:cubicBezTo>
                          <a:pt x="256461" y="116214"/>
                          <a:pt x="254474" y="124500"/>
                          <a:pt x="250241" y="131358"/>
                        </a:cubicBezTo>
                        <a:cubicBezTo>
                          <a:pt x="244278" y="142217"/>
                          <a:pt x="237453" y="152503"/>
                          <a:pt x="229852" y="161933"/>
                        </a:cubicBezTo>
                        <a:cubicBezTo>
                          <a:pt x="252571" y="170315"/>
                          <a:pt x="275985" y="176316"/>
                          <a:pt x="299743" y="179650"/>
                        </a:cubicBezTo>
                        <a:cubicBezTo>
                          <a:pt x="306998" y="180317"/>
                          <a:pt x="312961" y="186413"/>
                          <a:pt x="313996" y="194413"/>
                        </a:cubicBezTo>
                        <a:cubicBezTo>
                          <a:pt x="315120" y="204129"/>
                          <a:pt x="308898" y="212988"/>
                          <a:pt x="300086" y="214225"/>
                        </a:cubicBezTo>
                        <a:cubicBezTo>
                          <a:pt x="300002" y="214225"/>
                          <a:pt x="300002" y="214225"/>
                          <a:pt x="299916" y="214225"/>
                        </a:cubicBezTo>
                        <a:cubicBezTo>
                          <a:pt x="297842" y="214416"/>
                          <a:pt x="295767" y="214416"/>
                          <a:pt x="293694" y="214225"/>
                        </a:cubicBezTo>
                        <a:cubicBezTo>
                          <a:pt x="264321" y="208415"/>
                          <a:pt x="235726" y="198795"/>
                          <a:pt x="208340" y="185650"/>
                        </a:cubicBezTo>
                        <a:cubicBezTo>
                          <a:pt x="185705" y="207463"/>
                          <a:pt x="160825" y="226322"/>
                          <a:pt x="134216" y="241657"/>
                        </a:cubicBezTo>
                        <a:cubicBezTo>
                          <a:pt x="132575" y="242706"/>
                          <a:pt x="130761" y="243372"/>
                          <a:pt x="128861" y="243753"/>
                        </a:cubicBezTo>
                        <a:cubicBezTo>
                          <a:pt x="121344" y="245181"/>
                          <a:pt x="114261" y="239657"/>
                          <a:pt x="112964" y="231466"/>
                        </a:cubicBezTo>
                        <a:cubicBezTo>
                          <a:pt x="112964" y="231370"/>
                          <a:pt x="112964" y="231370"/>
                          <a:pt x="112964" y="231370"/>
                        </a:cubicBezTo>
                        <a:cubicBezTo>
                          <a:pt x="112015" y="224513"/>
                          <a:pt x="115643" y="217750"/>
                          <a:pt x="121603" y="215463"/>
                        </a:cubicBezTo>
                        <a:cubicBezTo>
                          <a:pt x="143201" y="203272"/>
                          <a:pt x="163504" y="188317"/>
                          <a:pt x="182077" y="170982"/>
                        </a:cubicBezTo>
                        <a:cubicBezTo>
                          <a:pt x="172489" y="164886"/>
                          <a:pt x="163244" y="158219"/>
                          <a:pt x="154346" y="150980"/>
                        </a:cubicBezTo>
                        <a:cubicBezTo>
                          <a:pt x="148385" y="160219"/>
                          <a:pt x="141906" y="168981"/>
                          <a:pt x="134908" y="177269"/>
                        </a:cubicBezTo>
                        <a:cubicBezTo>
                          <a:pt x="132402" y="180507"/>
                          <a:pt x="128861" y="182793"/>
                          <a:pt x="125060" y="183555"/>
                        </a:cubicBezTo>
                        <a:cubicBezTo>
                          <a:pt x="117111" y="185079"/>
                          <a:pt x="109596" y="179460"/>
                          <a:pt x="107782" y="170792"/>
                        </a:cubicBezTo>
                        <a:cubicBezTo>
                          <a:pt x="107004" y="165934"/>
                          <a:pt x="108472" y="160885"/>
                          <a:pt x="111756" y="157456"/>
                        </a:cubicBezTo>
                        <a:cubicBezTo>
                          <a:pt x="128429" y="137073"/>
                          <a:pt x="142079" y="113832"/>
                          <a:pt x="152013" y="88591"/>
                        </a:cubicBezTo>
                        <a:cubicBezTo>
                          <a:pt x="154173" y="82971"/>
                          <a:pt x="158838" y="79066"/>
                          <a:pt x="164280" y="78208"/>
                        </a:cubicBezTo>
                        <a:cubicBezTo>
                          <a:pt x="172489" y="76113"/>
                          <a:pt x="180782" y="81256"/>
                          <a:pt x="183288" y="90115"/>
                        </a:cubicBezTo>
                        <a:cubicBezTo>
                          <a:pt x="183631" y="92115"/>
                          <a:pt x="183459" y="94211"/>
                          <a:pt x="182855" y="96211"/>
                        </a:cubicBezTo>
                        <a:close/>
                        <a:moveTo>
                          <a:pt x="198060" y="307952"/>
                        </a:moveTo>
                        <a:cubicBezTo>
                          <a:pt x="172143" y="312524"/>
                          <a:pt x="161085" y="304903"/>
                          <a:pt x="157801" y="283853"/>
                        </a:cubicBezTo>
                        <a:cubicBezTo>
                          <a:pt x="156160" y="273281"/>
                          <a:pt x="155381" y="267946"/>
                          <a:pt x="153654" y="257278"/>
                        </a:cubicBezTo>
                        <a:cubicBezTo>
                          <a:pt x="150372" y="236228"/>
                          <a:pt x="158752" y="224799"/>
                          <a:pt x="185275" y="220036"/>
                        </a:cubicBezTo>
                        <a:cubicBezTo>
                          <a:pt x="205748" y="216417"/>
                          <a:pt x="215942" y="214702"/>
                          <a:pt x="236417" y="211368"/>
                        </a:cubicBezTo>
                        <a:cubicBezTo>
                          <a:pt x="262940" y="207081"/>
                          <a:pt x="274085" y="215274"/>
                          <a:pt x="276675" y="236419"/>
                        </a:cubicBezTo>
                        <a:cubicBezTo>
                          <a:pt x="277972" y="247182"/>
                          <a:pt x="278662" y="252516"/>
                          <a:pt x="279959" y="263184"/>
                        </a:cubicBezTo>
                        <a:cubicBezTo>
                          <a:pt x="282808" y="288997"/>
                          <a:pt x="268900" y="295760"/>
                          <a:pt x="248167" y="299474"/>
                        </a:cubicBezTo>
                        <a:cubicBezTo>
                          <a:pt x="227432" y="303189"/>
                          <a:pt x="218101" y="304428"/>
                          <a:pt x="198060" y="307952"/>
                        </a:cubicBezTo>
                        <a:close/>
                        <a:moveTo>
                          <a:pt x="241256" y="272899"/>
                        </a:moveTo>
                        <a:cubicBezTo>
                          <a:pt x="247994" y="271852"/>
                          <a:pt x="249290" y="269947"/>
                          <a:pt x="248511" y="264327"/>
                        </a:cubicBezTo>
                        <a:cubicBezTo>
                          <a:pt x="247476" y="256612"/>
                          <a:pt x="246957" y="252706"/>
                          <a:pt x="246008" y="245277"/>
                        </a:cubicBezTo>
                        <a:cubicBezTo>
                          <a:pt x="245229" y="239657"/>
                          <a:pt x="243502" y="238228"/>
                          <a:pt x="236763" y="239371"/>
                        </a:cubicBezTo>
                        <a:cubicBezTo>
                          <a:pt x="219053" y="242229"/>
                          <a:pt x="210241" y="243753"/>
                          <a:pt x="192616" y="246801"/>
                        </a:cubicBezTo>
                        <a:cubicBezTo>
                          <a:pt x="185878" y="248039"/>
                          <a:pt x="184669" y="249944"/>
                          <a:pt x="185447" y="255564"/>
                        </a:cubicBezTo>
                        <a:cubicBezTo>
                          <a:pt x="186570" y="263279"/>
                          <a:pt x="187175" y="267185"/>
                          <a:pt x="188297" y="274614"/>
                        </a:cubicBezTo>
                        <a:cubicBezTo>
                          <a:pt x="189421" y="282044"/>
                          <a:pt x="192444" y="281281"/>
                          <a:pt x="197541" y="280329"/>
                        </a:cubicBezTo>
                        <a:cubicBezTo>
                          <a:pt x="214993" y="277282"/>
                          <a:pt x="223718" y="275757"/>
                          <a:pt x="241169" y="272899"/>
                        </a:cubicBezTo>
                        <a:close/>
                        <a:moveTo>
                          <a:pt x="202897" y="149074"/>
                        </a:moveTo>
                        <a:cubicBezTo>
                          <a:pt x="209032" y="141550"/>
                          <a:pt x="214560" y="133549"/>
                          <a:pt x="219571" y="125072"/>
                        </a:cubicBezTo>
                        <a:cubicBezTo>
                          <a:pt x="220434" y="123738"/>
                          <a:pt x="220867" y="122119"/>
                          <a:pt x="220867" y="120499"/>
                        </a:cubicBezTo>
                        <a:cubicBezTo>
                          <a:pt x="220867" y="118499"/>
                          <a:pt x="218620" y="117833"/>
                          <a:pt x="215079" y="118404"/>
                        </a:cubicBezTo>
                        <a:cubicBezTo>
                          <a:pt x="196763" y="121452"/>
                          <a:pt x="187607" y="122976"/>
                          <a:pt x="169291" y="126215"/>
                        </a:cubicBezTo>
                        <a:cubicBezTo>
                          <a:pt x="179744" y="134977"/>
                          <a:pt x="190976" y="142597"/>
                          <a:pt x="202812" y="148789"/>
                        </a:cubicBezTo>
                        <a:close/>
                      </a:path>
                    </a:pathLst>
                  </a:custGeom>
                  <a:grpFill/>
                  <a:ln w="8600" cap="flat">
                    <a:noFill/>
                    <a:prstDash val="solid"/>
                    <a:miter/>
                  </a:ln>
                </p:spPr>
                <p:txBody>
                  <a:bodyPr rtlCol="0" anchor="ctr"/>
                  <a:lstStyle/>
                  <a:p>
                    <a:endParaRPr lang="ja-JP" altLang="en-US"/>
                  </a:p>
                </p:txBody>
              </p:sp>
              <p:sp>
                <p:nvSpPr>
                  <p:cNvPr id="19" name="フリーフォーム: 図形 18">
                    <a:extLst>
                      <a:ext uri="{FF2B5EF4-FFF2-40B4-BE49-F238E27FC236}">
                        <a16:creationId xmlns:a16="http://schemas.microsoft.com/office/drawing/2014/main" id="{1C0EF64F-A02A-7203-FCE2-8D7F3343CF56}"/>
                      </a:ext>
                    </a:extLst>
                  </p:cNvPr>
                  <p:cNvSpPr/>
                  <p:nvPr/>
                </p:nvSpPr>
                <p:spPr>
                  <a:xfrm rot="2192747">
                    <a:off x="15245540" y="3134454"/>
                    <a:ext cx="240334" cy="286429"/>
                  </a:xfrm>
                  <a:custGeom>
                    <a:avLst/>
                    <a:gdLst>
                      <a:gd name="connsiteX0" fmla="*/ 83566 w 240334"/>
                      <a:gd name="connsiteY0" fmla="*/ 163003 h 286429"/>
                      <a:gd name="connsiteX1" fmla="*/ 161836 w 240334"/>
                      <a:gd name="connsiteY1" fmla="*/ 131951 h 286429"/>
                      <a:gd name="connsiteX2" fmla="*/ 237169 w 240334"/>
                      <a:gd name="connsiteY2" fmla="*/ 189101 h 286429"/>
                      <a:gd name="connsiteX3" fmla="*/ 131600 w 240334"/>
                      <a:gd name="connsiteY3" fmla="*/ 285113 h 286429"/>
                      <a:gd name="connsiteX4" fmla="*/ 113111 w 240334"/>
                      <a:gd name="connsiteY4" fmla="*/ 271302 h 286429"/>
                      <a:gd name="connsiteX5" fmla="*/ 112851 w 240334"/>
                      <a:gd name="connsiteY5" fmla="*/ 269397 h 286429"/>
                      <a:gd name="connsiteX6" fmla="*/ 125637 w 240334"/>
                      <a:gd name="connsiteY6" fmla="*/ 251204 h 286429"/>
                      <a:gd name="connsiteX7" fmla="*/ 126588 w 240334"/>
                      <a:gd name="connsiteY7" fmla="*/ 251109 h 286429"/>
                      <a:gd name="connsiteX8" fmla="*/ 202007 w 240334"/>
                      <a:gd name="connsiteY8" fmla="*/ 191959 h 286429"/>
                      <a:gd name="connsiteX9" fmla="*/ 164513 w 240334"/>
                      <a:gd name="connsiteY9" fmla="*/ 164241 h 286429"/>
                      <a:gd name="connsiteX10" fmla="*/ 74581 w 240334"/>
                      <a:gd name="connsiteY10" fmla="*/ 215676 h 286429"/>
                      <a:gd name="connsiteX11" fmla="*/ 61795 w 240334"/>
                      <a:gd name="connsiteY11" fmla="*/ 223105 h 286429"/>
                      <a:gd name="connsiteX12" fmla="*/ 42876 w 240334"/>
                      <a:gd name="connsiteY12" fmla="*/ 207865 h 286429"/>
                      <a:gd name="connsiteX13" fmla="*/ 42789 w 240334"/>
                      <a:gd name="connsiteY13" fmla="*/ 207199 h 286429"/>
                      <a:gd name="connsiteX14" fmla="*/ 43308 w 240334"/>
                      <a:gd name="connsiteY14" fmla="*/ 199103 h 286429"/>
                      <a:gd name="connsiteX15" fmla="*/ 58254 w 240334"/>
                      <a:gd name="connsiteY15" fmla="*/ 102900 h 286429"/>
                      <a:gd name="connsiteX16" fmla="*/ 15058 w 240334"/>
                      <a:gd name="connsiteY16" fmla="*/ 109948 h 286429"/>
                      <a:gd name="connsiteX17" fmla="*/ -2739 w 240334"/>
                      <a:gd name="connsiteY17" fmla="*/ 95947 h 286429"/>
                      <a:gd name="connsiteX18" fmla="*/ -2912 w 240334"/>
                      <a:gd name="connsiteY18" fmla="*/ 94709 h 286429"/>
                      <a:gd name="connsiteX19" fmla="*/ 9874 w 240334"/>
                      <a:gd name="connsiteY19" fmla="*/ 75849 h 286429"/>
                      <a:gd name="connsiteX20" fmla="*/ 11342 w 240334"/>
                      <a:gd name="connsiteY20" fmla="*/ 75659 h 286429"/>
                      <a:gd name="connsiteX21" fmla="*/ 61190 w 240334"/>
                      <a:gd name="connsiteY21" fmla="*/ 67277 h 286429"/>
                      <a:gd name="connsiteX22" fmla="*/ 62660 w 240334"/>
                      <a:gd name="connsiteY22" fmla="*/ 16508 h 286429"/>
                      <a:gd name="connsiteX23" fmla="*/ 79333 w 240334"/>
                      <a:gd name="connsiteY23" fmla="*/ -637 h 286429"/>
                      <a:gd name="connsiteX24" fmla="*/ 97389 w 240334"/>
                      <a:gd name="connsiteY24" fmla="*/ 12222 h 286429"/>
                      <a:gd name="connsiteX25" fmla="*/ 97733 w 240334"/>
                      <a:gd name="connsiteY25" fmla="*/ 15651 h 286429"/>
                      <a:gd name="connsiteX26" fmla="*/ 95919 w 240334"/>
                      <a:gd name="connsiteY26" fmla="*/ 59657 h 286429"/>
                      <a:gd name="connsiteX27" fmla="*/ 167019 w 240334"/>
                      <a:gd name="connsiteY27" fmla="*/ 40607 h 286429"/>
                      <a:gd name="connsiteX28" fmla="*/ 171857 w 240334"/>
                      <a:gd name="connsiteY28" fmla="*/ 39654 h 286429"/>
                      <a:gd name="connsiteX29" fmla="*/ 189049 w 240334"/>
                      <a:gd name="connsiteY29" fmla="*/ 54989 h 286429"/>
                      <a:gd name="connsiteX30" fmla="*/ 189135 w 240334"/>
                      <a:gd name="connsiteY30" fmla="*/ 55751 h 286429"/>
                      <a:gd name="connsiteX31" fmla="*/ 175312 w 240334"/>
                      <a:gd name="connsiteY31" fmla="*/ 73754 h 286429"/>
                      <a:gd name="connsiteX32" fmla="*/ 93156 w 240334"/>
                      <a:gd name="connsiteY32" fmla="*/ 95185 h 286429"/>
                      <a:gd name="connsiteX33" fmla="*/ 83393 w 240334"/>
                      <a:gd name="connsiteY33" fmla="*/ 161860 h 2864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240334" h="286429">
                        <a:moveTo>
                          <a:pt x="83566" y="163003"/>
                        </a:moveTo>
                        <a:cubicBezTo>
                          <a:pt x="106804" y="145477"/>
                          <a:pt x="133759" y="134809"/>
                          <a:pt x="161836" y="131951"/>
                        </a:cubicBezTo>
                        <a:cubicBezTo>
                          <a:pt x="210214" y="128141"/>
                          <a:pt x="235442" y="152716"/>
                          <a:pt x="237169" y="189101"/>
                        </a:cubicBezTo>
                        <a:cubicBezTo>
                          <a:pt x="239415" y="238441"/>
                          <a:pt x="200280" y="274826"/>
                          <a:pt x="131600" y="285113"/>
                        </a:cubicBezTo>
                        <a:cubicBezTo>
                          <a:pt x="123047" y="286923"/>
                          <a:pt x="114754" y="280732"/>
                          <a:pt x="113111" y="271302"/>
                        </a:cubicBezTo>
                        <a:cubicBezTo>
                          <a:pt x="112938" y="270636"/>
                          <a:pt x="112938" y="270064"/>
                          <a:pt x="112851" y="269397"/>
                        </a:cubicBezTo>
                        <a:cubicBezTo>
                          <a:pt x="111816" y="260443"/>
                          <a:pt x="117603" y="252347"/>
                          <a:pt x="125637" y="251204"/>
                        </a:cubicBezTo>
                        <a:cubicBezTo>
                          <a:pt x="125983" y="251204"/>
                          <a:pt x="126242" y="251109"/>
                          <a:pt x="126588" y="251109"/>
                        </a:cubicBezTo>
                        <a:cubicBezTo>
                          <a:pt x="183951" y="241584"/>
                          <a:pt x="203475" y="218914"/>
                          <a:pt x="202007" y="191959"/>
                        </a:cubicBezTo>
                        <a:cubicBezTo>
                          <a:pt x="201058" y="174623"/>
                          <a:pt x="190259" y="162241"/>
                          <a:pt x="164513" y="164241"/>
                        </a:cubicBezTo>
                        <a:cubicBezTo>
                          <a:pt x="129353" y="167003"/>
                          <a:pt x="96870" y="185577"/>
                          <a:pt x="74581" y="215676"/>
                        </a:cubicBezTo>
                        <a:cubicBezTo>
                          <a:pt x="71299" y="219867"/>
                          <a:pt x="66720" y="222534"/>
                          <a:pt x="61795" y="223105"/>
                        </a:cubicBezTo>
                        <a:cubicBezTo>
                          <a:pt x="52723" y="224629"/>
                          <a:pt x="44257" y="217772"/>
                          <a:pt x="42876" y="207865"/>
                        </a:cubicBezTo>
                        <a:cubicBezTo>
                          <a:pt x="42876" y="207580"/>
                          <a:pt x="42789" y="207390"/>
                          <a:pt x="42789" y="207199"/>
                        </a:cubicBezTo>
                        <a:cubicBezTo>
                          <a:pt x="42530" y="204532"/>
                          <a:pt x="42703" y="201769"/>
                          <a:pt x="43308" y="199103"/>
                        </a:cubicBezTo>
                        <a:cubicBezTo>
                          <a:pt x="50304" y="167479"/>
                          <a:pt x="55316" y="135285"/>
                          <a:pt x="58254" y="102900"/>
                        </a:cubicBezTo>
                        <a:cubicBezTo>
                          <a:pt x="42789" y="105948"/>
                          <a:pt x="28190" y="108329"/>
                          <a:pt x="15058" y="109948"/>
                        </a:cubicBezTo>
                        <a:cubicBezTo>
                          <a:pt x="6678" y="111472"/>
                          <a:pt x="-1357" y="105281"/>
                          <a:pt x="-2739" y="95947"/>
                        </a:cubicBezTo>
                        <a:cubicBezTo>
                          <a:pt x="-2825" y="95566"/>
                          <a:pt x="-2912" y="95089"/>
                          <a:pt x="-2912" y="94709"/>
                        </a:cubicBezTo>
                        <a:cubicBezTo>
                          <a:pt x="-4120" y="85564"/>
                          <a:pt x="1581" y="77182"/>
                          <a:pt x="9874" y="75849"/>
                        </a:cubicBezTo>
                        <a:cubicBezTo>
                          <a:pt x="10393" y="75753"/>
                          <a:pt x="10825" y="75659"/>
                          <a:pt x="11342" y="75659"/>
                        </a:cubicBezTo>
                        <a:cubicBezTo>
                          <a:pt x="26116" y="73849"/>
                          <a:pt x="57043" y="72515"/>
                          <a:pt x="61190" y="67277"/>
                        </a:cubicBezTo>
                        <a:cubicBezTo>
                          <a:pt x="65336" y="62038"/>
                          <a:pt x="62487" y="33653"/>
                          <a:pt x="62660" y="16508"/>
                        </a:cubicBezTo>
                        <a:cubicBezTo>
                          <a:pt x="63176" y="6793"/>
                          <a:pt x="70520" y="-732"/>
                          <a:pt x="79333" y="-637"/>
                        </a:cubicBezTo>
                        <a:cubicBezTo>
                          <a:pt x="87539" y="-2542"/>
                          <a:pt x="95660" y="3173"/>
                          <a:pt x="97389" y="12222"/>
                        </a:cubicBezTo>
                        <a:cubicBezTo>
                          <a:pt x="97646" y="13365"/>
                          <a:pt x="97733" y="14508"/>
                          <a:pt x="97733" y="15651"/>
                        </a:cubicBezTo>
                        <a:cubicBezTo>
                          <a:pt x="97216" y="31082"/>
                          <a:pt x="96784" y="45941"/>
                          <a:pt x="95919" y="59657"/>
                        </a:cubicBezTo>
                        <a:cubicBezTo>
                          <a:pt x="120801" y="53941"/>
                          <a:pt x="145680" y="47560"/>
                          <a:pt x="167019" y="40607"/>
                        </a:cubicBezTo>
                        <a:cubicBezTo>
                          <a:pt x="168575" y="40130"/>
                          <a:pt x="170216" y="39845"/>
                          <a:pt x="171857" y="39654"/>
                        </a:cubicBezTo>
                        <a:cubicBezTo>
                          <a:pt x="180410" y="38606"/>
                          <a:pt x="188186" y="45464"/>
                          <a:pt x="189049" y="54989"/>
                        </a:cubicBezTo>
                        <a:cubicBezTo>
                          <a:pt x="189135" y="55180"/>
                          <a:pt x="189135" y="55466"/>
                          <a:pt x="189135" y="55751"/>
                        </a:cubicBezTo>
                        <a:cubicBezTo>
                          <a:pt x="189395" y="64800"/>
                          <a:pt x="183434" y="72515"/>
                          <a:pt x="175312" y="73754"/>
                        </a:cubicBezTo>
                        <a:cubicBezTo>
                          <a:pt x="150000" y="81659"/>
                          <a:pt x="100325" y="86422"/>
                          <a:pt x="93156" y="95185"/>
                        </a:cubicBezTo>
                        <a:cubicBezTo>
                          <a:pt x="85985" y="103948"/>
                          <a:pt x="87193" y="143953"/>
                          <a:pt x="83393" y="161860"/>
                        </a:cubicBezTo>
                        <a:close/>
                      </a:path>
                    </a:pathLst>
                  </a:custGeom>
                  <a:grpFill/>
                  <a:ln w="8600" cap="flat">
                    <a:noFill/>
                    <a:prstDash val="solid"/>
                    <a:miter/>
                  </a:ln>
                </p:spPr>
                <p:txBody>
                  <a:bodyPr rtlCol="0" anchor="ctr"/>
                  <a:lstStyle/>
                  <a:p>
                    <a:endParaRPr lang="ja-JP" altLang="en-US"/>
                  </a:p>
                </p:txBody>
              </p:sp>
              <p:sp>
                <p:nvSpPr>
                  <p:cNvPr id="20" name="フリーフォーム: 図形 19">
                    <a:extLst>
                      <a:ext uri="{FF2B5EF4-FFF2-40B4-BE49-F238E27FC236}">
                        <a16:creationId xmlns:a16="http://schemas.microsoft.com/office/drawing/2014/main" id="{9379EA70-B061-6994-1A28-68471EF6289E}"/>
                      </a:ext>
                    </a:extLst>
                  </p:cNvPr>
                  <p:cNvSpPr/>
                  <p:nvPr/>
                </p:nvSpPr>
                <p:spPr>
                  <a:xfrm rot="2192747">
                    <a:off x="15485314" y="3300278"/>
                    <a:ext cx="285511" cy="312480"/>
                  </a:xfrm>
                  <a:custGeom>
                    <a:avLst/>
                    <a:gdLst>
                      <a:gd name="connsiteX0" fmla="*/ 19886 w 285511"/>
                      <a:gd name="connsiteY0" fmla="*/ 63699 h 312480"/>
                      <a:gd name="connsiteX1" fmla="*/ 8655 w 285511"/>
                      <a:gd name="connsiteY1" fmla="*/ 49983 h 312480"/>
                      <a:gd name="connsiteX2" fmla="*/ 19194 w 285511"/>
                      <a:gd name="connsiteY2" fmla="*/ 37695 h 312480"/>
                      <a:gd name="connsiteX3" fmla="*/ 86926 w 285511"/>
                      <a:gd name="connsiteY3" fmla="*/ 36267 h 312480"/>
                      <a:gd name="connsiteX4" fmla="*/ 76040 w 285511"/>
                      <a:gd name="connsiteY4" fmla="*/ 22741 h 312480"/>
                      <a:gd name="connsiteX5" fmla="*/ 72672 w 285511"/>
                      <a:gd name="connsiteY5" fmla="*/ 14169 h 312480"/>
                      <a:gd name="connsiteX6" fmla="*/ 88913 w 285511"/>
                      <a:gd name="connsiteY6" fmla="*/ -405 h 312480"/>
                      <a:gd name="connsiteX7" fmla="*/ 101439 w 285511"/>
                      <a:gd name="connsiteY7" fmla="*/ 4835 h 312480"/>
                      <a:gd name="connsiteX8" fmla="*/ 114570 w 285511"/>
                      <a:gd name="connsiteY8" fmla="*/ 20074 h 312480"/>
                      <a:gd name="connsiteX9" fmla="*/ 117509 w 285511"/>
                      <a:gd name="connsiteY9" fmla="*/ 29123 h 312480"/>
                      <a:gd name="connsiteX10" fmla="*/ 115608 w 285511"/>
                      <a:gd name="connsiteY10" fmla="*/ 36076 h 312480"/>
                      <a:gd name="connsiteX11" fmla="*/ 155952 w 285511"/>
                      <a:gd name="connsiteY11" fmla="*/ 36076 h 312480"/>
                      <a:gd name="connsiteX12" fmla="*/ 172193 w 285511"/>
                      <a:gd name="connsiteY12" fmla="*/ 8549 h 312480"/>
                      <a:gd name="connsiteX13" fmla="*/ 188089 w 285511"/>
                      <a:gd name="connsiteY13" fmla="*/ -976 h 312480"/>
                      <a:gd name="connsiteX14" fmla="*/ 204589 w 285511"/>
                      <a:gd name="connsiteY14" fmla="*/ 13026 h 312480"/>
                      <a:gd name="connsiteX15" fmla="*/ 202172 w 285511"/>
                      <a:gd name="connsiteY15" fmla="*/ 20360 h 312480"/>
                      <a:gd name="connsiteX16" fmla="*/ 192149 w 285511"/>
                      <a:gd name="connsiteY16" fmla="*/ 36457 h 312480"/>
                      <a:gd name="connsiteX17" fmla="*/ 265322 w 285511"/>
                      <a:gd name="connsiteY17" fmla="*/ 38744 h 312480"/>
                      <a:gd name="connsiteX18" fmla="*/ 276035 w 285511"/>
                      <a:gd name="connsiteY18" fmla="*/ 50745 h 312480"/>
                      <a:gd name="connsiteX19" fmla="*/ 275948 w 285511"/>
                      <a:gd name="connsiteY19" fmla="*/ 52174 h 312480"/>
                      <a:gd name="connsiteX20" fmla="*/ 265149 w 285511"/>
                      <a:gd name="connsiteY20" fmla="*/ 64651 h 312480"/>
                      <a:gd name="connsiteX21" fmla="*/ 264460 w 285511"/>
                      <a:gd name="connsiteY21" fmla="*/ 64651 h 312480"/>
                      <a:gd name="connsiteX22" fmla="*/ 155087 w 285511"/>
                      <a:gd name="connsiteY22" fmla="*/ 61985 h 312480"/>
                      <a:gd name="connsiteX23" fmla="*/ 155087 w 285511"/>
                      <a:gd name="connsiteY23" fmla="*/ 76938 h 312480"/>
                      <a:gd name="connsiteX24" fmla="*/ 236642 w 285511"/>
                      <a:gd name="connsiteY24" fmla="*/ 78653 h 312480"/>
                      <a:gd name="connsiteX25" fmla="*/ 246922 w 285511"/>
                      <a:gd name="connsiteY25" fmla="*/ 92846 h 312480"/>
                      <a:gd name="connsiteX26" fmla="*/ 235950 w 285511"/>
                      <a:gd name="connsiteY26" fmla="*/ 104276 h 312480"/>
                      <a:gd name="connsiteX27" fmla="*/ 154914 w 285511"/>
                      <a:gd name="connsiteY27" fmla="*/ 102656 h 312480"/>
                      <a:gd name="connsiteX28" fmla="*/ 154914 w 285511"/>
                      <a:gd name="connsiteY28" fmla="*/ 117991 h 312480"/>
                      <a:gd name="connsiteX29" fmla="*/ 271975 w 285511"/>
                      <a:gd name="connsiteY29" fmla="*/ 121039 h 312480"/>
                      <a:gd name="connsiteX30" fmla="*/ 282428 w 285511"/>
                      <a:gd name="connsiteY30" fmla="*/ 133708 h 312480"/>
                      <a:gd name="connsiteX31" fmla="*/ 282341 w 285511"/>
                      <a:gd name="connsiteY31" fmla="*/ 134565 h 312480"/>
                      <a:gd name="connsiteX32" fmla="*/ 271715 w 285511"/>
                      <a:gd name="connsiteY32" fmla="*/ 147424 h 312480"/>
                      <a:gd name="connsiteX33" fmla="*/ 271026 w 285511"/>
                      <a:gd name="connsiteY33" fmla="*/ 147424 h 312480"/>
                      <a:gd name="connsiteX34" fmla="*/ 99538 w 285511"/>
                      <a:gd name="connsiteY34" fmla="*/ 144280 h 312480"/>
                      <a:gd name="connsiteX35" fmla="*/ 91764 w 285511"/>
                      <a:gd name="connsiteY35" fmla="*/ 165045 h 312480"/>
                      <a:gd name="connsiteX36" fmla="*/ 110683 w 285511"/>
                      <a:gd name="connsiteY36" fmla="*/ 162854 h 312480"/>
                      <a:gd name="connsiteX37" fmla="*/ 202862 w 285511"/>
                      <a:gd name="connsiteY37" fmla="*/ 163712 h 312480"/>
                      <a:gd name="connsiteX38" fmla="*/ 241911 w 285511"/>
                      <a:gd name="connsiteY38" fmla="*/ 198287 h 312480"/>
                      <a:gd name="connsiteX39" fmla="*/ 239578 w 285511"/>
                      <a:gd name="connsiteY39" fmla="*/ 279536 h 312480"/>
                      <a:gd name="connsiteX40" fmla="*/ 200012 w 285511"/>
                      <a:gd name="connsiteY40" fmla="*/ 311444 h 312480"/>
                      <a:gd name="connsiteX41" fmla="*/ 111202 w 285511"/>
                      <a:gd name="connsiteY41" fmla="*/ 310586 h 312480"/>
                      <a:gd name="connsiteX42" fmla="*/ 72153 w 285511"/>
                      <a:gd name="connsiteY42" fmla="*/ 277916 h 312480"/>
                      <a:gd name="connsiteX43" fmla="*/ 71202 w 285511"/>
                      <a:gd name="connsiteY43" fmla="*/ 208288 h 312480"/>
                      <a:gd name="connsiteX44" fmla="*/ 28006 w 285511"/>
                      <a:gd name="connsiteY44" fmla="*/ 269344 h 312480"/>
                      <a:gd name="connsiteX45" fmla="*/ 15567 w 285511"/>
                      <a:gd name="connsiteY45" fmla="*/ 275440 h 312480"/>
                      <a:gd name="connsiteX46" fmla="*/ -1193 w 285511"/>
                      <a:gd name="connsiteY46" fmla="*/ 258962 h 312480"/>
                      <a:gd name="connsiteX47" fmla="*/ 4249 w 285511"/>
                      <a:gd name="connsiteY47" fmla="*/ 245817 h 312480"/>
                      <a:gd name="connsiteX48" fmla="*/ 64723 w 285511"/>
                      <a:gd name="connsiteY48" fmla="*/ 144757 h 312480"/>
                      <a:gd name="connsiteX49" fmla="*/ 7706 w 285511"/>
                      <a:gd name="connsiteY49" fmla="*/ 146281 h 312480"/>
                      <a:gd name="connsiteX50" fmla="*/ -3007 w 285511"/>
                      <a:gd name="connsiteY50" fmla="*/ 131517 h 312480"/>
                      <a:gd name="connsiteX51" fmla="*/ 6928 w 285511"/>
                      <a:gd name="connsiteY51" fmla="*/ 119896 h 312480"/>
                      <a:gd name="connsiteX52" fmla="*/ 122433 w 285511"/>
                      <a:gd name="connsiteY52" fmla="*/ 117801 h 312480"/>
                      <a:gd name="connsiteX53" fmla="*/ 122433 w 285511"/>
                      <a:gd name="connsiteY53" fmla="*/ 102466 h 312480"/>
                      <a:gd name="connsiteX54" fmla="*/ 43644 w 285511"/>
                      <a:gd name="connsiteY54" fmla="*/ 103514 h 312480"/>
                      <a:gd name="connsiteX55" fmla="*/ 32758 w 285511"/>
                      <a:gd name="connsiteY55" fmla="*/ 91512 h 312480"/>
                      <a:gd name="connsiteX56" fmla="*/ 32758 w 285511"/>
                      <a:gd name="connsiteY56" fmla="*/ 90750 h 312480"/>
                      <a:gd name="connsiteX57" fmla="*/ 42349 w 285511"/>
                      <a:gd name="connsiteY57" fmla="*/ 77891 h 312480"/>
                      <a:gd name="connsiteX58" fmla="*/ 43125 w 285511"/>
                      <a:gd name="connsiteY58" fmla="*/ 77796 h 312480"/>
                      <a:gd name="connsiteX59" fmla="*/ 122433 w 285511"/>
                      <a:gd name="connsiteY59" fmla="*/ 76844 h 312480"/>
                      <a:gd name="connsiteX60" fmla="*/ 122433 w 285511"/>
                      <a:gd name="connsiteY60" fmla="*/ 61794 h 312480"/>
                      <a:gd name="connsiteX61" fmla="*/ 19886 w 285511"/>
                      <a:gd name="connsiteY61" fmla="*/ 63699 h 312480"/>
                      <a:gd name="connsiteX62" fmla="*/ 208909 w 285511"/>
                      <a:gd name="connsiteY62" fmla="*/ 198192 h 312480"/>
                      <a:gd name="connsiteX63" fmla="*/ 198715 w 285511"/>
                      <a:gd name="connsiteY63" fmla="*/ 189334 h 312480"/>
                      <a:gd name="connsiteX64" fmla="*/ 113708 w 285511"/>
                      <a:gd name="connsiteY64" fmla="*/ 188476 h 312480"/>
                      <a:gd name="connsiteX65" fmla="*/ 103772 w 285511"/>
                      <a:gd name="connsiteY65" fmla="*/ 197239 h 312480"/>
                      <a:gd name="connsiteX66" fmla="*/ 103772 w 285511"/>
                      <a:gd name="connsiteY66" fmla="*/ 205526 h 312480"/>
                      <a:gd name="connsiteX67" fmla="*/ 208738 w 285511"/>
                      <a:gd name="connsiteY67" fmla="*/ 206574 h 312480"/>
                      <a:gd name="connsiteX68" fmla="*/ 208824 w 285511"/>
                      <a:gd name="connsiteY68" fmla="*/ 198192 h 312480"/>
                      <a:gd name="connsiteX69" fmla="*/ 104031 w 285511"/>
                      <a:gd name="connsiteY69" fmla="*/ 245245 h 312480"/>
                      <a:gd name="connsiteX70" fmla="*/ 207700 w 285511"/>
                      <a:gd name="connsiteY70" fmla="*/ 246198 h 312480"/>
                      <a:gd name="connsiteX71" fmla="*/ 207700 w 285511"/>
                      <a:gd name="connsiteY71" fmla="*/ 229244 h 312480"/>
                      <a:gd name="connsiteX72" fmla="*/ 103426 w 285511"/>
                      <a:gd name="connsiteY72" fmla="*/ 228196 h 312480"/>
                      <a:gd name="connsiteX73" fmla="*/ 103945 w 285511"/>
                      <a:gd name="connsiteY73" fmla="*/ 245245 h 312480"/>
                      <a:gd name="connsiteX74" fmla="*/ 196901 w 285511"/>
                      <a:gd name="connsiteY74" fmla="*/ 286298 h 312480"/>
                      <a:gd name="connsiteX75" fmla="*/ 207181 w 285511"/>
                      <a:gd name="connsiteY75" fmla="*/ 277916 h 312480"/>
                      <a:gd name="connsiteX76" fmla="*/ 207181 w 285511"/>
                      <a:gd name="connsiteY76" fmla="*/ 268391 h 312480"/>
                      <a:gd name="connsiteX77" fmla="*/ 103512 w 285511"/>
                      <a:gd name="connsiteY77" fmla="*/ 267439 h 312480"/>
                      <a:gd name="connsiteX78" fmla="*/ 103512 w 285511"/>
                      <a:gd name="connsiteY78" fmla="*/ 276392 h 312480"/>
                      <a:gd name="connsiteX79" fmla="*/ 113362 w 285511"/>
                      <a:gd name="connsiteY79" fmla="*/ 285060 h 312480"/>
                      <a:gd name="connsiteX80" fmla="*/ 196815 w 285511"/>
                      <a:gd name="connsiteY80" fmla="*/ 286298 h 31248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Lst>
                    <a:rect l="l" t="t" r="r" b="b"/>
                    <a:pathLst>
                      <a:path w="285511" h="312480">
                        <a:moveTo>
                          <a:pt x="19886" y="63699"/>
                        </a:moveTo>
                        <a:cubicBezTo>
                          <a:pt x="13320" y="63318"/>
                          <a:pt x="8309" y="57222"/>
                          <a:pt x="8655" y="49983"/>
                        </a:cubicBezTo>
                        <a:cubicBezTo>
                          <a:pt x="9001" y="43601"/>
                          <a:pt x="13407" y="38362"/>
                          <a:pt x="19194" y="37695"/>
                        </a:cubicBezTo>
                        <a:cubicBezTo>
                          <a:pt x="46322" y="36934"/>
                          <a:pt x="59884" y="36648"/>
                          <a:pt x="86926" y="36267"/>
                        </a:cubicBezTo>
                        <a:cubicBezTo>
                          <a:pt x="83557" y="31505"/>
                          <a:pt x="79928" y="27027"/>
                          <a:pt x="76040" y="22741"/>
                        </a:cubicBezTo>
                        <a:cubicBezTo>
                          <a:pt x="73967" y="20455"/>
                          <a:pt x="72759" y="17407"/>
                          <a:pt x="72672" y="14169"/>
                        </a:cubicBezTo>
                        <a:cubicBezTo>
                          <a:pt x="73794" y="5406"/>
                          <a:pt x="80879" y="-976"/>
                          <a:pt x="88913" y="-405"/>
                        </a:cubicBezTo>
                        <a:cubicBezTo>
                          <a:pt x="93492" y="-309"/>
                          <a:pt x="97984" y="1501"/>
                          <a:pt x="101439" y="4835"/>
                        </a:cubicBezTo>
                        <a:cubicBezTo>
                          <a:pt x="106277" y="9406"/>
                          <a:pt x="110683" y="14550"/>
                          <a:pt x="114570" y="20074"/>
                        </a:cubicBezTo>
                        <a:cubicBezTo>
                          <a:pt x="116557" y="22551"/>
                          <a:pt x="117595" y="25789"/>
                          <a:pt x="117509" y="29123"/>
                        </a:cubicBezTo>
                        <a:cubicBezTo>
                          <a:pt x="117595" y="31600"/>
                          <a:pt x="116903" y="34076"/>
                          <a:pt x="115608" y="36076"/>
                        </a:cubicBezTo>
                        <a:cubicBezTo>
                          <a:pt x="131762" y="36076"/>
                          <a:pt x="139796" y="36076"/>
                          <a:pt x="155952" y="36076"/>
                        </a:cubicBezTo>
                        <a:cubicBezTo>
                          <a:pt x="161999" y="27409"/>
                          <a:pt x="167443" y="18169"/>
                          <a:pt x="172193" y="8549"/>
                        </a:cubicBezTo>
                        <a:cubicBezTo>
                          <a:pt x="175477" y="2358"/>
                          <a:pt x="181610" y="-1357"/>
                          <a:pt x="188089" y="-976"/>
                        </a:cubicBezTo>
                        <a:cubicBezTo>
                          <a:pt x="196728" y="-976"/>
                          <a:pt x="204762" y="4739"/>
                          <a:pt x="204589" y="13026"/>
                        </a:cubicBezTo>
                        <a:cubicBezTo>
                          <a:pt x="204505" y="15693"/>
                          <a:pt x="203727" y="18265"/>
                          <a:pt x="202172" y="20360"/>
                        </a:cubicBezTo>
                        <a:cubicBezTo>
                          <a:pt x="198802" y="26266"/>
                          <a:pt x="195433" y="31505"/>
                          <a:pt x="192149" y="36457"/>
                        </a:cubicBezTo>
                        <a:cubicBezTo>
                          <a:pt x="221437" y="37029"/>
                          <a:pt x="236037" y="37505"/>
                          <a:pt x="265322" y="38744"/>
                        </a:cubicBezTo>
                        <a:cubicBezTo>
                          <a:pt x="271285" y="38838"/>
                          <a:pt x="276121" y="44172"/>
                          <a:pt x="276035" y="50745"/>
                        </a:cubicBezTo>
                        <a:cubicBezTo>
                          <a:pt x="276035" y="51221"/>
                          <a:pt x="276035" y="51697"/>
                          <a:pt x="275948" y="52174"/>
                        </a:cubicBezTo>
                        <a:cubicBezTo>
                          <a:pt x="276121" y="58937"/>
                          <a:pt x="271285" y="64461"/>
                          <a:pt x="265149" y="64651"/>
                        </a:cubicBezTo>
                        <a:cubicBezTo>
                          <a:pt x="264892" y="64651"/>
                          <a:pt x="264719" y="64651"/>
                          <a:pt x="264460" y="64651"/>
                        </a:cubicBezTo>
                        <a:cubicBezTo>
                          <a:pt x="220745" y="62937"/>
                          <a:pt x="198888" y="62365"/>
                          <a:pt x="155087" y="61985"/>
                        </a:cubicBezTo>
                        <a:cubicBezTo>
                          <a:pt x="155087" y="67985"/>
                          <a:pt x="155087" y="70938"/>
                          <a:pt x="155087" y="76938"/>
                        </a:cubicBezTo>
                        <a:cubicBezTo>
                          <a:pt x="187743" y="76938"/>
                          <a:pt x="204072" y="77605"/>
                          <a:pt x="236642" y="78653"/>
                        </a:cubicBezTo>
                        <a:cubicBezTo>
                          <a:pt x="243035" y="79415"/>
                          <a:pt x="247700" y="85797"/>
                          <a:pt x="246922" y="92846"/>
                        </a:cubicBezTo>
                        <a:cubicBezTo>
                          <a:pt x="246317" y="99132"/>
                          <a:pt x="241651" y="103990"/>
                          <a:pt x="235950" y="104276"/>
                        </a:cubicBezTo>
                        <a:cubicBezTo>
                          <a:pt x="203554" y="103227"/>
                          <a:pt x="187311" y="102942"/>
                          <a:pt x="154914" y="102656"/>
                        </a:cubicBezTo>
                        <a:cubicBezTo>
                          <a:pt x="154914" y="108752"/>
                          <a:pt x="154914" y="112181"/>
                          <a:pt x="154914" y="117991"/>
                        </a:cubicBezTo>
                        <a:cubicBezTo>
                          <a:pt x="201740" y="117991"/>
                          <a:pt x="225151" y="119039"/>
                          <a:pt x="271975" y="121039"/>
                        </a:cubicBezTo>
                        <a:cubicBezTo>
                          <a:pt x="278022" y="121325"/>
                          <a:pt x="282687" y="127040"/>
                          <a:pt x="282428" y="133708"/>
                        </a:cubicBezTo>
                        <a:cubicBezTo>
                          <a:pt x="282428" y="133994"/>
                          <a:pt x="282341" y="134279"/>
                          <a:pt x="282341" y="134565"/>
                        </a:cubicBezTo>
                        <a:cubicBezTo>
                          <a:pt x="282601" y="141327"/>
                          <a:pt x="277851" y="147138"/>
                          <a:pt x="271715" y="147424"/>
                        </a:cubicBezTo>
                        <a:cubicBezTo>
                          <a:pt x="271458" y="147424"/>
                          <a:pt x="271285" y="147424"/>
                          <a:pt x="271026" y="147424"/>
                        </a:cubicBezTo>
                        <a:cubicBezTo>
                          <a:pt x="202429" y="144376"/>
                          <a:pt x="168132" y="143709"/>
                          <a:pt x="99538" y="144280"/>
                        </a:cubicBezTo>
                        <a:cubicBezTo>
                          <a:pt x="97033" y="151329"/>
                          <a:pt x="94527" y="157996"/>
                          <a:pt x="91764" y="165045"/>
                        </a:cubicBezTo>
                        <a:cubicBezTo>
                          <a:pt x="97984" y="163426"/>
                          <a:pt x="104290" y="162759"/>
                          <a:pt x="110683" y="162854"/>
                        </a:cubicBezTo>
                        <a:cubicBezTo>
                          <a:pt x="147572" y="162854"/>
                          <a:pt x="165973" y="162854"/>
                          <a:pt x="202862" y="163712"/>
                        </a:cubicBezTo>
                        <a:cubicBezTo>
                          <a:pt x="232839" y="164473"/>
                          <a:pt x="242603" y="174951"/>
                          <a:pt x="241911" y="198287"/>
                        </a:cubicBezTo>
                        <a:cubicBezTo>
                          <a:pt x="240962" y="230768"/>
                          <a:pt x="240529" y="247055"/>
                          <a:pt x="239578" y="279536"/>
                        </a:cubicBezTo>
                        <a:cubicBezTo>
                          <a:pt x="238888" y="302872"/>
                          <a:pt x="228866" y="312111"/>
                          <a:pt x="200012" y="311444"/>
                        </a:cubicBezTo>
                        <a:cubicBezTo>
                          <a:pt x="164505" y="310586"/>
                          <a:pt x="146708" y="310397"/>
                          <a:pt x="111202" y="310586"/>
                        </a:cubicBezTo>
                        <a:cubicBezTo>
                          <a:pt x="82347" y="310586"/>
                          <a:pt x="72499" y="301061"/>
                          <a:pt x="72153" y="277916"/>
                        </a:cubicBezTo>
                        <a:cubicBezTo>
                          <a:pt x="72153" y="250103"/>
                          <a:pt x="71634" y="236197"/>
                          <a:pt x="71202" y="208288"/>
                        </a:cubicBezTo>
                        <a:cubicBezTo>
                          <a:pt x="59195" y="230577"/>
                          <a:pt x="44681" y="251055"/>
                          <a:pt x="28006" y="269344"/>
                        </a:cubicBezTo>
                        <a:cubicBezTo>
                          <a:pt x="24725" y="273058"/>
                          <a:pt x="20232" y="275249"/>
                          <a:pt x="15567" y="275440"/>
                        </a:cubicBezTo>
                        <a:cubicBezTo>
                          <a:pt x="6928" y="275726"/>
                          <a:pt x="-417" y="268487"/>
                          <a:pt x="-1193" y="258962"/>
                        </a:cubicBezTo>
                        <a:cubicBezTo>
                          <a:pt x="-1366" y="253913"/>
                          <a:pt x="708" y="249055"/>
                          <a:pt x="4249" y="245817"/>
                        </a:cubicBezTo>
                        <a:cubicBezTo>
                          <a:pt x="31204" y="217718"/>
                          <a:pt x="51937" y="183142"/>
                          <a:pt x="64723" y="144757"/>
                        </a:cubicBezTo>
                        <a:cubicBezTo>
                          <a:pt x="41916" y="144757"/>
                          <a:pt x="30166" y="145423"/>
                          <a:pt x="7706" y="146281"/>
                        </a:cubicBezTo>
                        <a:cubicBezTo>
                          <a:pt x="1054" y="145423"/>
                          <a:pt x="-3698" y="138851"/>
                          <a:pt x="-3007" y="131517"/>
                        </a:cubicBezTo>
                        <a:cubicBezTo>
                          <a:pt x="-2403" y="125707"/>
                          <a:pt x="1657" y="120944"/>
                          <a:pt x="6928" y="119896"/>
                        </a:cubicBezTo>
                        <a:cubicBezTo>
                          <a:pt x="53148" y="118277"/>
                          <a:pt x="76040" y="117896"/>
                          <a:pt x="122433" y="117801"/>
                        </a:cubicBezTo>
                        <a:lnTo>
                          <a:pt x="122433" y="102466"/>
                        </a:lnTo>
                        <a:cubicBezTo>
                          <a:pt x="90899" y="102466"/>
                          <a:pt x="75176" y="102466"/>
                          <a:pt x="43644" y="103514"/>
                        </a:cubicBezTo>
                        <a:cubicBezTo>
                          <a:pt x="37597" y="103514"/>
                          <a:pt x="32758" y="98180"/>
                          <a:pt x="32758" y="91512"/>
                        </a:cubicBezTo>
                        <a:cubicBezTo>
                          <a:pt x="32758" y="91321"/>
                          <a:pt x="32758" y="91036"/>
                          <a:pt x="32758" y="90750"/>
                        </a:cubicBezTo>
                        <a:cubicBezTo>
                          <a:pt x="32153" y="84273"/>
                          <a:pt x="36473" y="78463"/>
                          <a:pt x="42349" y="77891"/>
                        </a:cubicBezTo>
                        <a:cubicBezTo>
                          <a:pt x="42606" y="77796"/>
                          <a:pt x="42865" y="77796"/>
                          <a:pt x="43125" y="77796"/>
                        </a:cubicBezTo>
                        <a:cubicBezTo>
                          <a:pt x="74832" y="77034"/>
                          <a:pt x="90726" y="76844"/>
                          <a:pt x="122433" y="76844"/>
                        </a:cubicBezTo>
                        <a:lnTo>
                          <a:pt x="122433" y="61794"/>
                        </a:lnTo>
                        <a:cubicBezTo>
                          <a:pt x="80965" y="62175"/>
                          <a:pt x="60576" y="62461"/>
                          <a:pt x="19886" y="63699"/>
                        </a:cubicBezTo>
                        <a:close/>
                        <a:moveTo>
                          <a:pt x="208909" y="198192"/>
                        </a:moveTo>
                        <a:cubicBezTo>
                          <a:pt x="208909" y="191524"/>
                          <a:pt x="207181" y="189524"/>
                          <a:pt x="198715" y="189334"/>
                        </a:cubicBezTo>
                        <a:cubicBezTo>
                          <a:pt x="164764" y="188476"/>
                          <a:pt x="147745" y="188381"/>
                          <a:pt x="113708" y="188476"/>
                        </a:cubicBezTo>
                        <a:cubicBezTo>
                          <a:pt x="105069" y="188476"/>
                          <a:pt x="103685" y="190477"/>
                          <a:pt x="103772" y="197239"/>
                        </a:cubicBezTo>
                        <a:lnTo>
                          <a:pt x="103772" y="205526"/>
                        </a:lnTo>
                        <a:cubicBezTo>
                          <a:pt x="145759" y="205526"/>
                          <a:pt x="166751" y="205526"/>
                          <a:pt x="208738" y="206574"/>
                        </a:cubicBezTo>
                        <a:cubicBezTo>
                          <a:pt x="208738" y="203241"/>
                          <a:pt x="208738" y="201621"/>
                          <a:pt x="208824" y="198192"/>
                        </a:cubicBezTo>
                        <a:close/>
                        <a:moveTo>
                          <a:pt x="104031" y="245245"/>
                        </a:moveTo>
                        <a:cubicBezTo>
                          <a:pt x="145586" y="245245"/>
                          <a:pt x="166319" y="245245"/>
                          <a:pt x="207700" y="246198"/>
                        </a:cubicBezTo>
                        <a:cubicBezTo>
                          <a:pt x="207700" y="239435"/>
                          <a:pt x="207700" y="236006"/>
                          <a:pt x="207700" y="229244"/>
                        </a:cubicBezTo>
                        <a:cubicBezTo>
                          <a:pt x="165973" y="228101"/>
                          <a:pt x="145153" y="227910"/>
                          <a:pt x="103426" y="228196"/>
                        </a:cubicBezTo>
                        <a:cubicBezTo>
                          <a:pt x="103858" y="235054"/>
                          <a:pt x="103858" y="238387"/>
                          <a:pt x="103945" y="245245"/>
                        </a:cubicBezTo>
                        <a:close/>
                        <a:moveTo>
                          <a:pt x="196901" y="286298"/>
                        </a:moveTo>
                        <a:cubicBezTo>
                          <a:pt x="205540" y="286298"/>
                          <a:pt x="207095" y="284583"/>
                          <a:pt x="207181" y="277916"/>
                        </a:cubicBezTo>
                        <a:lnTo>
                          <a:pt x="207181" y="268391"/>
                        </a:lnTo>
                        <a:cubicBezTo>
                          <a:pt x="165800" y="267344"/>
                          <a:pt x="145153" y="267153"/>
                          <a:pt x="103512" y="267439"/>
                        </a:cubicBezTo>
                        <a:cubicBezTo>
                          <a:pt x="103512" y="270963"/>
                          <a:pt x="103512" y="272772"/>
                          <a:pt x="103512" y="276392"/>
                        </a:cubicBezTo>
                        <a:cubicBezTo>
                          <a:pt x="103512" y="284393"/>
                          <a:pt x="106883" y="285060"/>
                          <a:pt x="113362" y="285060"/>
                        </a:cubicBezTo>
                        <a:cubicBezTo>
                          <a:pt x="147140" y="285346"/>
                          <a:pt x="163640" y="285537"/>
                          <a:pt x="196815" y="286298"/>
                        </a:cubicBezTo>
                        <a:close/>
                      </a:path>
                    </a:pathLst>
                  </a:custGeom>
                  <a:grpFill/>
                  <a:ln w="8600" cap="flat">
                    <a:noFill/>
                    <a:prstDash val="solid"/>
                    <a:miter/>
                  </a:ln>
                </p:spPr>
                <p:txBody>
                  <a:bodyPr rtlCol="0" anchor="ctr"/>
                  <a:lstStyle/>
                  <a:p>
                    <a:endParaRPr lang="ja-JP" altLang="en-US"/>
                  </a:p>
                </p:txBody>
              </p:sp>
              <p:sp>
                <p:nvSpPr>
                  <p:cNvPr id="21" name="フリーフォーム: 図形 20">
                    <a:extLst>
                      <a:ext uri="{FF2B5EF4-FFF2-40B4-BE49-F238E27FC236}">
                        <a16:creationId xmlns:a16="http://schemas.microsoft.com/office/drawing/2014/main" id="{F5CB554C-DA89-C746-E8B6-68B005EDA4E6}"/>
                      </a:ext>
                    </a:extLst>
                  </p:cNvPr>
                  <p:cNvSpPr/>
                  <p:nvPr/>
                </p:nvSpPr>
                <p:spPr>
                  <a:xfrm rot="2192747">
                    <a:off x="15750003" y="3543008"/>
                    <a:ext cx="251285" cy="240191"/>
                  </a:xfrm>
                  <a:custGeom>
                    <a:avLst/>
                    <a:gdLst>
                      <a:gd name="connsiteX0" fmla="*/ 20379 w 251285"/>
                      <a:gd name="connsiteY0" fmla="*/ -801 h 240191"/>
                      <a:gd name="connsiteX1" fmla="*/ 38347 w 251285"/>
                      <a:gd name="connsiteY1" fmla="*/ 19202 h 240191"/>
                      <a:gd name="connsiteX2" fmla="*/ 35238 w 251285"/>
                      <a:gd name="connsiteY2" fmla="*/ 49396 h 240191"/>
                      <a:gd name="connsiteX3" fmla="*/ 61155 w 251285"/>
                      <a:gd name="connsiteY3" fmla="*/ 199224 h 240191"/>
                      <a:gd name="connsiteX4" fmla="*/ 83531 w 251285"/>
                      <a:gd name="connsiteY4" fmla="*/ 170649 h 240191"/>
                      <a:gd name="connsiteX5" fmla="*/ 100809 w 251285"/>
                      <a:gd name="connsiteY5" fmla="*/ 157791 h 240191"/>
                      <a:gd name="connsiteX6" fmla="*/ 117050 w 251285"/>
                      <a:gd name="connsiteY6" fmla="*/ 177507 h 240191"/>
                      <a:gd name="connsiteX7" fmla="*/ 115928 w 251285"/>
                      <a:gd name="connsiteY7" fmla="*/ 183127 h 240191"/>
                      <a:gd name="connsiteX8" fmla="*/ 59601 w 251285"/>
                      <a:gd name="connsiteY8" fmla="*/ 239039 h 240191"/>
                      <a:gd name="connsiteX9" fmla="*/ -1997 w 251285"/>
                      <a:gd name="connsiteY9" fmla="*/ 47682 h 240191"/>
                      <a:gd name="connsiteX10" fmla="*/ 1027 w 251285"/>
                      <a:gd name="connsiteY10" fmla="*/ 13773 h 240191"/>
                      <a:gd name="connsiteX11" fmla="*/ 20379 w 251285"/>
                      <a:gd name="connsiteY11" fmla="*/ -801 h 240191"/>
                      <a:gd name="connsiteX12" fmla="*/ 248018 w 251285"/>
                      <a:gd name="connsiteY12" fmla="*/ 165125 h 240191"/>
                      <a:gd name="connsiteX13" fmla="*/ 248018 w 251285"/>
                      <a:gd name="connsiteY13" fmla="*/ 172269 h 240191"/>
                      <a:gd name="connsiteX14" fmla="*/ 229185 w 251285"/>
                      <a:gd name="connsiteY14" fmla="*/ 187413 h 240191"/>
                      <a:gd name="connsiteX15" fmla="*/ 228666 w 251285"/>
                      <a:gd name="connsiteY15" fmla="*/ 187318 h 240191"/>
                      <a:gd name="connsiteX16" fmla="*/ 213548 w 251285"/>
                      <a:gd name="connsiteY16" fmla="*/ 172554 h 240191"/>
                      <a:gd name="connsiteX17" fmla="*/ 168279 w 251285"/>
                      <a:gd name="connsiteY17" fmla="*/ 75685 h 240191"/>
                      <a:gd name="connsiteX18" fmla="*/ 163959 w 251285"/>
                      <a:gd name="connsiteY18" fmla="*/ 62826 h 240191"/>
                      <a:gd name="connsiteX19" fmla="*/ 183830 w 251285"/>
                      <a:gd name="connsiteY19" fmla="*/ 48062 h 240191"/>
                      <a:gd name="connsiteX20" fmla="*/ 197307 w 251285"/>
                      <a:gd name="connsiteY20" fmla="*/ 56064 h 240191"/>
                      <a:gd name="connsiteX21" fmla="*/ 248018 w 251285"/>
                      <a:gd name="connsiteY21" fmla="*/ 165125 h 24019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251285" h="240191">
                        <a:moveTo>
                          <a:pt x="20379" y="-801"/>
                        </a:moveTo>
                        <a:cubicBezTo>
                          <a:pt x="30399" y="-134"/>
                          <a:pt x="39817" y="7010"/>
                          <a:pt x="38347" y="19202"/>
                        </a:cubicBezTo>
                        <a:cubicBezTo>
                          <a:pt x="37138" y="29393"/>
                          <a:pt x="35929" y="37394"/>
                          <a:pt x="35238" y="49396"/>
                        </a:cubicBezTo>
                        <a:cubicBezTo>
                          <a:pt x="28067" y="165791"/>
                          <a:pt x="48110" y="198081"/>
                          <a:pt x="61155" y="199224"/>
                        </a:cubicBezTo>
                        <a:cubicBezTo>
                          <a:pt x="68583" y="199796"/>
                          <a:pt x="75409" y="195034"/>
                          <a:pt x="83531" y="170649"/>
                        </a:cubicBezTo>
                        <a:cubicBezTo>
                          <a:pt x="85604" y="162267"/>
                          <a:pt x="92946" y="156743"/>
                          <a:pt x="100809" y="157791"/>
                        </a:cubicBezTo>
                        <a:cubicBezTo>
                          <a:pt x="110224" y="158362"/>
                          <a:pt x="117396" y="167125"/>
                          <a:pt x="117050" y="177507"/>
                        </a:cubicBezTo>
                        <a:cubicBezTo>
                          <a:pt x="117050" y="179413"/>
                          <a:pt x="116617" y="181317"/>
                          <a:pt x="115928" y="183127"/>
                        </a:cubicBezTo>
                        <a:cubicBezTo>
                          <a:pt x="100809" y="226466"/>
                          <a:pt x="80074" y="240848"/>
                          <a:pt x="59601" y="239039"/>
                        </a:cubicBezTo>
                        <a:cubicBezTo>
                          <a:pt x="15281" y="235229"/>
                          <a:pt x="-8563" y="174173"/>
                          <a:pt x="-1997" y="47682"/>
                        </a:cubicBezTo>
                        <a:cubicBezTo>
                          <a:pt x="-1219" y="32346"/>
                          <a:pt x="-97" y="22345"/>
                          <a:pt x="1027" y="13773"/>
                        </a:cubicBezTo>
                        <a:cubicBezTo>
                          <a:pt x="3014" y="4057"/>
                          <a:pt x="11480" y="-2229"/>
                          <a:pt x="20379" y="-801"/>
                        </a:cubicBezTo>
                        <a:close/>
                        <a:moveTo>
                          <a:pt x="248018" y="165125"/>
                        </a:moveTo>
                        <a:cubicBezTo>
                          <a:pt x="248277" y="167506"/>
                          <a:pt x="248277" y="169888"/>
                          <a:pt x="248018" y="172269"/>
                        </a:cubicBezTo>
                        <a:cubicBezTo>
                          <a:pt x="246636" y="182174"/>
                          <a:pt x="238170" y="188938"/>
                          <a:pt x="229185" y="187413"/>
                        </a:cubicBezTo>
                        <a:cubicBezTo>
                          <a:pt x="229012" y="187413"/>
                          <a:pt x="228839" y="187318"/>
                          <a:pt x="228666" y="187318"/>
                        </a:cubicBezTo>
                        <a:cubicBezTo>
                          <a:pt x="221238" y="186461"/>
                          <a:pt x="215191" y="180556"/>
                          <a:pt x="213548" y="172554"/>
                        </a:cubicBezTo>
                        <a:cubicBezTo>
                          <a:pt x="204478" y="137312"/>
                          <a:pt x="189014" y="104356"/>
                          <a:pt x="168279" y="75685"/>
                        </a:cubicBezTo>
                        <a:cubicBezTo>
                          <a:pt x="165257" y="72256"/>
                          <a:pt x="163700" y="67589"/>
                          <a:pt x="163959" y="62826"/>
                        </a:cubicBezTo>
                        <a:cubicBezTo>
                          <a:pt x="165946" y="52825"/>
                          <a:pt x="174672" y="46253"/>
                          <a:pt x="183830" y="48062"/>
                        </a:cubicBezTo>
                        <a:cubicBezTo>
                          <a:pt x="189014" y="48920"/>
                          <a:pt x="193850" y="51682"/>
                          <a:pt x="197307" y="56064"/>
                        </a:cubicBezTo>
                        <a:cubicBezTo>
                          <a:pt x="222100" y="87305"/>
                          <a:pt x="239552" y="124739"/>
                          <a:pt x="248018" y="165125"/>
                        </a:cubicBezTo>
                        <a:close/>
                      </a:path>
                    </a:pathLst>
                  </a:custGeom>
                  <a:grpFill/>
                  <a:ln w="8600" cap="flat">
                    <a:noFill/>
                    <a:prstDash val="solid"/>
                    <a:miter/>
                  </a:ln>
                </p:spPr>
                <p:txBody>
                  <a:bodyPr rtlCol="0" anchor="ctr"/>
                  <a:lstStyle/>
                  <a:p>
                    <a:endParaRPr lang="ja-JP" altLang="en-US"/>
                  </a:p>
                </p:txBody>
              </p:sp>
              <p:sp>
                <p:nvSpPr>
                  <p:cNvPr id="22" name="フリーフォーム: 図形 21">
                    <a:extLst>
                      <a:ext uri="{FF2B5EF4-FFF2-40B4-BE49-F238E27FC236}">
                        <a16:creationId xmlns:a16="http://schemas.microsoft.com/office/drawing/2014/main" id="{1E5E6042-1FC3-4A0A-B767-9192D58E254A}"/>
                      </a:ext>
                    </a:extLst>
                  </p:cNvPr>
                  <p:cNvSpPr/>
                  <p:nvPr/>
                </p:nvSpPr>
                <p:spPr>
                  <a:xfrm rot="2192747">
                    <a:off x="15945528" y="3759402"/>
                    <a:ext cx="255123" cy="257296"/>
                  </a:xfrm>
                  <a:custGeom>
                    <a:avLst/>
                    <a:gdLst>
                      <a:gd name="connsiteX0" fmla="*/ 153216 w 255123"/>
                      <a:gd name="connsiteY0" fmla="*/ 40331 h 257296"/>
                      <a:gd name="connsiteX1" fmla="*/ 15767 w 255123"/>
                      <a:gd name="connsiteY1" fmla="*/ 36522 h 257296"/>
                      <a:gd name="connsiteX2" fmla="*/ -2979 w 255123"/>
                      <a:gd name="connsiteY2" fmla="*/ 19281 h 257296"/>
                      <a:gd name="connsiteX3" fmla="*/ -2893 w 255123"/>
                      <a:gd name="connsiteY3" fmla="*/ 14804 h 257296"/>
                      <a:gd name="connsiteX4" fmla="*/ 15940 w 255123"/>
                      <a:gd name="connsiteY4" fmla="*/ -817 h 257296"/>
                      <a:gd name="connsiteX5" fmla="*/ 16026 w 255123"/>
                      <a:gd name="connsiteY5" fmla="*/ -817 h 257296"/>
                      <a:gd name="connsiteX6" fmla="*/ 235805 w 255123"/>
                      <a:gd name="connsiteY6" fmla="*/ 15662 h 257296"/>
                      <a:gd name="connsiteX7" fmla="*/ 252047 w 255123"/>
                      <a:gd name="connsiteY7" fmla="*/ 34330 h 257296"/>
                      <a:gd name="connsiteX8" fmla="*/ 251788 w 255123"/>
                      <a:gd name="connsiteY8" fmla="*/ 37283 h 257296"/>
                      <a:gd name="connsiteX9" fmla="*/ 233904 w 255123"/>
                      <a:gd name="connsiteY9" fmla="*/ 51666 h 257296"/>
                      <a:gd name="connsiteX10" fmla="*/ 196671 w 255123"/>
                      <a:gd name="connsiteY10" fmla="*/ 57095 h 257296"/>
                      <a:gd name="connsiteX11" fmla="*/ 121596 w 255123"/>
                      <a:gd name="connsiteY11" fmla="*/ 139486 h 257296"/>
                      <a:gd name="connsiteX12" fmla="*/ 177406 w 255123"/>
                      <a:gd name="connsiteY12" fmla="*/ 217401 h 257296"/>
                      <a:gd name="connsiteX13" fmla="*/ 189673 w 255123"/>
                      <a:gd name="connsiteY13" fmla="*/ 241975 h 257296"/>
                      <a:gd name="connsiteX14" fmla="*/ 167297 w 255123"/>
                      <a:gd name="connsiteY14" fmla="*/ 255501 h 257296"/>
                      <a:gd name="connsiteX15" fmla="*/ 85485 w 255123"/>
                      <a:gd name="connsiteY15" fmla="*/ 133962 h 257296"/>
                      <a:gd name="connsiteX16" fmla="*/ 153044 w 255123"/>
                      <a:gd name="connsiteY16" fmla="*/ 41284 h 2572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55123" h="257296">
                        <a:moveTo>
                          <a:pt x="153216" y="40331"/>
                        </a:moveTo>
                        <a:cubicBezTo>
                          <a:pt x="114168" y="38045"/>
                          <a:pt x="62419" y="36807"/>
                          <a:pt x="15767" y="36522"/>
                        </a:cubicBezTo>
                        <a:cubicBezTo>
                          <a:pt x="6265" y="37474"/>
                          <a:pt x="-2114" y="29759"/>
                          <a:pt x="-2979" y="19281"/>
                        </a:cubicBezTo>
                        <a:cubicBezTo>
                          <a:pt x="-3152" y="17757"/>
                          <a:pt x="-3066" y="16329"/>
                          <a:pt x="-2893" y="14804"/>
                        </a:cubicBezTo>
                        <a:cubicBezTo>
                          <a:pt x="-1598" y="4708"/>
                          <a:pt x="6868" y="-2245"/>
                          <a:pt x="15940" y="-817"/>
                        </a:cubicBezTo>
                        <a:cubicBezTo>
                          <a:pt x="15940" y="-817"/>
                          <a:pt x="16026" y="-817"/>
                          <a:pt x="16026" y="-817"/>
                        </a:cubicBezTo>
                        <a:cubicBezTo>
                          <a:pt x="83844" y="612"/>
                          <a:pt x="168075" y="7089"/>
                          <a:pt x="235805" y="15662"/>
                        </a:cubicBezTo>
                        <a:cubicBezTo>
                          <a:pt x="244963" y="15852"/>
                          <a:pt x="252220" y="24234"/>
                          <a:pt x="252047" y="34330"/>
                        </a:cubicBezTo>
                        <a:cubicBezTo>
                          <a:pt x="252047" y="35283"/>
                          <a:pt x="251961" y="36331"/>
                          <a:pt x="251788" y="37283"/>
                        </a:cubicBezTo>
                        <a:cubicBezTo>
                          <a:pt x="249801" y="46237"/>
                          <a:pt x="242200" y="52238"/>
                          <a:pt x="233904" y="51666"/>
                        </a:cubicBezTo>
                        <a:cubicBezTo>
                          <a:pt x="221292" y="51190"/>
                          <a:pt x="208679" y="53000"/>
                          <a:pt x="196671" y="57095"/>
                        </a:cubicBezTo>
                        <a:cubicBezTo>
                          <a:pt x="142158" y="76145"/>
                          <a:pt x="126607" y="108245"/>
                          <a:pt x="121596" y="139486"/>
                        </a:cubicBezTo>
                        <a:cubicBezTo>
                          <a:pt x="115809" y="175968"/>
                          <a:pt x="135852" y="202637"/>
                          <a:pt x="177406" y="217401"/>
                        </a:cubicBezTo>
                        <a:cubicBezTo>
                          <a:pt x="186908" y="220449"/>
                          <a:pt x="192438" y="231498"/>
                          <a:pt x="189673" y="241975"/>
                        </a:cubicBezTo>
                        <a:cubicBezTo>
                          <a:pt x="186822" y="252548"/>
                          <a:pt x="176801" y="258549"/>
                          <a:pt x="167297" y="255501"/>
                        </a:cubicBezTo>
                        <a:cubicBezTo>
                          <a:pt x="111230" y="238833"/>
                          <a:pt x="77105" y="189874"/>
                          <a:pt x="85485" y="133962"/>
                        </a:cubicBezTo>
                        <a:cubicBezTo>
                          <a:pt x="90669" y="99386"/>
                          <a:pt x="112354" y="63382"/>
                          <a:pt x="153044" y="41284"/>
                        </a:cubicBezTo>
                        <a:close/>
                      </a:path>
                    </a:pathLst>
                  </a:custGeom>
                  <a:grpFill/>
                  <a:ln w="8600" cap="flat">
                    <a:noFill/>
                    <a:prstDash val="solid"/>
                    <a:miter/>
                  </a:ln>
                </p:spPr>
                <p:txBody>
                  <a:bodyPr rtlCol="0" anchor="ctr"/>
                  <a:lstStyle/>
                  <a:p>
                    <a:endParaRPr lang="ja-JP" altLang="en-US"/>
                  </a:p>
                </p:txBody>
              </p:sp>
            </p:grpSp>
          </p:grpSp>
        </p:grpSp>
        <p:pic>
          <p:nvPicPr>
            <p:cNvPr id="56" name="図 55">
              <a:extLst>
                <a:ext uri="{FF2B5EF4-FFF2-40B4-BE49-F238E27FC236}">
                  <a16:creationId xmlns:a16="http://schemas.microsoft.com/office/drawing/2014/main" id="{98B0C773-9BD5-C961-BE7C-1AA46A78B865}"/>
                </a:ext>
              </a:extLst>
            </p:cNvPr>
            <p:cNvPicPr>
              <a:picLocks noChangeAspect="1"/>
            </p:cNvPicPr>
            <p:nvPr/>
          </p:nvPicPr>
          <p:blipFill>
            <a:blip r:embed="rId12">
              <a:extLst>
                <a:ext uri="{28A0092B-C50C-407E-A947-70E740481C1C}">
                  <a14:useLocalDpi xmlns:a14="http://schemas.microsoft.com/office/drawing/2010/main" val="0"/>
                </a:ext>
              </a:extLst>
            </a:blip>
            <a:srcRect/>
            <a:stretch/>
          </p:blipFill>
          <p:spPr>
            <a:xfrm>
              <a:off x="11587206" y="2961305"/>
              <a:ext cx="2999139" cy="3350694"/>
            </a:xfrm>
            <a:prstGeom prst="rect">
              <a:avLst/>
            </a:prstGeom>
          </p:spPr>
        </p:pic>
      </p:grpSp>
    </p:spTree>
    <p:extLst>
      <p:ext uri="{BB962C8B-B14F-4D97-AF65-F5344CB8AC3E}">
        <p14:creationId xmlns:p14="http://schemas.microsoft.com/office/powerpoint/2010/main" val="3976027062"/>
      </p:ext>
    </p:extLst>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2037866"/>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生成</a:t>
            </a:r>
            <a:r>
              <a:rPr kumimoji="1" lang="en-US" altLang="ja-JP" sz="2800" spc="50" dirty="0">
                <a:latin typeface="+mn-ea"/>
              </a:rPr>
              <a:t>AI</a:t>
            </a:r>
            <a:r>
              <a:rPr kumimoji="1" lang="ja-JP" altLang="en-US" sz="2800" spc="50" dirty="0">
                <a:latin typeface="+mn-ea"/>
              </a:rPr>
              <a:t>により生成された偽情報・誤情報に騙されないために常に意識するものとして、適切なものはどれか。</a:t>
            </a:r>
            <a:r>
              <a:rPr kumimoji="1" lang="ja-JP" altLang="en-US" sz="2800" spc="50" dirty="0">
                <a:solidFill>
                  <a:schemeClr val="accent3"/>
                </a:solidFill>
                <a:latin typeface="+mn-ea"/>
              </a:rPr>
              <a:t>全て</a:t>
            </a:r>
            <a:r>
              <a:rPr kumimoji="1" lang="ja-JP" altLang="en-US" sz="2800" spc="50" dirty="0">
                <a:latin typeface="+mn-ea"/>
              </a:rPr>
              <a:t>選んでください</a:t>
            </a:r>
            <a:r>
              <a:rPr lang="ja-JP" altLang="en-US" sz="2800" spc="50" dirty="0">
                <a:latin typeface="+mn-ea"/>
              </a:rPr>
              <a:t>。</a:t>
            </a:r>
            <a:endParaRPr kumimoji="1" lang="ja-JP" altLang="en-US" sz="2800" spc="50" dirty="0">
              <a:latin typeface="+mn-ea"/>
            </a:endParaRPr>
          </a:p>
        </p:txBody>
      </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7" y="724103"/>
            <a:ext cx="9377484" cy="8837206"/>
            <a:chOff x="7945117" y="728997"/>
            <a:chExt cx="9377484"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7" y="728997"/>
              <a:ext cx="7570901" cy="1800000"/>
              <a:chOff x="7945117" y="1234999"/>
              <a:chExt cx="7570901"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907822"/>
                <a:ext cx="6599564"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に、この情報が正しいか質問する</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7" y="3074733"/>
              <a:ext cx="9377484" cy="1800000"/>
              <a:chOff x="7945117" y="3367623"/>
              <a:chExt cx="9377484"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3566470"/>
                <a:ext cx="8406147"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人は信じたいものを選び、無意識のうちに</a:t>
                </a:r>
                <a:br>
                  <a:rPr kumimoji="1" lang="en-US" altLang="ja-JP" sz="2800" spc="50" dirty="0">
                    <a:latin typeface="+mn-ea"/>
                    <a:ea typeface="+mn-ea"/>
                  </a:rPr>
                </a:br>
                <a:r>
                  <a:rPr kumimoji="1" lang="ja-JP" altLang="en-US" sz="2800" spc="50" dirty="0">
                    <a:latin typeface="+mn-ea"/>
                    <a:ea typeface="+mn-ea"/>
                  </a:rPr>
                  <a:t>合理的ではない行動、偏った判断をすることがある</a:t>
                </a:r>
                <a:br>
                  <a:rPr kumimoji="1" lang="en-US" altLang="ja-JP" sz="2800" spc="50" dirty="0">
                    <a:latin typeface="+mn-ea"/>
                    <a:ea typeface="+mn-ea"/>
                  </a:rPr>
                </a:br>
                <a:r>
                  <a:rPr kumimoji="1" lang="ja-JP" altLang="en-US" sz="2800" spc="50" dirty="0">
                    <a:latin typeface="+mn-ea"/>
                    <a:ea typeface="+mn-ea"/>
                  </a:rPr>
                  <a:t>という意識をもつ</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7" y="5420469"/>
              <a:ext cx="6453607" cy="1800000"/>
              <a:chOff x="7945117" y="5500579"/>
              <a:chExt cx="6453607"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5699426"/>
                <a:ext cx="5482270"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情報源があるか？」</a:t>
                </a:r>
                <a:br>
                  <a:rPr kumimoji="1" lang="en-US" altLang="ja-JP" sz="2800" spc="50" dirty="0">
                    <a:latin typeface="+mn-ea"/>
                    <a:ea typeface="+mn-ea"/>
                  </a:rPr>
                </a:br>
                <a:r>
                  <a:rPr kumimoji="1" lang="ja-JP" altLang="en-US" sz="2800" spc="50" dirty="0">
                    <a:latin typeface="+mn-ea"/>
                    <a:ea typeface="+mn-ea"/>
                  </a:rPr>
                  <a:t>「その分野の専門家の発信か？」</a:t>
                </a:r>
                <a:br>
                  <a:rPr kumimoji="1" lang="en-US" altLang="ja-JP" sz="2800" spc="50" dirty="0">
                    <a:latin typeface="+mn-ea"/>
                    <a:ea typeface="+mn-ea"/>
                  </a:rPr>
                </a:br>
                <a:r>
                  <a:rPr kumimoji="1" lang="ja-JP" altLang="en-US" sz="2800" spc="50" dirty="0">
                    <a:latin typeface="+mn-ea"/>
                    <a:ea typeface="+mn-ea"/>
                  </a:rPr>
                  <a:t>といった確認をする</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7" y="7766203"/>
              <a:ext cx="9377484" cy="1800000"/>
              <a:chOff x="7945117" y="7633369"/>
              <a:chExt cx="9377484"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8306192"/>
                <a:ext cx="8406147"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安易に拡散しない。拡散したいときはひと呼吸おく</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8A26E460-CFAB-500F-1E6A-9AC616EE2E99}"/>
              </a:ext>
            </a:extLst>
          </p:cNvPr>
          <p:cNvSpPr>
            <a:spLocks noGrp="1"/>
          </p:cNvSpPr>
          <p:nvPr>
            <p:ph type="sldNum" sz="quarter" idx="11"/>
          </p:nvPr>
        </p:nvSpPr>
        <p:spPr>
          <a:xfrm>
            <a:off x="17695001" y="9786651"/>
            <a:ext cx="327013" cy="307777"/>
          </a:xfrm>
        </p:spPr>
        <p:txBody>
          <a:bodyPr/>
          <a:lstStyle/>
          <a:p>
            <a:r>
              <a:rPr lang="en-US" altLang="ja-JP"/>
              <a:t>41</a:t>
            </a:r>
            <a:endParaRPr lang="ja-JP" altLang="en-US" dirty="0"/>
          </a:p>
        </p:txBody>
      </p:sp>
    </p:spTree>
    <p:extLst>
      <p:ext uri="{BB962C8B-B14F-4D97-AF65-F5344CB8AC3E}">
        <p14:creationId xmlns:p14="http://schemas.microsoft.com/office/powerpoint/2010/main" val="1769252169"/>
      </p:ext>
    </p:extLst>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3" name="グループ化 22">
            <a:extLst>
              <a:ext uri="{FF2B5EF4-FFF2-40B4-BE49-F238E27FC236}">
                <a16:creationId xmlns:a16="http://schemas.microsoft.com/office/drawing/2014/main" id="{78DB376C-C5D8-E3B1-1579-991BD96F6232}"/>
              </a:ext>
            </a:extLst>
          </p:cNvPr>
          <p:cNvGrpSpPr/>
          <p:nvPr/>
        </p:nvGrpSpPr>
        <p:grpSpPr>
          <a:xfrm>
            <a:off x="7945117" y="724103"/>
            <a:ext cx="9763809" cy="8837206"/>
            <a:chOff x="7945117" y="728997"/>
            <a:chExt cx="9763809" cy="8837206"/>
          </a:xfrm>
        </p:grpSpPr>
        <p:grpSp>
          <p:nvGrpSpPr>
            <p:cNvPr id="24" name="グループ化 23">
              <a:extLst>
                <a:ext uri="{FF2B5EF4-FFF2-40B4-BE49-F238E27FC236}">
                  <a16:creationId xmlns:a16="http://schemas.microsoft.com/office/drawing/2014/main" id="{9E4C72C9-B491-FC1F-8C07-E8831164D685}"/>
                </a:ext>
              </a:extLst>
            </p:cNvPr>
            <p:cNvGrpSpPr/>
            <p:nvPr/>
          </p:nvGrpSpPr>
          <p:grpSpPr>
            <a:xfrm>
              <a:off x="7945117" y="728997"/>
              <a:ext cx="9763809" cy="1800000"/>
              <a:chOff x="7945117" y="1234999"/>
              <a:chExt cx="9763809" cy="1800000"/>
            </a:xfrm>
          </p:grpSpPr>
          <p:sp>
            <p:nvSpPr>
              <p:cNvPr id="34" name="テキスト ボックス 33">
                <a:extLst>
                  <a:ext uri="{FF2B5EF4-FFF2-40B4-BE49-F238E27FC236}">
                    <a16:creationId xmlns:a16="http://schemas.microsoft.com/office/drawing/2014/main" id="{6C70D8A0-F9F9-FD68-BE36-7508C173C94A}"/>
                  </a:ext>
                </a:extLst>
              </p:cNvPr>
              <p:cNvSpPr txBox="1"/>
              <p:nvPr userDrawn="1"/>
            </p:nvSpPr>
            <p:spPr>
              <a:xfrm>
                <a:off x="8916454" y="1433846"/>
                <a:ext cx="8792472" cy="1402307"/>
              </a:xfrm>
              <a:prstGeom prst="rect">
                <a:avLst/>
              </a:prstGeom>
              <a:noFill/>
            </p:spPr>
            <p:txBody>
              <a:bodyPr wrap="none" lIns="0" tIns="0" rIns="0" bIns="0" rtlCol="0" anchor="ctr">
                <a:spAutoFit/>
              </a:bodyPr>
              <a:lstStyle/>
              <a:p>
                <a:pPr algn="l">
                  <a:lnSpc>
                    <a:spcPct val="110000"/>
                  </a:lnSpc>
                </a:pPr>
                <a:r>
                  <a:rPr kumimoji="1" lang="en-US" altLang="ja-JP" sz="2800" spc="50" dirty="0">
                    <a:solidFill>
                      <a:schemeClr val="accent3"/>
                    </a:solidFill>
                    <a:latin typeface="+mn-ea"/>
                    <a:ea typeface="+mn-ea"/>
                  </a:rPr>
                  <a:t>【</a:t>
                </a:r>
                <a:r>
                  <a:rPr kumimoji="1" lang="ja-JP" altLang="en-US" sz="2800" spc="50" dirty="0">
                    <a:solidFill>
                      <a:schemeClr val="accent3"/>
                    </a:solidFill>
                    <a:latin typeface="+mn-ea"/>
                    <a:ea typeface="+mn-ea"/>
                  </a:rPr>
                  <a:t>解説</a:t>
                </a:r>
                <a:r>
                  <a:rPr kumimoji="1" lang="en-US" altLang="ja-JP" sz="2800" spc="50" dirty="0">
                    <a:solidFill>
                      <a:schemeClr val="accent3"/>
                    </a:solidFill>
                    <a:latin typeface="+mn-ea"/>
                    <a:ea typeface="+mn-ea"/>
                  </a:rPr>
                  <a:t>】</a:t>
                </a:r>
              </a:p>
              <a:p>
                <a:pPr algn="l">
                  <a:lnSpc>
                    <a:spcPct val="110000"/>
                  </a:lnSpc>
                </a:pPr>
                <a:r>
                  <a:rPr kumimoji="1" lang="ja-JP" altLang="en-US" sz="2800" spc="50" dirty="0">
                    <a:solidFill>
                      <a:schemeClr val="accent3"/>
                    </a:solidFill>
                    <a:latin typeface="+mn-ea"/>
                    <a:ea typeface="+mn-ea"/>
                  </a:rPr>
                  <a:t>生成</a:t>
                </a:r>
                <a:r>
                  <a:rPr kumimoji="1" lang="en-US" altLang="ja-JP" sz="2800" spc="50" dirty="0">
                    <a:solidFill>
                      <a:schemeClr val="accent3"/>
                    </a:solidFill>
                    <a:latin typeface="+mn-ea"/>
                    <a:ea typeface="+mn-ea"/>
                  </a:rPr>
                  <a:t>AI</a:t>
                </a:r>
                <a:r>
                  <a:rPr kumimoji="1" lang="ja-JP" altLang="en-US" sz="2800" spc="50" dirty="0">
                    <a:solidFill>
                      <a:schemeClr val="accent3"/>
                    </a:solidFill>
                    <a:latin typeface="+mn-ea"/>
                    <a:ea typeface="+mn-ea"/>
                  </a:rPr>
                  <a:t>が偽・誤情報を回答する恐れがあることから、</a:t>
                </a:r>
                <a:br>
                  <a:rPr kumimoji="1" lang="en-US" altLang="ja-JP" sz="2800" spc="50" dirty="0">
                    <a:solidFill>
                      <a:schemeClr val="accent3"/>
                    </a:solidFill>
                    <a:latin typeface="+mn-ea"/>
                    <a:ea typeface="+mn-ea"/>
                  </a:rPr>
                </a:br>
                <a:r>
                  <a:rPr kumimoji="1" lang="ja-JP" altLang="en-US" sz="2800" spc="50" dirty="0">
                    <a:solidFill>
                      <a:schemeClr val="accent3"/>
                    </a:solidFill>
                    <a:latin typeface="+mn-ea"/>
                    <a:ea typeface="+mn-ea"/>
                  </a:rPr>
                  <a:t>生成</a:t>
                </a:r>
                <a:r>
                  <a:rPr kumimoji="1" lang="en-US" altLang="ja-JP" sz="2800" spc="50" dirty="0">
                    <a:solidFill>
                      <a:schemeClr val="accent3"/>
                    </a:solidFill>
                    <a:latin typeface="+mn-ea"/>
                    <a:ea typeface="+mn-ea"/>
                  </a:rPr>
                  <a:t>AI</a:t>
                </a:r>
                <a:r>
                  <a:rPr kumimoji="1" lang="ja-JP" altLang="en-US" sz="2800" spc="50" dirty="0">
                    <a:solidFill>
                      <a:schemeClr val="accent3"/>
                    </a:solidFill>
                    <a:latin typeface="+mn-ea"/>
                    <a:ea typeface="+mn-ea"/>
                  </a:rPr>
                  <a:t>に真偽を問うことは適切ではない</a:t>
                </a:r>
              </a:p>
            </p:txBody>
          </p:sp>
          <p:sp>
            <p:nvSpPr>
              <p:cNvPr id="35" name="テキスト ボックス 34">
                <a:extLst>
                  <a:ext uri="{FF2B5EF4-FFF2-40B4-BE49-F238E27FC236}">
                    <a16:creationId xmlns:a16="http://schemas.microsoft.com/office/drawing/2014/main" id="{F3B7AD08-893B-7F0A-0FBE-4F0CFB292C5B}"/>
                  </a:ext>
                </a:extLst>
              </p:cNvPr>
              <p:cNvSpPr txBox="1">
                <a:spLocks/>
              </p:cNvSpPr>
              <p:nvPr userDrawn="1"/>
            </p:nvSpPr>
            <p:spPr>
              <a:xfrm>
                <a:off x="7945117" y="123499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25" name="グループ化 24">
              <a:extLst>
                <a:ext uri="{FF2B5EF4-FFF2-40B4-BE49-F238E27FC236}">
                  <a16:creationId xmlns:a16="http://schemas.microsoft.com/office/drawing/2014/main" id="{5DFEF4F7-0DA8-3966-991F-03963D002FF6}"/>
                </a:ext>
              </a:extLst>
            </p:cNvPr>
            <p:cNvGrpSpPr/>
            <p:nvPr/>
          </p:nvGrpSpPr>
          <p:grpSpPr>
            <a:xfrm>
              <a:off x="7945117" y="3074733"/>
              <a:ext cx="9377484" cy="1800000"/>
              <a:chOff x="7945117" y="3367623"/>
              <a:chExt cx="9377484" cy="1800000"/>
            </a:xfrm>
          </p:grpSpPr>
          <p:sp>
            <p:nvSpPr>
              <p:cNvPr id="32" name="テキスト ボックス 31">
                <a:extLst>
                  <a:ext uri="{FF2B5EF4-FFF2-40B4-BE49-F238E27FC236}">
                    <a16:creationId xmlns:a16="http://schemas.microsoft.com/office/drawing/2014/main" id="{EBF1006C-CB15-72D1-68D9-FAA739186233}"/>
                  </a:ext>
                </a:extLst>
              </p:cNvPr>
              <p:cNvSpPr txBox="1"/>
              <p:nvPr/>
            </p:nvSpPr>
            <p:spPr>
              <a:xfrm>
                <a:off x="8916454" y="3566470"/>
                <a:ext cx="8406147"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人は信じたいものを選び、無意識のうちに</a:t>
                </a:r>
                <a:br>
                  <a:rPr kumimoji="1" lang="en-US" altLang="ja-JP" sz="2800" spc="50" dirty="0">
                    <a:latin typeface="+mn-ea"/>
                    <a:ea typeface="+mn-ea"/>
                  </a:rPr>
                </a:br>
                <a:r>
                  <a:rPr kumimoji="1" lang="ja-JP" altLang="en-US" sz="2800" spc="50" dirty="0">
                    <a:latin typeface="+mn-ea"/>
                    <a:ea typeface="+mn-ea"/>
                  </a:rPr>
                  <a:t>合理的ではない行動、偏った判断をすることがある</a:t>
                </a:r>
                <a:br>
                  <a:rPr kumimoji="1" lang="en-US" altLang="ja-JP" sz="2800" spc="50" dirty="0">
                    <a:latin typeface="+mn-ea"/>
                    <a:ea typeface="+mn-ea"/>
                  </a:rPr>
                </a:br>
                <a:r>
                  <a:rPr kumimoji="1" lang="ja-JP" altLang="en-US" sz="2800" spc="50" dirty="0">
                    <a:latin typeface="+mn-ea"/>
                    <a:ea typeface="+mn-ea"/>
                  </a:rPr>
                  <a:t>という意識をもつ</a:t>
                </a:r>
              </a:p>
            </p:txBody>
          </p:sp>
          <p:sp>
            <p:nvSpPr>
              <p:cNvPr id="33" name="テキスト ボックス 32">
                <a:extLst>
                  <a:ext uri="{FF2B5EF4-FFF2-40B4-BE49-F238E27FC236}">
                    <a16:creationId xmlns:a16="http://schemas.microsoft.com/office/drawing/2014/main" id="{4D5939B4-8F3C-4A7D-E147-4C0F776EC6F8}"/>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26" name="グループ化 25">
              <a:extLst>
                <a:ext uri="{FF2B5EF4-FFF2-40B4-BE49-F238E27FC236}">
                  <a16:creationId xmlns:a16="http://schemas.microsoft.com/office/drawing/2014/main" id="{A60A951D-5738-AC3D-F0A6-DE408ED0CE66}"/>
                </a:ext>
              </a:extLst>
            </p:cNvPr>
            <p:cNvGrpSpPr/>
            <p:nvPr/>
          </p:nvGrpSpPr>
          <p:grpSpPr>
            <a:xfrm>
              <a:off x="7945117" y="5420469"/>
              <a:ext cx="6453607" cy="1800000"/>
              <a:chOff x="7945117" y="5500579"/>
              <a:chExt cx="6453607" cy="1800000"/>
            </a:xfrm>
          </p:grpSpPr>
          <p:sp>
            <p:nvSpPr>
              <p:cNvPr id="30" name="テキスト ボックス 29">
                <a:extLst>
                  <a:ext uri="{FF2B5EF4-FFF2-40B4-BE49-F238E27FC236}">
                    <a16:creationId xmlns:a16="http://schemas.microsoft.com/office/drawing/2014/main" id="{EB391B9E-43E9-443B-AA4F-5AD79D71B26B}"/>
                  </a:ext>
                </a:extLst>
              </p:cNvPr>
              <p:cNvSpPr txBox="1"/>
              <p:nvPr/>
            </p:nvSpPr>
            <p:spPr>
              <a:xfrm>
                <a:off x="8916454" y="5699426"/>
                <a:ext cx="5482270"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情報源があるか？」</a:t>
                </a:r>
                <a:br>
                  <a:rPr kumimoji="1" lang="en-US" altLang="ja-JP" sz="2800" spc="50" dirty="0">
                    <a:latin typeface="+mn-ea"/>
                    <a:ea typeface="+mn-ea"/>
                  </a:rPr>
                </a:br>
                <a:r>
                  <a:rPr kumimoji="1" lang="ja-JP" altLang="en-US" sz="2800" spc="50" dirty="0">
                    <a:latin typeface="+mn-ea"/>
                    <a:ea typeface="+mn-ea"/>
                  </a:rPr>
                  <a:t>「その分野の専門家の発信か？」</a:t>
                </a:r>
                <a:br>
                  <a:rPr kumimoji="1" lang="en-US" altLang="ja-JP" sz="2800" spc="50" dirty="0">
                    <a:latin typeface="+mn-ea"/>
                    <a:ea typeface="+mn-ea"/>
                  </a:rPr>
                </a:br>
                <a:r>
                  <a:rPr kumimoji="1" lang="ja-JP" altLang="en-US" sz="2800" spc="50" dirty="0">
                    <a:latin typeface="+mn-ea"/>
                    <a:ea typeface="+mn-ea"/>
                  </a:rPr>
                  <a:t>といった確認をする</a:t>
                </a:r>
              </a:p>
            </p:txBody>
          </p:sp>
          <p:sp>
            <p:nvSpPr>
              <p:cNvPr id="31" name="テキスト ボックス 30">
                <a:extLst>
                  <a:ext uri="{FF2B5EF4-FFF2-40B4-BE49-F238E27FC236}">
                    <a16:creationId xmlns:a16="http://schemas.microsoft.com/office/drawing/2014/main" id="{D6177596-E0AA-793D-A6D3-B6BCFC00D6CC}"/>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27" name="グループ化 26">
              <a:extLst>
                <a:ext uri="{FF2B5EF4-FFF2-40B4-BE49-F238E27FC236}">
                  <a16:creationId xmlns:a16="http://schemas.microsoft.com/office/drawing/2014/main" id="{9A013046-A638-44C5-F827-42D60A65048D}"/>
                </a:ext>
              </a:extLst>
            </p:cNvPr>
            <p:cNvGrpSpPr/>
            <p:nvPr/>
          </p:nvGrpSpPr>
          <p:grpSpPr>
            <a:xfrm>
              <a:off x="7945117" y="7766203"/>
              <a:ext cx="9377484" cy="1800000"/>
              <a:chOff x="7945117" y="7633369"/>
              <a:chExt cx="9377484" cy="1800000"/>
            </a:xfrm>
          </p:grpSpPr>
          <p:sp>
            <p:nvSpPr>
              <p:cNvPr id="28" name="テキスト ボックス 27">
                <a:extLst>
                  <a:ext uri="{FF2B5EF4-FFF2-40B4-BE49-F238E27FC236}">
                    <a16:creationId xmlns:a16="http://schemas.microsoft.com/office/drawing/2014/main" id="{B148F5F4-7CA7-4C49-4369-AD7C0680874D}"/>
                  </a:ext>
                </a:extLst>
              </p:cNvPr>
              <p:cNvSpPr txBox="1"/>
              <p:nvPr/>
            </p:nvSpPr>
            <p:spPr>
              <a:xfrm>
                <a:off x="8916454" y="8306192"/>
                <a:ext cx="8406147"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安易に拡散しない。拡散したいときはひと呼吸おく</a:t>
                </a:r>
              </a:p>
            </p:txBody>
          </p:sp>
          <p:sp>
            <p:nvSpPr>
              <p:cNvPr id="29" name="テキスト ボックス 28">
                <a:extLst>
                  <a:ext uri="{FF2B5EF4-FFF2-40B4-BE49-F238E27FC236}">
                    <a16:creationId xmlns:a16="http://schemas.microsoft.com/office/drawing/2014/main" id="{251D776C-A7CC-9FC7-5B8C-8CC35281FAB6}"/>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2" name="楕円 21">
            <a:extLst>
              <a:ext uri="{FF2B5EF4-FFF2-40B4-BE49-F238E27FC236}">
                <a16:creationId xmlns:a16="http://schemas.microsoft.com/office/drawing/2014/main" id="{D4A05538-06E8-1C22-E2D6-3113F85F5B83}"/>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37" name="グループ化 36">
            <a:extLst>
              <a:ext uri="{FF2B5EF4-FFF2-40B4-BE49-F238E27FC236}">
                <a16:creationId xmlns:a16="http://schemas.microsoft.com/office/drawing/2014/main" id="{117DC7D9-E4F4-F503-16ED-E2AA6B8C58E7}"/>
              </a:ext>
            </a:extLst>
          </p:cNvPr>
          <p:cNvGrpSpPr/>
          <p:nvPr/>
        </p:nvGrpSpPr>
        <p:grpSpPr>
          <a:xfrm>
            <a:off x="1593860" y="2604635"/>
            <a:ext cx="4153758" cy="1170649"/>
            <a:chOff x="2073291" y="2604635"/>
            <a:chExt cx="4153758" cy="1170649"/>
          </a:xfrm>
        </p:grpSpPr>
        <p:sp>
          <p:nvSpPr>
            <p:cNvPr id="5" name="四角形: 角を丸くする 4">
              <a:extLst>
                <a:ext uri="{FF2B5EF4-FFF2-40B4-BE49-F238E27FC236}">
                  <a16:creationId xmlns:a16="http://schemas.microsoft.com/office/drawing/2014/main" id="{B9FAAC77-1A1F-0FC5-C108-FAB953121169}"/>
                </a:ext>
              </a:extLst>
            </p:cNvPr>
            <p:cNvSpPr/>
            <p:nvPr/>
          </p:nvSpPr>
          <p:spPr>
            <a:xfrm>
              <a:off x="2073291" y="2604635"/>
              <a:ext cx="1170649" cy="1170649"/>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6" name="テキスト ボックス 5">
              <a:extLst>
                <a:ext uri="{FF2B5EF4-FFF2-40B4-BE49-F238E27FC236}">
                  <a16:creationId xmlns:a16="http://schemas.microsoft.com/office/drawing/2014/main" id="{6BE44A32-D73C-6BBE-0025-D42D97E40112}"/>
                </a:ext>
              </a:extLst>
            </p:cNvPr>
            <p:cNvSpPr txBox="1">
              <a:spLocks/>
            </p:cNvSpPr>
            <p:nvPr/>
          </p:nvSpPr>
          <p:spPr>
            <a:xfrm>
              <a:off x="3607070"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イ</a:t>
              </a:r>
            </a:p>
          </p:txBody>
        </p:sp>
        <p:sp>
          <p:nvSpPr>
            <p:cNvPr id="7" name="テキスト ボックス 6">
              <a:extLst>
                <a:ext uri="{FF2B5EF4-FFF2-40B4-BE49-F238E27FC236}">
                  <a16:creationId xmlns:a16="http://schemas.microsoft.com/office/drawing/2014/main" id="{3BDE6445-97AC-ADAB-4958-42B5B92F2F6C}"/>
                </a:ext>
              </a:extLst>
            </p:cNvPr>
            <p:cNvSpPr txBox="1">
              <a:spLocks/>
            </p:cNvSpPr>
            <p:nvPr/>
          </p:nvSpPr>
          <p:spPr>
            <a:xfrm>
              <a:off x="4554112"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ウ</a:t>
              </a:r>
              <a:endParaRPr kumimoji="1" lang="ja-JP" altLang="en-US" sz="2800" b="1" spc="300" dirty="0">
                <a:solidFill>
                  <a:schemeClr val="bg1"/>
                </a:solidFill>
                <a:latin typeface="+mn-ea"/>
              </a:endParaRPr>
            </a:p>
          </p:txBody>
        </p:sp>
        <p:sp>
          <p:nvSpPr>
            <p:cNvPr id="36" name="テキスト ボックス 35">
              <a:extLst>
                <a:ext uri="{FF2B5EF4-FFF2-40B4-BE49-F238E27FC236}">
                  <a16:creationId xmlns:a16="http://schemas.microsoft.com/office/drawing/2014/main" id="{11FF8890-890C-20E0-E26C-76E84FB3A143}"/>
                </a:ext>
              </a:extLst>
            </p:cNvPr>
            <p:cNvSpPr txBox="1">
              <a:spLocks/>
            </p:cNvSpPr>
            <p:nvPr/>
          </p:nvSpPr>
          <p:spPr>
            <a:xfrm>
              <a:off x="5501154"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sp>
        <p:nvSpPr>
          <p:cNvPr id="39" name="楕円 38">
            <a:extLst>
              <a:ext uri="{FF2B5EF4-FFF2-40B4-BE49-F238E27FC236}">
                <a16:creationId xmlns:a16="http://schemas.microsoft.com/office/drawing/2014/main" id="{7489D3CA-9D92-D305-AF5C-B82A209E5CFB}"/>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1" name="楕円 40">
            <a:extLst>
              <a:ext uri="{FF2B5EF4-FFF2-40B4-BE49-F238E27FC236}">
                <a16:creationId xmlns:a16="http://schemas.microsoft.com/office/drawing/2014/main" id="{54F803C2-C4A8-2346-C165-AE49F7995E48}"/>
              </a:ext>
            </a:extLst>
          </p:cNvPr>
          <p:cNvSpPr/>
          <p:nvPr/>
        </p:nvSpPr>
        <p:spPr>
          <a:xfrm>
            <a:off x="11855837" y="7823872"/>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テキスト ボックス 41">
            <a:extLst>
              <a:ext uri="{FF2B5EF4-FFF2-40B4-BE49-F238E27FC236}">
                <a16:creationId xmlns:a16="http://schemas.microsoft.com/office/drawing/2014/main" id="{44FC30B0-45C9-AF6E-A0F9-92D1EDBEBE89}"/>
              </a:ext>
            </a:extLst>
          </p:cNvPr>
          <p:cNvSpPr txBox="1"/>
          <p:nvPr/>
        </p:nvSpPr>
        <p:spPr>
          <a:xfrm>
            <a:off x="754084" y="4659559"/>
            <a:ext cx="5845132" cy="1639295"/>
          </a:xfrm>
          <a:prstGeom prst="rect">
            <a:avLst/>
          </a:prstGeom>
          <a:noFill/>
        </p:spPr>
        <p:txBody>
          <a:bodyPr wrap="square" lIns="0" tIns="0" rIns="0" bIns="0" rtlCol="0" anchor="t">
            <a:spAutoFit/>
          </a:bodyPr>
          <a:lstStyle/>
          <a:p>
            <a:pPr algn="just">
              <a:lnSpc>
                <a:spcPct val="130000"/>
              </a:lnSpc>
              <a:spcAft>
                <a:spcPts val="1200"/>
              </a:spcAft>
            </a:pPr>
            <a:r>
              <a:rPr kumimoji="1" lang="ja-JP" altLang="en-US" sz="2800" spc="50" dirty="0">
                <a:latin typeface="+mn-ea"/>
              </a:rPr>
              <a:t>情報の正確性リスクを予防するために、常に意識すべき</a:t>
            </a:r>
            <a:r>
              <a:rPr kumimoji="1" lang="en-US" altLang="ja-JP" sz="2800" spc="50" dirty="0">
                <a:latin typeface="+mn-ea"/>
              </a:rPr>
              <a:t>3</a:t>
            </a:r>
            <a:r>
              <a:rPr kumimoji="1" lang="ja-JP" altLang="en-US" sz="2800" spc="50" dirty="0">
                <a:latin typeface="+mn-ea"/>
              </a:rPr>
              <a:t>つのポイントの説明。</a:t>
            </a:r>
          </a:p>
        </p:txBody>
      </p:sp>
      <p:sp>
        <p:nvSpPr>
          <p:cNvPr id="2" name="スライド番号プレースホルダー 1">
            <a:extLst>
              <a:ext uri="{FF2B5EF4-FFF2-40B4-BE49-F238E27FC236}">
                <a16:creationId xmlns:a16="http://schemas.microsoft.com/office/drawing/2014/main" id="{B1B3E416-77BE-97C6-DD13-9AD33143FAF9}"/>
              </a:ext>
            </a:extLst>
          </p:cNvPr>
          <p:cNvSpPr>
            <a:spLocks noGrp="1"/>
          </p:cNvSpPr>
          <p:nvPr>
            <p:ph type="sldNum" sz="quarter" idx="11"/>
          </p:nvPr>
        </p:nvSpPr>
        <p:spPr>
          <a:xfrm>
            <a:off x="17695001" y="9786651"/>
            <a:ext cx="327013" cy="307777"/>
          </a:xfrm>
        </p:spPr>
        <p:txBody>
          <a:bodyPr/>
          <a:lstStyle/>
          <a:p>
            <a:r>
              <a:rPr lang="en-US" altLang="ja-JP"/>
              <a:t>42</a:t>
            </a:r>
            <a:endParaRPr lang="ja-JP" altLang="en-US" dirty="0"/>
          </a:p>
        </p:txBody>
      </p:sp>
    </p:spTree>
    <p:extLst>
      <p:ext uri="{BB962C8B-B14F-4D97-AF65-F5344CB8AC3E}">
        <p14:creationId xmlns:p14="http://schemas.microsoft.com/office/powerpoint/2010/main" val="2345796739"/>
      </p:ext>
    </p:extLst>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1520801"/>
          </a:xfrm>
          <a:prstGeom prst="rect">
            <a:avLst/>
          </a:prstGeom>
          <a:noFill/>
        </p:spPr>
        <p:txBody>
          <a:bodyPr wrap="square" lIns="0" tIns="0" rIns="0" bIns="0" rtlCol="0" anchor="t">
            <a:spAutoFit/>
          </a:bodyPr>
          <a:lstStyle/>
          <a:p>
            <a:pPr algn="just">
              <a:lnSpc>
                <a:spcPct val="120000"/>
              </a:lnSpc>
              <a:spcAft>
                <a:spcPts val="1500"/>
              </a:spcAft>
            </a:pPr>
            <a:r>
              <a:rPr kumimoji="1" lang="en-US" altLang="ja-JP" sz="2800" spc="50" dirty="0">
                <a:latin typeface="+mn-ea"/>
              </a:rPr>
              <a:t>SNS</a:t>
            </a:r>
            <a:r>
              <a:rPr kumimoji="1" lang="ja-JP" altLang="en-US" sz="2800" spc="50" dirty="0">
                <a:latin typeface="+mn-ea"/>
              </a:rPr>
              <a:t>で次の情報を見たときに</a:t>
            </a:r>
            <a:r>
              <a:rPr kumimoji="1" lang="ja-JP" altLang="en-US" sz="2800" spc="50" dirty="0">
                <a:solidFill>
                  <a:schemeClr val="accent3"/>
                </a:solidFill>
                <a:latin typeface="+mn-ea"/>
              </a:rPr>
              <a:t>避けるべき</a:t>
            </a:r>
            <a:r>
              <a:rPr kumimoji="1" lang="ja-JP" altLang="en-US" sz="2800" spc="50" dirty="0">
                <a:latin typeface="+mn-ea"/>
              </a:rPr>
              <a:t>対応はどれか。</a:t>
            </a:r>
            <a:r>
              <a:rPr kumimoji="1" lang="ja-JP" altLang="en-US" sz="2800" spc="50" dirty="0">
                <a:solidFill>
                  <a:schemeClr val="accent3"/>
                </a:solidFill>
                <a:latin typeface="+mn-ea"/>
              </a:rPr>
              <a:t>全て</a:t>
            </a:r>
            <a:r>
              <a:rPr kumimoji="1" lang="ja-JP" altLang="en-US" sz="2800" spc="50" dirty="0">
                <a:latin typeface="+mn-ea"/>
              </a:rPr>
              <a:t>選んでください。</a:t>
            </a:r>
          </a:p>
        </p:txBody>
      </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7" y="724103"/>
            <a:ext cx="9742969" cy="8837206"/>
            <a:chOff x="7945117" y="728997"/>
            <a:chExt cx="9742969"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7" y="728997"/>
              <a:ext cx="8281030" cy="1800000"/>
              <a:chOff x="7945117" y="1234999"/>
              <a:chExt cx="8281030"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670834"/>
                <a:ext cx="7309693"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少しでも早く避難が終わり、ライオンによる</a:t>
                </a:r>
                <a:br>
                  <a:rPr kumimoji="1" lang="ja-JP" altLang="en-US" sz="2800" spc="50" dirty="0">
                    <a:latin typeface="+mn-ea"/>
                    <a:ea typeface="+mn-ea"/>
                  </a:rPr>
                </a:br>
                <a:r>
                  <a:rPr kumimoji="1" lang="ja-JP" altLang="en-US" sz="2800" spc="50" dirty="0">
                    <a:latin typeface="+mn-ea"/>
                    <a:ea typeface="+mn-ea"/>
                  </a:rPr>
                  <a:t>被害が出ないよう、急いで情報を拡散する</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7" y="3074733"/>
              <a:ext cx="9387102" cy="1800000"/>
              <a:chOff x="7945117" y="3367623"/>
              <a:chExt cx="9387102"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4040446"/>
                <a:ext cx="8415765"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A</a:t>
                </a:r>
                <a:r>
                  <a:rPr kumimoji="1" lang="ja-JP" altLang="en-US" sz="2800" spc="50" dirty="0">
                    <a:latin typeface="+mn-ea"/>
                    <a:ea typeface="+mn-ea"/>
                  </a:rPr>
                  <a:t>自治体</a:t>
                </a:r>
                <a:r>
                  <a:rPr kumimoji="1" lang="en-US" altLang="ja-JP" sz="2800" spc="50" dirty="0">
                    <a:latin typeface="+mn-ea"/>
                    <a:ea typeface="+mn-ea"/>
                  </a:rPr>
                  <a:t>HP</a:t>
                </a:r>
                <a:r>
                  <a:rPr kumimoji="1" lang="ja-JP" altLang="en-US" sz="2800" spc="50" dirty="0">
                    <a:latin typeface="+mn-ea"/>
                    <a:ea typeface="+mn-ea"/>
                  </a:rPr>
                  <a:t>や</a:t>
                </a:r>
                <a:r>
                  <a:rPr kumimoji="1" lang="en-US" altLang="ja-JP" sz="2800" spc="50" dirty="0">
                    <a:latin typeface="+mn-ea"/>
                    <a:ea typeface="+mn-ea"/>
                  </a:rPr>
                  <a:t>B</a:t>
                </a:r>
                <a:r>
                  <a:rPr kumimoji="1" lang="ja-JP" altLang="en-US" sz="2800" spc="50" dirty="0">
                    <a:latin typeface="+mn-ea"/>
                    <a:ea typeface="+mn-ea"/>
                  </a:rPr>
                  <a:t>動物園</a:t>
                </a:r>
                <a:r>
                  <a:rPr kumimoji="1" lang="en-US" altLang="ja-JP" sz="2800" spc="50" dirty="0">
                    <a:latin typeface="+mn-ea"/>
                    <a:ea typeface="+mn-ea"/>
                  </a:rPr>
                  <a:t>HP</a:t>
                </a:r>
                <a:r>
                  <a:rPr kumimoji="1" lang="ja-JP" altLang="en-US" sz="2800" spc="50" dirty="0">
                    <a:latin typeface="+mn-ea"/>
                    <a:ea typeface="+mn-ea"/>
                  </a:rPr>
                  <a:t>などの公式情報を確認する</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7" y="5420469"/>
              <a:ext cx="7915546" cy="1800000"/>
              <a:chOff x="7945117" y="5500579"/>
              <a:chExt cx="7915546"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5936414"/>
                <a:ext cx="694420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直ちに貴重品をもって避難場所に移動し、</a:t>
                </a:r>
                <a:br>
                  <a:rPr kumimoji="1" lang="ja-JP" altLang="en-US" sz="2800" spc="50" dirty="0">
                    <a:latin typeface="+mn-ea"/>
                    <a:ea typeface="+mn-ea"/>
                  </a:rPr>
                </a:br>
                <a:r>
                  <a:rPr kumimoji="1" lang="ja-JP" altLang="en-US" sz="2800" spc="50" dirty="0">
                    <a:latin typeface="+mn-ea"/>
                    <a:ea typeface="+mn-ea"/>
                  </a:rPr>
                  <a:t>自身の身の安全を確保する</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7" y="7766203"/>
              <a:ext cx="9742969" cy="1800000"/>
              <a:chOff x="7945117" y="7633369"/>
              <a:chExt cx="9742969"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8069204"/>
                <a:ext cx="8771632"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画像に違和感がないか確認し、</a:t>
                </a:r>
                <a:br>
                  <a:rPr kumimoji="1" lang="ja-JP" altLang="en-US" sz="2800" spc="50" dirty="0">
                    <a:latin typeface="+mn-ea"/>
                    <a:ea typeface="+mn-ea"/>
                  </a:rPr>
                </a:br>
                <a:r>
                  <a:rPr kumimoji="1" lang="ja-JP" altLang="en-US" sz="2800" spc="50" dirty="0">
                    <a:latin typeface="+mn-ea"/>
                    <a:ea typeface="+mn-ea"/>
                  </a:rPr>
                  <a:t>本物だろうと判断したので、家族に避難を呼びかける</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51" name="正方形/長方形 50">
            <a:extLst>
              <a:ext uri="{FF2B5EF4-FFF2-40B4-BE49-F238E27FC236}">
                <a16:creationId xmlns:a16="http://schemas.microsoft.com/office/drawing/2014/main" id="{2DED2DB1-ACB4-A1C8-333F-DD5C04AA576E}"/>
              </a:ext>
            </a:extLst>
          </p:cNvPr>
          <p:cNvSpPr/>
          <p:nvPr/>
        </p:nvSpPr>
        <p:spPr>
          <a:xfrm>
            <a:off x="3356658" y="6412114"/>
            <a:ext cx="3242557" cy="3518964"/>
          </a:xfrm>
          <a:prstGeom prst="rect">
            <a:avLst/>
          </a:prstGeom>
          <a:solidFill>
            <a:srgbClr val="DEF4FE"/>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065" name="グループ化 1064">
            <a:extLst>
              <a:ext uri="{FF2B5EF4-FFF2-40B4-BE49-F238E27FC236}">
                <a16:creationId xmlns:a16="http://schemas.microsoft.com/office/drawing/2014/main" id="{D6B583AA-CB47-CB0B-15CE-81150305397A}"/>
              </a:ext>
            </a:extLst>
          </p:cNvPr>
          <p:cNvGrpSpPr/>
          <p:nvPr/>
        </p:nvGrpSpPr>
        <p:grpSpPr>
          <a:xfrm>
            <a:off x="516763" y="4210915"/>
            <a:ext cx="6319775" cy="5575736"/>
            <a:chOff x="534125" y="4305782"/>
            <a:chExt cx="6319775" cy="5575736"/>
          </a:xfrm>
          <a:effectLst>
            <a:outerShdw blurRad="38100" dist="38100" dir="2700000" algn="tl" rotWithShape="0">
              <a:schemeClr val="bg2">
                <a:lumMod val="10000"/>
                <a:alpha val="30000"/>
              </a:schemeClr>
            </a:outerShdw>
          </a:effectLst>
        </p:grpSpPr>
        <p:sp>
          <p:nvSpPr>
            <p:cNvPr id="1067" name="正方形/長方形 1066">
              <a:extLst>
                <a:ext uri="{FF2B5EF4-FFF2-40B4-BE49-F238E27FC236}">
                  <a16:creationId xmlns:a16="http://schemas.microsoft.com/office/drawing/2014/main" id="{1F5D9F71-834E-160A-62B5-7F9A79CC30A0}"/>
                </a:ext>
              </a:extLst>
            </p:cNvPr>
            <p:cNvSpPr/>
            <p:nvPr/>
          </p:nvSpPr>
          <p:spPr>
            <a:xfrm>
              <a:off x="534125" y="4305782"/>
              <a:ext cx="6300000" cy="5575736"/>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68" name="テキスト ボックス 1067">
              <a:extLst>
                <a:ext uri="{FF2B5EF4-FFF2-40B4-BE49-F238E27FC236}">
                  <a16:creationId xmlns:a16="http://schemas.microsoft.com/office/drawing/2014/main" id="{FCE8584E-5EAD-7AB6-F40B-2268B4EC52E0}"/>
                </a:ext>
              </a:extLst>
            </p:cNvPr>
            <p:cNvSpPr txBox="1"/>
            <p:nvPr/>
          </p:nvSpPr>
          <p:spPr>
            <a:xfrm>
              <a:off x="730429" y="5240848"/>
              <a:ext cx="6123471" cy="3840603"/>
            </a:xfrm>
            <a:prstGeom prst="rect">
              <a:avLst/>
            </a:prstGeom>
            <a:noFill/>
          </p:spPr>
          <p:txBody>
            <a:bodyPr wrap="none" lIns="0" tIns="0" rIns="0" bIns="0" rtlCol="0" anchor="t">
              <a:spAutoFit/>
            </a:bodyPr>
            <a:lstStyle/>
            <a:p>
              <a:pPr>
                <a:lnSpc>
                  <a:spcPct val="114000"/>
                </a:lnSpc>
                <a:spcAft>
                  <a:spcPts val="1500"/>
                </a:spcAft>
              </a:pPr>
              <a:r>
                <a:rPr kumimoji="1" lang="en-US" altLang="ja-JP" sz="2200" dirty="0">
                  <a:latin typeface="+mn-ea"/>
                </a:rPr>
                <a:t>【</a:t>
              </a:r>
              <a:r>
                <a:rPr kumimoji="1" lang="ja-JP" altLang="en-US" sz="2200" dirty="0">
                  <a:latin typeface="+mn-ea"/>
                </a:rPr>
                <a:t>拡散希望</a:t>
              </a:r>
              <a:r>
                <a:rPr kumimoji="1" lang="en-US" altLang="ja-JP" sz="2200" dirty="0">
                  <a:latin typeface="+mn-ea"/>
                </a:rPr>
                <a:t>】</a:t>
              </a:r>
              <a:br>
                <a:rPr kumimoji="1" lang="en-US" altLang="ja-JP" sz="2200" dirty="0">
                  <a:latin typeface="+mn-ea"/>
                </a:rPr>
              </a:br>
              <a:r>
                <a:rPr kumimoji="1" lang="en-US" altLang="ja-JP" sz="2200" dirty="0">
                  <a:latin typeface="+mn-ea"/>
                </a:rPr>
                <a:t>A</a:t>
              </a:r>
              <a:r>
                <a:rPr kumimoji="1" lang="ja-JP" altLang="en-US" sz="2200" dirty="0">
                  <a:latin typeface="+mn-ea"/>
                </a:rPr>
                <a:t>駅付近でライオンを</a:t>
              </a:r>
              <a:br>
                <a:rPr kumimoji="1" lang="en-US" altLang="ja-JP" sz="2200" dirty="0">
                  <a:latin typeface="+mn-ea"/>
                </a:rPr>
              </a:br>
              <a:r>
                <a:rPr kumimoji="1" lang="ja-JP" altLang="en-US" sz="2200" dirty="0">
                  <a:latin typeface="+mn-ea"/>
                </a:rPr>
                <a:t>目撃しました🦁</a:t>
              </a:r>
              <a:br>
                <a:rPr kumimoji="1" lang="en-US" altLang="ja-JP" sz="2200" dirty="0">
                  <a:latin typeface="+mn-ea"/>
                </a:rPr>
              </a:br>
              <a:r>
                <a:rPr kumimoji="1" lang="ja-JP" altLang="en-US" sz="2200" dirty="0">
                  <a:latin typeface="+mn-ea"/>
                </a:rPr>
                <a:t>どうやら</a:t>
              </a:r>
              <a:r>
                <a:rPr kumimoji="1" lang="en-US" altLang="ja-JP" sz="2200" dirty="0">
                  <a:latin typeface="+mn-ea"/>
                </a:rPr>
                <a:t>B</a:t>
              </a:r>
              <a:r>
                <a:rPr kumimoji="1" lang="ja-JP" altLang="en-US" sz="2200" dirty="0">
                  <a:latin typeface="+mn-ea"/>
                </a:rPr>
                <a:t>動物園から</a:t>
              </a:r>
              <a:br>
                <a:rPr kumimoji="1" lang="en-US" altLang="ja-JP" sz="2200" dirty="0">
                  <a:latin typeface="+mn-ea"/>
                </a:rPr>
              </a:br>
              <a:r>
                <a:rPr kumimoji="1" lang="ja-JP" altLang="en-US" sz="2200" dirty="0">
                  <a:latin typeface="+mn-ea"/>
                </a:rPr>
                <a:t>脱走したようです😱 </a:t>
              </a:r>
              <a:br>
                <a:rPr kumimoji="1" lang="ja-JP" altLang="en-US" sz="2200" dirty="0">
                  <a:latin typeface="+mn-ea"/>
                </a:rPr>
              </a:br>
              <a:r>
                <a:rPr kumimoji="1" lang="en-US" altLang="ja-JP" sz="2200" dirty="0">
                  <a:latin typeface="+mn-ea"/>
                </a:rPr>
                <a:t>A</a:t>
              </a:r>
              <a:r>
                <a:rPr kumimoji="1" lang="ja-JP" altLang="en-US" sz="2200" dirty="0">
                  <a:latin typeface="+mn-ea"/>
                </a:rPr>
                <a:t>地域の皆さん、すでに避難指示が出ています。</a:t>
              </a:r>
              <a:br>
                <a:rPr kumimoji="1" lang="ja-JP" altLang="en-US" sz="2200" dirty="0">
                  <a:latin typeface="+mn-ea"/>
                </a:rPr>
              </a:br>
              <a:r>
                <a:rPr kumimoji="1" lang="ja-JP" altLang="en-US" sz="2200" dirty="0">
                  <a:latin typeface="+mn-ea"/>
                </a:rPr>
                <a:t>まだ避難していない人がいたら、</a:t>
              </a:r>
              <a:br>
                <a:rPr kumimoji="1" lang="ja-JP" altLang="en-US" sz="2200" dirty="0">
                  <a:latin typeface="+mn-ea"/>
                </a:rPr>
              </a:br>
              <a:r>
                <a:rPr kumimoji="1" lang="ja-JP" altLang="en-US" sz="2200" dirty="0">
                  <a:latin typeface="+mn-ea"/>
                </a:rPr>
                <a:t>この情報を伝えてあげてください。</a:t>
              </a:r>
              <a:br>
                <a:rPr kumimoji="1" lang="ja-JP" altLang="en-US" sz="2200" dirty="0">
                  <a:latin typeface="+mn-ea"/>
                </a:rPr>
              </a:br>
              <a:r>
                <a:rPr kumimoji="1" lang="ja-JP" altLang="en-US" sz="2200" dirty="0">
                  <a:latin typeface="+mn-ea"/>
                </a:rPr>
                <a:t>安全第一で行動しましょう！ </a:t>
              </a:r>
              <a:br>
                <a:rPr kumimoji="1" lang="ja-JP" altLang="en-US" sz="2200" dirty="0">
                  <a:latin typeface="+mn-ea"/>
                </a:rPr>
              </a:br>
              <a:r>
                <a:rPr kumimoji="1" lang="en-US" altLang="ja-JP" sz="2200" dirty="0">
                  <a:solidFill>
                    <a:schemeClr val="accent2"/>
                  </a:solidFill>
                  <a:latin typeface="+mn-ea"/>
                </a:rPr>
                <a:t>#A</a:t>
              </a:r>
              <a:r>
                <a:rPr kumimoji="1" lang="ja-JP" altLang="en-US" sz="2200" dirty="0">
                  <a:solidFill>
                    <a:schemeClr val="accent2"/>
                  </a:solidFill>
                  <a:latin typeface="+mn-ea"/>
                </a:rPr>
                <a:t>地域　</a:t>
              </a:r>
              <a:r>
                <a:rPr kumimoji="1" lang="en-US" altLang="ja-JP" sz="2200" dirty="0">
                  <a:solidFill>
                    <a:schemeClr val="accent2"/>
                  </a:solidFill>
                  <a:latin typeface="+mn-ea"/>
                </a:rPr>
                <a:t>#</a:t>
              </a:r>
              <a:r>
                <a:rPr kumimoji="1" lang="ja-JP" altLang="en-US" sz="2200" dirty="0">
                  <a:solidFill>
                    <a:schemeClr val="accent2"/>
                  </a:solidFill>
                  <a:latin typeface="+mn-ea"/>
                </a:rPr>
                <a:t>避難指示　</a:t>
              </a:r>
              <a:r>
                <a:rPr kumimoji="1" lang="en-US" altLang="ja-JP" sz="2200" dirty="0">
                  <a:solidFill>
                    <a:schemeClr val="accent2"/>
                  </a:solidFill>
                  <a:latin typeface="+mn-ea"/>
                </a:rPr>
                <a:t>#</a:t>
              </a:r>
              <a:r>
                <a:rPr kumimoji="1" lang="ja-JP" altLang="en-US" sz="2200" dirty="0">
                  <a:solidFill>
                    <a:schemeClr val="accent2"/>
                  </a:solidFill>
                  <a:latin typeface="+mn-ea"/>
                </a:rPr>
                <a:t>拡散希望</a:t>
              </a:r>
            </a:p>
          </p:txBody>
        </p:sp>
        <p:pic>
          <p:nvPicPr>
            <p:cNvPr id="1069" name="図 3">
              <a:extLst>
                <a:ext uri="{FF2B5EF4-FFF2-40B4-BE49-F238E27FC236}">
                  <a16:creationId xmlns:a16="http://schemas.microsoft.com/office/drawing/2014/main" id="{1CF967FD-1071-04B2-FBFC-80F313DAF5FE}"/>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a:stretch/>
          </p:blipFill>
          <p:spPr>
            <a:xfrm>
              <a:off x="3692324" y="4547459"/>
              <a:ext cx="2909202" cy="2391320"/>
            </a:xfrm>
            <a:prstGeom prst="roundRect">
              <a:avLst>
                <a:gd name="adj" fmla="val 3103"/>
              </a:avLst>
            </a:prstGeom>
          </p:spPr>
        </p:pic>
        <p:grpSp>
          <p:nvGrpSpPr>
            <p:cNvPr id="1070" name="グループ化 1069">
              <a:extLst>
                <a:ext uri="{FF2B5EF4-FFF2-40B4-BE49-F238E27FC236}">
                  <a16:creationId xmlns:a16="http://schemas.microsoft.com/office/drawing/2014/main" id="{A61E12E1-30BE-24F7-94B6-2FD007E2FA6A}"/>
                </a:ext>
              </a:extLst>
            </p:cNvPr>
            <p:cNvGrpSpPr/>
            <p:nvPr/>
          </p:nvGrpSpPr>
          <p:grpSpPr>
            <a:xfrm>
              <a:off x="1853842" y="9385834"/>
              <a:ext cx="3581496" cy="396376"/>
              <a:chOff x="1752720" y="9233092"/>
              <a:chExt cx="3581496" cy="396376"/>
            </a:xfrm>
          </p:grpSpPr>
          <p:grpSp>
            <p:nvGrpSpPr>
              <p:cNvPr id="1083" name="グループ化 1082">
                <a:extLst>
                  <a:ext uri="{FF2B5EF4-FFF2-40B4-BE49-F238E27FC236}">
                    <a16:creationId xmlns:a16="http://schemas.microsoft.com/office/drawing/2014/main" id="{F4185C93-1032-1A1D-61CC-1D4404E1DFEA}"/>
                  </a:ext>
                </a:extLst>
              </p:cNvPr>
              <p:cNvGrpSpPr/>
              <p:nvPr/>
            </p:nvGrpSpPr>
            <p:grpSpPr>
              <a:xfrm>
                <a:off x="3107161" y="9234767"/>
                <a:ext cx="765386" cy="394701"/>
                <a:chOff x="730425" y="9303953"/>
                <a:chExt cx="765386" cy="394701"/>
              </a:xfrm>
            </p:grpSpPr>
            <p:sp>
              <p:nvSpPr>
                <p:cNvPr id="1154" name="テキスト ボックス 1153">
                  <a:extLst>
                    <a:ext uri="{FF2B5EF4-FFF2-40B4-BE49-F238E27FC236}">
                      <a16:creationId xmlns:a16="http://schemas.microsoft.com/office/drawing/2014/main" id="{52F67438-089A-2F33-3DB7-0BF24B75E78A}"/>
                    </a:ext>
                  </a:extLst>
                </p:cNvPr>
                <p:cNvSpPr txBox="1"/>
                <p:nvPr/>
              </p:nvSpPr>
              <p:spPr>
                <a:xfrm>
                  <a:off x="1178416" y="9362805"/>
                  <a:ext cx="317395" cy="276999"/>
                </a:xfrm>
                <a:prstGeom prst="rect">
                  <a:avLst/>
                </a:prstGeom>
                <a:noFill/>
              </p:spPr>
              <p:txBody>
                <a:bodyPr wrap="none" lIns="0" tIns="0" rIns="0" bIns="0" rtlCol="0" anchor="ctr">
                  <a:spAutoFit/>
                </a:bodyPr>
                <a:lstStyle/>
                <a:p>
                  <a:r>
                    <a:rPr kumimoji="1" lang="en-US" altLang="ja-JP" sz="1800" spc="100" dirty="0">
                      <a:solidFill>
                        <a:schemeClr val="bg1">
                          <a:lumMod val="50000"/>
                        </a:schemeClr>
                      </a:solidFill>
                    </a:rPr>
                    <a:t>2</a:t>
                  </a:r>
                  <a:r>
                    <a:rPr lang="en-US" altLang="ja-JP" sz="1800" spc="100" dirty="0">
                      <a:solidFill>
                        <a:schemeClr val="bg1">
                          <a:lumMod val="50000"/>
                        </a:schemeClr>
                      </a:solidFill>
                    </a:rPr>
                    <a:t>3</a:t>
                  </a:r>
                  <a:endParaRPr kumimoji="1" lang="ja-JP" altLang="en-US" sz="1800" spc="100" dirty="0">
                    <a:solidFill>
                      <a:schemeClr val="bg1">
                        <a:lumMod val="50000"/>
                      </a:schemeClr>
                    </a:solidFill>
                  </a:endParaRPr>
                </a:p>
              </p:txBody>
            </p:sp>
            <p:pic>
              <p:nvPicPr>
                <p:cNvPr id="1155" name="グラフィックス 1154">
                  <a:extLst>
                    <a:ext uri="{FF2B5EF4-FFF2-40B4-BE49-F238E27FC236}">
                      <a16:creationId xmlns:a16="http://schemas.microsoft.com/office/drawing/2014/main" id="{5147691D-82D4-7B88-31D5-A880A40E0AA9}"/>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730425" y="9303953"/>
                  <a:ext cx="394701" cy="394701"/>
                </a:xfrm>
                <a:prstGeom prst="rect">
                  <a:avLst/>
                </a:prstGeom>
              </p:spPr>
            </p:pic>
          </p:grpSp>
          <p:grpSp>
            <p:nvGrpSpPr>
              <p:cNvPr id="1084" name="グループ化 1083">
                <a:extLst>
                  <a:ext uri="{FF2B5EF4-FFF2-40B4-BE49-F238E27FC236}">
                    <a16:creationId xmlns:a16="http://schemas.microsoft.com/office/drawing/2014/main" id="{7681FE87-7486-8C13-4F5F-32F428127E78}"/>
                  </a:ext>
                </a:extLst>
              </p:cNvPr>
              <p:cNvGrpSpPr/>
              <p:nvPr/>
            </p:nvGrpSpPr>
            <p:grpSpPr>
              <a:xfrm>
                <a:off x="4289108" y="9238533"/>
                <a:ext cx="1045108" cy="387169"/>
                <a:chOff x="2003618" y="9311485"/>
                <a:chExt cx="1045108" cy="387169"/>
              </a:xfrm>
            </p:grpSpPr>
            <p:sp>
              <p:nvSpPr>
                <p:cNvPr id="1152" name="テキスト ボックス 1151">
                  <a:extLst>
                    <a:ext uri="{FF2B5EF4-FFF2-40B4-BE49-F238E27FC236}">
                      <a16:creationId xmlns:a16="http://schemas.microsoft.com/office/drawing/2014/main" id="{D7C0DCA4-C611-8188-62E5-A1061D55C3F3}"/>
                    </a:ext>
                  </a:extLst>
                </p:cNvPr>
                <p:cNvSpPr txBox="1"/>
                <p:nvPr/>
              </p:nvSpPr>
              <p:spPr>
                <a:xfrm>
                  <a:off x="2413937" y="9362805"/>
                  <a:ext cx="634789" cy="276999"/>
                </a:xfrm>
                <a:prstGeom prst="rect">
                  <a:avLst/>
                </a:prstGeom>
                <a:noFill/>
              </p:spPr>
              <p:txBody>
                <a:bodyPr wrap="none" lIns="0" tIns="0" rIns="0" bIns="0" rtlCol="0" anchor="ctr">
                  <a:spAutoFit/>
                </a:bodyPr>
                <a:lstStyle/>
                <a:p>
                  <a:r>
                    <a:rPr lang="en-US" altLang="ja-JP" sz="1800" spc="100" dirty="0">
                      <a:solidFill>
                        <a:schemeClr val="bg1">
                          <a:lumMod val="50000"/>
                        </a:schemeClr>
                      </a:solidFill>
                    </a:rPr>
                    <a:t>1087</a:t>
                  </a:r>
                  <a:endParaRPr kumimoji="1" lang="ja-JP" altLang="en-US" sz="1800" spc="100" dirty="0">
                    <a:solidFill>
                      <a:schemeClr val="bg1">
                        <a:lumMod val="50000"/>
                      </a:schemeClr>
                    </a:solidFill>
                  </a:endParaRPr>
                </a:p>
              </p:txBody>
            </p:sp>
            <p:pic>
              <p:nvPicPr>
                <p:cNvPr id="1153" name="グラフィックス 1152">
                  <a:extLst>
                    <a:ext uri="{FF2B5EF4-FFF2-40B4-BE49-F238E27FC236}">
                      <a16:creationId xmlns:a16="http://schemas.microsoft.com/office/drawing/2014/main" id="{08C6ACD6-8A5C-16CF-9DC6-6BCFE0F27736}"/>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2003618" y="9311485"/>
                  <a:ext cx="387169" cy="387169"/>
                </a:xfrm>
                <a:prstGeom prst="rect">
                  <a:avLst/>
                </a:prstGeom>
              </p:spPr>
            </p:pic>
          </p:grpSp>
          <p:grpSp>
            <p:nvGrpSpPr>
              <p:cNvPr id="1085" name="グループ化 1084">
                <a:extLst>
                  <a:ext uri="{FF2B5EF4-FFF2-40B4-BE49-F238E27FC236}">
                    <a16:creationId xmlns:a16="http://schemas.microsoft.com/office/drawing/2014/main" id="{C26F349A-F57C-206F-B392-8D3A2D877573}"/>
                  </a:ext>
                </a:extLst>
              </p:cNvPr>
              <p:cNvGrpSpPr/>
              <p:nvPr/>
            </p:nvGrpSpPr>
            <p:grpSpPr>
              <a:xfrm>
                <a:off x="1752720" y="9233092"/>
                <a:ext cx="921850" cy="394701"/>
                <a:chOff x="-330525" y="9302278"/>
                <a:chExt cx="921850" cy="394701"/>
              </a:xfrm>
            </p:grpSpPr>
            <p:pic>
              <p:nvPicPr>
                <p:cNvPr id="1086" name="グラフィックス 1085">
                  <a:extLst>
                    <a:ext uri="{FF2B5EF4-FFF2-40B4-BE49-F238E27FC236}">
                      <a16:creationId xmlns:a16="http://schemas.microsoft.com/office/drawing/2014/main" id="{0D354257-48ED-32B3-A110-D90271337567}"/>
                    </a:ext>
                  </a:extLst>
                </p:cNvPr>
                <p:cNvPicPr>
                  <a:picLocks noChangeAspect="1"/>
                </p:cNvPicPr>
                <p:nvPr/>
              </p:nvPicPr>
              <p:blipFill>
                <a:blip r:embed="rId8">
                  <a:extLst>
                    <a:ext uri="{28A0092B-C50C-407E-A947-70E740481C1C}">
                      <a14:useLocalDpi xmlns:a14="http://schemas.microsoft.com/office/drawing/2010/main" val="0"/>
                    </a:ext>
                    <a:ext uri="{96DAC541-7B7A-43D3-8B79-37D633B846F1}">
                      <asvg:svgBlip xmlns:asvg="http://schemas.microsoft.com/office/drawing/2016/SVG/main" r:embed="rId9"/>
                    </a:ext>
                  </a:extLst>
                </a:blip>
                <a:stretch>
                  <a:fillRect/>
                </a:stretch>
              </p:blipFill>
              <p:spPr>
                <a:xfrm>
                  <a:off x="-330525" y="9302278"/>
                  <a:ext cx="394701" cy="394701"/>
                </a:xfrm>
                <a:prstGeom prst="rect">
                  <a:avLst/>
                </a:prstGeom>
              </p:spPr>
            </p:pic>
            <p:sp>
              <p:nvSpPr>
                <p:cNvPr id="1087" name="テキスト ボックス 1086">
                  <a:extLst>
                    <a:ext uri="{FF2B5EF4-FFF2-40B4-BE49-F238E27FC236}">
                      <a16:creationId xmlns:a16="http://schemas.microsoft.com/office/drawing/2014/main" id="{6203D7BF-7AE4-C170-FBE2-1551C64E9FFF}"/>
                    </a:ext>
                  </a:extLst>
                </p:cNvPr>
                <p:cNvSpPr txBox="1"/>
                <p:nvPr/>
              </p:nvSpPr>
              <p:spPr>
                <a:xfrm>
                  <a:off x="115233" y="9369080"/>
                  <a:ext cx="476092" cy="276999"/>
                </a:xfrm>
                <a:prstGeom prst="rect">
                  <a:avLst/>
                </a:prstGeom>
                <a:noFill/>
              </p:spPr>
              <p:txBody>
                <a:bodyPr wrap="none" lIns="0" tIns="0" rIns="0" bIns="0" rtlCol="0" anchor="ctr">
                  <a:spAutoFit/>
                </a:bodyPr>
                <a:lstStyle/>
                <a:p>
                  <a:r>
                    <a:rPr kumimoji="1" lang="en-US" altLang="ja-JP" sz="1800" spc="100" dirty="0">
                      <a:solidFill>
                        <a:schemeClr val="bg1">
                          <a:lumMod val="50000"/>
                        </a:schemeClr>
                      </a:solidFill>
                    </a:rPr>
                    <a:t>501</a:t>
                  </a:r>
                  <a:endParaRPr kumimoji="1" lang="ja-JP" altLang="en-US" sz="1800" spc="100" dirty="0">
                    <a:solidFill>
                      <a:schemeClr val="bg1">
                        <a:lumMod val="50000"/>
                      </a:schemeClr>
                    </a:solidFill>
                  </a:endParaRPr>
                </a:p>
              </p:txBody>
            </p:sp>
          </p:grpSp>
        </p:grpSp>
        <p:cxnSp>
          <p:nvCxnSpPr>
            <p:cNvPr id="1071" name="直線コネクタ 1070">
              <a:extLst>
                <a:ext uri="{FF2B5EF4-FFF2-40B4-BE49-F238E27FC236}">
                  <a16:creationId xmlns:a16="http://schemas.microsoft.com/office/drawing/2014/main" id="{024F2D11-0255-6E0E-72E9-16C090140BA0}"/>
                </a:ext>
              </a:extLst>
            </p:cNvPr>
            <p:cNvCxnSpPr>
              <a:cxnSpLocks/>
            </p:cNvCxnSpPr>
            <p:nvPr/>
          </p:nvCxnSpPr>
          <p:spPr>
            <a:xfrm>
              <a:off x="534125" y="9243492"/>
              <a:ext cx="6300000" cy="0"/>
            </a:xfrm>
            <a:prstGeom prst="line">
              <a:avLst/>
            </a:prstGeom>
            <a:ln w="19050">
              <a:solidFill>
                <a:schemeClr val="bg2">
                  <a:lumMod val="90000"/>
                </a:schemeClr>
              </a:solidFill>
            </a:ln>
          </p:spPr>
          <p:style>
            <a:lnRef idx="1">
              <a:schemeClr val="accent1"/>
            </a:lnRef>
            <a:fillRef idx="0">
              <a:schemeClr val="accent1"/>
            </a:fillRef>
            <a:effectRef idx="0">
              <a:schemeClr val="accent1"/>
            </a:effectRef>
            <a:fontRef idx="minor">
              <a:schemeClr val="tx1"/>
            </a:fontRef>
          </p:style>
        </p:cxnSp>
        <p:grpSp>
          <p:nvGrpSpPr>
            <p:cNvPr id="1072" name="グループ化 1071">
              <a:extLst>
                <a:ext uri="{FF2B5EF4-FFF2-40B4-BE49-F238E27FC236}">
                  <a16:creationId xmlns:a16="http://schemas.microsoft.com/office/drawing/2014/main" id="{325EB94A-FBD3-CB5E-CBC0-F89BBB27F386}"/>
                </a:ext>
              </a:extLst>
            </p:cNvPr>
            <p:cNvGrpSpPr/>
            <p:nvPr/>
          </p:nvGrpSpPr>
          <p:grpSpPr>
            <a:xfrm>
              <a:off x="730429" y="4494627"/>
              <a:ext cx="1685793" cy="603777"/>
              <a:chOff x="730429" y="4494627"/>
              <a:chExt cx="1685793" cy="603777"/>
            </a:xfrm>
          </p:grpSpPr>
          <p:grpSp>
            <p:nvGrpSpPr>
              <p:cNvPr id="1073" name="グラフィックス 41">
                <a:extLst>
                  <a:ext uri="{FF2B5EF4-FFF2-40B4-BE49-F238E27FC236}">
                    <a16:creationId xmlns:a16="http://schemas.microsoft.com/office/drawing/2014/main" id="{1CFC3BD9-33AE-868D-A0B2-1F151B7A19BF}"/>
                  </a:ext>
                </a:extLst>
              </p:cNvPr>
              <p:cNvGrpSpPr/>
              <p:nvPr/>
            </p:nvGrpSpPr>
            <p:grpSpPr>
              <a:xfrm>
                <a:off x="730429" y="4494627"/>
                <a:ext cx="603777" cy="603777"/>
                <a:chOff x="8953499" y="4281056"/>
                <a:chExt cx="1054886" cy="1054886"/>
              </a:xfrm>
              <a:solidFill>
                <a:schemeClr val="bg2">
                  <a:lumMod val="50000"/>
                </a:schemeClr>
              </a:solidFill>
            </p:grpSpPr>
            <p:sp>
              <p:nvSpPr>
                <p:cNvPr id="1081" name="フリーフォーム: 図形 1080">
                  <a:extLst>
                    <a:ext uri="{FF2B5EF4-FFF2-40B4-BE49-F238E27FC236}">
                      <a16:creationId xmlns:a16="http://schemas.microsoft.com/office/drawing/2014/main" id="{64E6A162-111C-F21F-68F6-180806CEA17A}"/>
                    </a:ext>
                  </a:extLst>
                </p:cNvPr>
                <p:cNvSpPr/>
                <p:nvPr/>
              </p:nvSpPr>
              <p:spPr>
                <a:xfrm>
                  <a:off x="8953499" y="4281056"/>
                  <a:ext cx="1054886" cy="1054886"/>
                </a:xfrm>
                <a:custGeom>
                  <a:avLst/>
                  <a:gdLst>
                    <a:gd name="connsiteX0" fmla="*/ 1054887 w 1054886"/>
                    <a:gd name="connsiteY0" fmla="*/ 527443 h 1054886"/>
                    <a:gd name="connsiteX1" fmla="*/ 527443 w 1054886"/>
                    <a:gd name="connsiteY1" fmla="*/ 1054887 h 1054886"/>
                    <a:gd name="connsiteX2" fmla="*/ 0 w 1054886"/>
                    <a:gd name="connsiteY2" fmla="*/ 527443 h 1054886"/>
                    <a:gd name="connsiteX3" fmla="*/ 527443 w 1054886"/>
                    <a:gd name="connsiteY3" fmla="*/ 0 h 1054886"/>
                    <a:gd name="connsiteX4" fmla="*/ 1054887 w 1054886"/>
                    <a:gd name="connsiteY4" fmla="*/ 527443 h 105488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54886" h="1054886">
                      <a:moveTo>
                        <a:pt x="1054887" y="527443"/>
                      </a:moveTo>
                      <a:cubicBezTo>
                        <a:pt x="1054887" y="818742"/>
                        <a:pt x="818742" y="1054887"/>
                        <a:pt x="527443" y="1054887"/>
                      </a:cubicBezTo>
                      <a:cubicBezTo>
                        <a:pt x="236144" y="1054887"/>
                        <a:pt x="0" y="818742"/>
                        <a:pt x="0" y="527443"/>
                      </a:cubicBezTo>
                      <a:cubicBezTo>
                        <a:pt x="0" y="236144"/>
                        <a:pt x="236144" y="0"/>
                        <a:pt x="527443" y="0"/>
                      </a:cubicBezTo>
                      <a:cubicBezTo>
                        <a:pt x="818742" y="0"/>
                        <a:pt x="1054887" y="236144"/>
                        <a:pt x="1054887" y="527443"/>
                      </a:cubicBezTo>
                      <a:close/>
                    </a:path>
                  </a:pathLst>
                </a:custGeom>
                <a:solidFill>
                  <a:schemeClr val="bg2">
                    <a:lumMod val="90000"/>
                  </a:schemeClr>
                </a:solidFill>
                <a:ln w="26194" cap="flat">
                  <a:noFill/>
                  <a:prstDash val="solid"/>
                  <a:miter/>
                </a:ln>
              </p:spPr>
              <p:txBody>
                <a:bodyPr rtlCol="0" anchor="ctr"/>
                <a:lstStyle/>
                <a:p>
                  <a:endParaRPr lang="ja-JP" altLang="en-US" sz="1200"/>
                </a:p>
              </p:txBody>
            </p:sp>
            <p:sp>
              <p:nvSpPr>
                <p:cNvPr id="1082" name="フリーフォーム: 図形 1081">
                  <a:extLst>
                    <a:ext uri="{FF2B5EF4-FFF2-40B4-BE49-F238E27FC236}">
                      <a16:creationId xmlns:a16="http://schemas.microsoft.com/office/drawing/2014/main" id="{5CEB6E8F-49F3-5E8B-651A-D0D65656E78B}"/>
                    </a:ext>
                  </a:extLst>
                </p:cNvPr>
                <p:cNvSpPr/>
                <p:nvPr/>
              </p:nvSpPr>
              <p:spPr>
                <a:xfrm>
                  <a:off x="9111190" y="4483409"/>
                  <a:ext cx="739478" cy="852531"/>
                </a:xfrm>
                <a:custGeom>
                  <a:avLst/>
                  <a:gdLst>
                    <a:gd name="connsiteX0" fmla="*/ 369752 w 739478"/>
                    <a:gd name="connsiteY0" fmla="*/ 852532 h 852531"/>
                    <a:gd name="connsiteX1" fmla="*/ 739478 w 739478"/>
                    <a:gd name="connsiteY1" fmla="*/ 700969 h 852531"/>
                    <a:gd name="connsiteX2" fmla="*/ 734244 w 739478"/>
                    <a:gd name="connsiteY2" fmla="*/ 651492 h 852531"/>
                    <a:gd name="connsiteX3" fmla="*/ 450242 w 739478"/>
                    <a:gd name="connsiteY3" fmla="*/ 399318 h 852531"/>
                    <a:gd name="connsiteX4" fmla="*/ 577499 w 739478"/>
                    <a:gd name="connsiteY4" fmla="*/ 207747 h 852531"/>
                    <a:gd name="connsiteX5" fmla="*/ 369726 w 739478"/>
                    <a:gd name="connsiteY5" fmla="*/ 0 h 852531"/>
                    <a:gd name="connsiteX6" fmla="*/ 161979 w 739478"/>
                    <a:gd name="connsiteY6" fmla="*/ 207747 h 852531"/>
                    <a:gd name="connsiteX7" fmla="*/ 289210 w 739478"/>
                    <a:gd name="connsiteY7" fmla="*/ 399318 h 852531"/>
                    <a:gd name="connsiteX8" fmla="*/ 5234 w 739478"/>
                    <a:gd name="connsiteY8" fmla="*/ 651492 h 852531"/>
                    <a:gd name="connsiteX9" fmla="*/ 0 w 739478"/>
                    <a:gd name="connsiteY9" fmla="*/ 700969 h 852531"/>
                    <a:gd name="connsiteX10" fmla="*/ 369752 w 739478"/>
                    <a:gd name="connsiteY10" fmla="*/ 852532 h 852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739478" h="852531">
                      <a:moveTo>
                        <a:pt x="369752" y="852532"/>
                      </a:moveTo>
                      <a:cubicBezTo>
                        <a:pt x="513844" y="852532"/>
                        <a:pt x="644285" y="794611"/>
                        <a:pt x="739478" y="700969"/>
                      </a:cubicBezTo>
                      <a:cubicBezTo>
                        <a:pt x="737979" y="677796"/>
                        <a:pt x="736243" y="659146"/>
                        <a:pt x="734244" y="651492"/>
                      </a:cubicBezTo>
                      <a:cubicBezTo>
                        <a:pt x="697681" y="511582"/>
                        <a:pt x="580077" y="424806"/>
                        <a:pt x="450242" y="399318"/>
                      </a:cubicBezTo>
                      <a:cubicBezTo>
                        <a:pt x="524997" y="367858"/>
                        <a:pt x="577499" y="293945"/>
                        <a:pt x="577499" y="207747"/>
                      </a:cubicBezTo>
                      <a:cubicBezTo>
                        <a:pt x="577499" y="93010"/>
                        <a:pt x="484489" y="0"/>
                        <a:pt x="369726" y="0"/>
                      </a:cubicBezTo>
                      <a:cubicBezTo>
                        <a:pt x="254989" y="0"/>
                        <a:pt x="161979" y="93036"/>
                        <a:pt x="161979" y="207747"/>
                      </a:cubicBezTo>
                      <a:cubicBezTo>
                        <a:pt x="161979" y="293945"/>
                        <a:pt x="214455" y="367858"/>
                        <a:pt x="289210" y="399318"/>
                      </a:cubicBezTo>
                      <a:cubicBezTo>
                        <a:pt x="159401" y="424832"/>
                        <a:pt x="41797" y="511608"/>
                        <a:pt x="5234" y="651492"/>
                      </a:cubicBezTo>
                      <a:cubicBezTo>
                        <a:pt x="3235" y="659146"/>
                        <a:pt x="1499" y="677796"/>
                        <a:pt x="0" y="700969"/>
                      </a:cubicBezTo>
                      <a:cubicBezTo>
                        <a:pt x="95193" y="794611"/>
                        <a:pt x="225660" y="852532"/>
                        <a:pt x="369752" y="852532"/>
                      </a:cubicBezTo>
                      <a:close/>
                    </a:path>
                  </a:pathLst>
                </a:custGeom>
                <a:solidFill>
                  <a:schemeClr val="tx2"/>
                </a:solidFill>
                <a:ln w="26194" cap="flat">
                  <a:noFill/>
                  <a:prstDash val="solid"/>
                  <a:miter/>
                </a:ln>
              </p:spPr>
              <p:txBody>
                <a:bodyPr rtlCol="0" anchor="ctr"/>
                <a:lstStyle/>
                <a:p>
                  <a:endParaRPr lang="ja-JP" altLang="en-US" sz="1200"/>
                </a:p>
              </p:txBody>
            </p:sp>
          </p:grpSp>
          <p:grpSp>
            <p:nvGrpSpPr>
              <p:cNvPr id="1074" name="グループ化 1073">
                <a:extLst>
                  <a:ext uri="{FF2B5EF4-FFF2-40B4-BE49-F238E27FC236}">
                    <a16:creationId xmlns:a16="http://schemas.microsoft.com/office/drawing/2014/main" id="{CC2E9CC7-7C51-5A1B-8435-D64681FC2723}"/>
                  </a:ext>
                </a:extLst>
              </p:cNvPr>
              <p:cNvGrpSpPr/>
              <p:nvPr/>
            </p:nvGrpSpPr>
            <p:grpSpPr>
              <a:xfrm>
                <a:off x="1516769" y="4693705"/>
                <a:ext cx="899453" cy="205621"/>
                <a:chOff x="1516769" y="4693705"/>
                <a:chExt cx="899453" cy="205621"/>
              </a:xfrm>
            </p:grpSpPr>
            <p:sp>
              <p:nvSpPr>
                <p:cNvPr id="1075" name="正方形/長方形 1074">
                  <a:extLst>
                    <a:ext uri="{FF2B5EF4-FFF2-40B4-BE49-F238E27FC236}">
                      <a16:creationId xmlns:a16="http://schemas.microsoft.com/office/drawing/2014/main" id="{14D624BD-12AA-1EB2-63AC-BC919263B0AF}"/>
                    </a:ext>
                  </a:extLst>
                </p:cNvPr>
                <p:cNvSpPr/>
                <p:nvPr/>
              </p:nvSpPr>
              <p:spPr>
                <a:xfrm>
                  <a:off x="1516769"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6" name="正方形/長方形 1075">
                  <a:extLst>
                    <a:ext uri="{FF2B5EF4-FFF2-40B4-BE49-F238E27FC236}">
                      <a16:creationId xmlns:a16="http://schemas.microsoft.com/office/drawing/2014/main" id="{192241B9-B648-E3AD-47E6-9EE11660EA52}"/>
                    </a:ext>
                  </a:extLst>
                </p:cNvPr>
                <p:cNvSpPr/>
                <p:nvPr/>
              </p:nvSpPr>
              <p:spPr>
                <a:xfrm>
                  <a:off x="1671591"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7" name="正方形/長方形 1076">
                  <a:extLst>
                    <a:ext uri="{FF2B5EF4-FFF2-40B4-BE49-F238E27FC236}">
                      <a16:creationId xmlns:a16="http://schemas.microsoft.com/office/drawing/2014/main" id="{6CCE0675-53C1-D3BA-A904-BEF6F8D74F4A}"/>
                    </a:ext>
                  </a:extLst>
                </p:cNvPr>
                <p:cNvSpPr/>
                <p:nvPr/>
              </p:nvSpPr>
              <p:spPr>
                <a:xfrm>
                  <a:off x="1826413"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8" name="正方形/長方形 1077">
                  <a:extLst>
                    <a:ext uri="{FF2B5EF4-FFF2-40B4-BE49-F238E27FC236}">
                      <a16:creationId xmlns:a16="http://schemas.microsoft.com/office/drawing/2014/main" id="{2BBA23F3-0C99-1FE6-CC21-D3B3164186F1}"/>
                    </a:ext>
                  </a:extLst>
                </p:cNvPr>
                <p:cNvSpPr/>
                <p:nvPr/>
              </p:nvSpPr>
              <p:spPr>
                <a:xfrm>
                  <a:off x="1981235"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79" name="正方形/長方形 1078">
                  <a:extLst>
                    <a:ext uri="{FF2B5EF4-FFF2-40B4-BE49-F238E27FC236}">
                      <a16:creationId xmlns:a16="http://schemas.microsoft.com/office/drawing/2014/main" id="{1A7EF2D5-11AF-CED3-F22D-021DD7B99202}"/>
                    </a:ext>
                  </a:extLst>
                </p:cNvPr>
                <p:cNvSpPr/>
                <p:nvPr/>
              </p:nvSpPr>
              <p:spPr>
                <a:xfrm>
                  <a:off x="2136057"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080" name="正方形/長方形 1079">
                  <a:extLst>
                    <a:ext uri="{FF2B5EF4-FFF2-40B4-BE49-F238E27FC236}">
                      <a16:creationId xmlns:a16="http://schemas.microsoft.com/office/drawing/2014/main" id="{954E010B-CD2B-0D93-80BE-462DA7AF5833}"/>
                    </a:ext>
                  </a:extLst>
                </p:cNvPr>
                <p:cNvSpPr/>
                <p:nvPr/>
              </p:nvSpPr>
              <p:spPr>
                <a:xfrm>
                  <a:off x="2290881" y="4693705"/>
                  <a:ext cx="125341" cy="205621"/>
                </a:xfrm>
                <a:prstGeom prst="rect">
                  <a:avLst/>
                </a:prstGeom>
                <a:solidFill>
                  <a:schemeClr val="tx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grpSp>
      <p:sp>
        <p:nvSpPr>
          <p:cNvPr id="2" name="スライド番号プレースホルダー 1">
            <a:extLst>
              <a:ext uri="{FF2B5EF4-FFF2-40B4-BE49-F238E27FC236}">
                <a16:creationId xmlns:a16="http://schemas.microsoft.com/office/drawing/2014/main" id="{572D134D-E8EB-C684-DE30-4AE822C29F77}"/>
              </a:ext>
            </a:extLst>
          </p:cNvPr>
          <p:cNvSpPr>
            <a:spLocks noGrp="1"/>
          </p:cNvSpPr>
          <p:nvPr>
            <p:ph type="sldNum" sz="quarter" idx="11"/>
          </p:nvPr>
        </p:nvSpPr>
        <p:spPr>
          <a:xfrm>
            <a:off x="17695001" y="9786651"/>
            <a:ext cx="327013" cy="307777"/>
          </a:xfrm>
        </p:spPr>
        <p:txBody>
          <a:bodyPr/>
          <a:lstStyle/>
          <a:p>
            <a:r>
              <a:rPr lang="en-US" altLang="ja-JP"/>
              <a:t>43</a:t>
            </a:r>
            <a:endParaRPr lang="ja-JP" altLang="en-US" dirty="0"/>
          </a:p>
        </p:txBody>
      </p:sp>
    </p:spTree>
    <p:extLst>
      <p:ext uri="{BB962C8B-B14F-4D97-AF65-F5344CB8AC3E}">
        <p14:creationId xmlns:p14="http://schemas.microsoft.com/office/powerpoint/2010/main" val="3760936023"/>
      </p:ext>
    </p:extLst>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4" name="楕円 1133">
            <a:extLst>
              <a:ext uri="{FF2B5EF4-FFF2-40B4-BE49-F238E27FC236}">
                <a16:creationId xmlns:a16="http://schemas.microsoft.com/office/drawing/2014/main" id="{CF7A0D54-76D8-143C-3688-A489004F409E}"/>
              </a:ext>
            </a:extLst>
          </p:cNvPr>
          <p:cNvSpPr/>
          <p:nvPr/>
        </p:nvSpPr>
        <p:spPr>
          <a:xfrm>
            <a:off x="11861822" y="5478137"/>
            <a:ext cx="1676938" cy="1676938"/>
          </a:xfrm>
          <a:prstGeom prst="ellipse">
            <a:avLst/>
          </a:prstGeom>
          <a:noFill/>
          <a:ln w="190500">
            <a:solidFill>
              <a:schemeClr val="bg2">
                <a:lumMod val="9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35" name="楕円 1134">
            <a:extLst>
              <a:ext uri="{FF2B5EF4-FFF2-40B4-BE49-F238E27FC236}">
                <a16:creationId xmlns:a16="http://schemas.microsoft.com/office/drawing/2014/main" id="{2EB96DC9-347E-FBDF-2D18-231E5A162F98}"/>
              </a:ext>
            </a:extLst>
          </p:cNvPr>
          <p:cNvSpPr/>
          <p:nvPr/>
        </p:nvSpPr>
        <p:spPr>
          <a:xfrm>
            <a:off x="11855837" y="7823872"/>
            <a:ext cx="1676938" cy="1676938"/>
          </a:xfrm>
          <a:prstGeom prst="ellipse">
            <a:avLst/>
          </a:prstGeom>
          <a:noFill/>
          <a:ln w="190500">
            <a:solidFill>
              <a:schemeClr val="bg2">
                <a:lumMod val="9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32" name="楕円 1131">
            <a:extLst>
              <a:ext uri="{FF2B5EF4-FFF2-40B4-BE49-F238E27FC236}">
                <a16:creationId xmlns:a16="http://schemas.microsoft.com/office/drawing/2014/main" id="{C09DCC27-0EDF-CDB6-63DB-B33963F6ADC0}"/>
              </a:ext>
            </a:extLst>
          </p:cNvPr>
          <p:cNvSpPr/>
          <p:nvPr/>
        </p:nvSpPr>
        <p:spPr>
          <a:xfrm>
            <a:off x="11855837" y="785634"/>
            <a:ext cx="1676938" cy="1676938"/>
          </a:xfrm>
          <a:prstGeom prst="ellipse">
            <a:avLst/>
          </a:prstGeom>
          <a:noFill/>
          <a:ln w="190500">
            <a:solidFill>
              <a:schemeClr val="bg2">
                <a:lumMod val="90000"/>
                <a:alpha val="5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12" name="グループ化 11">
            <a:extLst>
              <a:ext uri="{FF2B5EF4-FFF2-40B4-BE49-F238E27FC236}">
                <a16:creationId xmlns:a16="http://schemas.microsoft.com/office/drawing/2014/main" id="{DD915BB9-8B80-BCF9-339E-51EDB9249236}"/>
              </a:ext>
            </a:extLst>
          </p:cNvPr>
          <p:cNvGrpSpPr/>
          <p:nvPr/>
        </p:nvGrpSpPr>
        <p:grpSpPr>
          <a:xfrm>
            <a:off x="7945117" y="724103"/>
            <a:ext cx="9472062" cy="8990738"/>
            <a:chOff x="7945117" y="728997"/>
            <a:chExt cx="9472062" cy="8990738"/>
          </a:xfrm>
        </p:grpSpPr>
        <p:grpSp>
          <p:nvGrpSpPr>
            <p:cNvPr id="16" name="グループ化 15">
              <a:extLst>
                <a:ext uri="{FF2B5EF4-FFF2-40B4-BE49-F238E27FC236}">
                  <a16:creationId xmlns:a16="http://schemas.microsoft.com/office/drawing/2014/main" id="{10B13D75-A098-E346-80DF-438BDB53C298}"/>
                </a:ext>
              </a:extLst>
            </p:cNvPr>
            <p:cNvGrpSpPr/>
            <p:nvPr/>
          </p:nvGrpSpPr>
          <p:grpSpPr>
            <a:xfrm>
              <a:off x="7945117" y="728997"/>
              <a:ext cx="8107906" cy="1800000"/>
              <a:chOff x="7945117" y="1234999"/>
              <a:chExt cx="8107906" cy="1800000"/>
            </a:xfrm>
          </p:grpSpPr>
          <p:sp>
            <p:nvSpPr>
              <p:cNvPr id="28" name="テキスト ボックス 27">
                <a:extLst>
                  <a:ext uri="{FF2B5EF4-FFF2-40B4-BE49-F238E27FC236}">
                    <a16:creationId xmlns:a16="http://schemas.microsoft.com/office/drawing/2014/main" id="{9FA120C9-F087-FB26-4EBD-A20F20F4EAD0}"/>
                  </a:ext>
                </a:extLst>
              </p:cNvPr>
              <p:cNvSpPr txBox="1"/>
              <p:nvPr userDrawn="1"/>
            </p:nvSpPr>
            <p:spPr>
              <a:xfrm>
                <a:off x="8916454" y="1483955"/>
                <a:ext cx="7136569" cy="130208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情報が正しいかどうか確認しないまま、</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その情報をシェアして拡散するのは避けるべき</a:t>
                </a:r>
              </a:p>
            </p:txBody>
          </p:sp>
          <p:sp>
            <p:nvSpPr>
              <p:cNvPr id="29" name="テキスト ボックス 28">
                <a:extLst>
                  <a:ext uri="{FF2B5EF4-FFF2-40B4-BE49-F238E27FC236}">
                    <a16:creationId xmlns:a16="http://schemas.microsoft.com/office/drawing/2014/main" id="{7AB25BC5-7C6E-8030-7CD9-C57DD8EB083A}"/>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17" name="グループ化 16">
              <a:extLst>
                <a:ext uri="{FF2B5EF4-FFF2-40B4-BE49-F238E27FC236}">
                  <a16:creationId xmlns:a16="http://schemas.microsoft.com/office/drawing/2014/main" id="{735A1D44-E9FF-35F2-4ABA-D408235BA699}"/>
                </a:ext>
              </a:extLst>
            </p:cNvPr>
            <p:cNvGrpSpPr/>
            <p:nvPr/>
          </p:nvGrpSpPr>
          <p:grpSpPr>
            <a:xfrm>
              <a:off x="7945117" y="3074733"/>
              <a:ext cx="9387102" cy="1800000"/>
              <a:chOff x="7945117" y="3367623"/>
              <a:chExt cx="9387102" cy="1800000"/>
            </a:xfrm>
          </p:grpSpPr>
          <p:sp>
            <p:nvSpPr>
              <p:cNvPr id="26" name="テキスト ボックス 25">
                <a:extLst>
                  <a:ext uri="{FF2B5EF4-FFF2-40B4-BE49-F238E27FC236}">
                    <a16:creationId xmlns:a16="http://schemas.microsoft.com/office/drawing/2014/main" id="{886EADF2-9750-3B89-F07D-1BD080418AD6}"/>
                  </a:ext>
                </a:extLst>
              </p:cNvPr>
              <p:cNvSpPr txBox="1"/>
              <p:nvPr/>
            </p:nvSpPr>
            <p:spPr>
              <a:xfrm>
                <a:off x="8916454" y="4040446"/>
                <a:ext cx="8415765"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A</a:t>
                </a:r>
                <a:r>
                  <a:rPr kumimoji="1" lang="ja-JP" altLang="en-US" sz="2800" spc="50" dirty="0">
                    <a:latin typeface="+mn-ea"/>
                    <a:ea typeface="+mn-ea"/>
                  </a:rPr>
                  <a:t>自治体</a:t>
                </a:r>
                <a:r>
                  <a:rPr kumimoji="1" lang="en-US" altLang="ja-JP" sz="2800" spc="50" dirty="0">
                    <a:latin typeface="+mn-ea"/>
                    <a:ea typeface="+mn-ea"/>
                  </a:rPr>
                  <a:t>HP</a:t>
                </a:r>
                <a:r>
                  <a:rPr kumimoji="1" lang="ja-JP" altLang="en-US" sz="2800" spc="50" dirty="0">
                    <a:latin typeface="+mn-ea"/>
                    <a:ea typeface="+mn-ea"/>
                  </a:rPr>
                  <a:t>や</a:t>
                </a:r>
                <a:r>
                  <a:rPr kumimoji="1" lang="en-US" altLang="ja-JP" sz="2800" spc="50" dirty="0">
                    <a:latin typeface="+mn-ea"/>
                    <a:ea typeface="+mn-ea"/>
                  </a:rPr>
                  <a:t>B</a:t>
                </a:r>
                <a:r>
                  <a:rPr kumimoji="1" lang="ja-JP" altLang="en-US" sz="2800" spc="50" dirty="0">
                    <a:latin typeface="+mn-ea"/>
                    <a:ea typeface="+mn-ea"/>
                  </a:rPr>
                  <a:t>動物園</a:t>
                </a:r>
                <a:r>
                  <a:rPr kumimoji="1" lang="en-US" altLang="ja-JP" sz="2800" spc="50" dirty="0">
                    <a:latin typeface="+mn-ea"/>
                    <a:ea typeface="+mn-ea"/>
                  </a:rPr>
                  <a:t>HP</a:t>
                </a:r>
                <a:r>
                  <a:rPr kumimoji="1" lang="ja-JP" altLang="en-US" sz="2800" spc="50" dirty="0">
                    <a:latin typeface="+mn-ea"/>
                    <a:ea typeface="+mn-ea"/>
                  </a:rPr>
                  <a:t>などの公式情報を確認する</a:t>
                </a:r>
              </a:p>
            </p:txBody>
          </p:sp>
          <p:sp>
            <p:nvSpPr>
              <p:cNvPr id="27" name="テキスト ボックス 26">
                <a:extLst>
                  <a:ext uri="{FF2B5EF4-FFF2-40B4-BE49-F238E27FC236}">
                    <a16:creationId xmlns:a16="http://schemas.microsoft.com/office/drawing/2014/main" id="{8AC24BC1-3314-485D-B866-7268B6A913F9}"/>
                  </a:ext>
                </a:extLst>
              </p:cNvPr>
              <p:cNvSpPr txBox="1">
                <a:spLocks/>
              </p:cNvSpPr>
              <p:nvPr/>
            </p:nvSpPr>
            <p:spPr>
              <a:xfrm>
                <a:off x="7945117" y="3367623"/>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18" name="グループ化 17">
              <a:extLst>
                <a:ext uri="{FF2B5EF4-FFF2-40B4-BE49-F238E27FC236}">
                  <a16:creationId xmlns:a16="http://schemas.microsoft.com/office/drawing/2014/main" id="{24466840-2724-F5C8-A90C-4E98148BFBF8}"/>
                </a:ext>
              </a:extLst>
            </p:cNvPr>
            <p:cNvGrpSpPr/>
            <p:nvPr/>
          </p:nvGrpSpPr>
          <p:grpSpPr>
            <a:xfrm>
              <a:off x="7945117" y="5420469"/>
              <a:ext cx="8787579" cy="1800000"/>
              <a:chOff x="7945117" y="5500579"/>
              <a:chExt cx="8787579" cy="1800000"/>
            </a:xfrm>
          </p:grpSpPr>
          <p:sp>
            <p:nvSpPr>
              <p:cNvPr id="23" name="テキスト ボックス 22">
                <a:extLst>
                  <a:ext uri="{FF2B5EF4-FFF2-40B4-BE49-F238E27FC236}">
                    <a16:creationId xmlns:a16="http://schemas.microsoft.com/office/drawing/2014/main" id="{476DB5BD-6A17-D645-E1DB-303A184CF867}"/>
                  </a:ext>
                </a:extLst>
              </p:cNvPr>
              <p:cNvSpPr txBox="1"/>
              <p:nvPr/>
            </p:nvSpPr>
            <p:spPr>
              <a:xfrm>
                <a:off x="8916454" y="5529475"/>
                <a:ext cx="7816242" cy="1742208"/>
              </a:xfrm>
              <a:prstGeom prst="rect">
                <a:avLst/>
              </a:prstGeom>
              <a:noFill/>
            </p:spPr>
            <p:txBody>
              <a:bodyPr wrap="none" lIns="0" tIns="0" rIns="0" bIns="0" rtlCol="0" anchor="ctr">
                <a:spAutoFit/>
              </a:bodyPr>
              <a:lstStyle/>
              <a:p>
                <a:pPr algn="l">
                  <a:lnSpc>
                    <a:spcPct val="110000"/>
                  </a:lnSpc>
                </a:pPr>
                <a:r>
                  <a:rPr lang="en-US" altLang="ja-JP" sz="2600" spc="50" dirty="0">
                    <a:solidFill>
                      <a:schemeClr val="accent3"/>
                    </a:solidFill>
                    <a:latin typeface="+mn-ea"/>
                  </a:rPr>
                  <a:t>【</a:t>
                </a:r>
                <a:r>
                  <a:rPr lang="ja-JP" altLang="en-US" sz="2600" spc="50" dirty="0">
                    <a:solidFill>
                      <a:schemeClr val="accent3"/>
                    </a:solidFill>
                    <a:latin typeface="+mn-ea"/>
                  </a:rPr>
                  <a:t>解説</a:t>
                </a:r>
                <a:r>
                  <a:rPr lang="en-US" altLang="ja-JP" sz="2600" spc="50" dirty="0">
                    <a:solidFill>
                      <a:schemeClr val="accent3"/>
                    </a:solidFill>
                    <a:latin typeface="+mn-ea"/>
                  </a:rPr>
                  <a:t>】</a:t>
                </a:r>
                <a:br>
                  <a:rPr lang="en-US" altLang="ja-JP" sz="2600" spc="50" dirty="0">
                    <a:solidFill>
                      <a:schemeClr val="accent3"/>
                    </a:solidFill>
                    <a:latin typeface="+mn-ea"/>
                  </a:rPr>
                </a:br>
                <a:r>
                  <a:rPr kumimoji="1" lang="ja-JP" altLang="en-US" sz="2600" spc="50" dirty="0">
                    <a:solidFill>
                      <a:schemeClr val="accent3"/>
                    </a:solidFill>
                    <a:latin typeface="+mn-ea"/>
                    <a:ea typeface="+mn-ea"/>
                  </a:rPr>
                  <a:t>緊急性の高い情報に対して即座に反応し、パニック</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に陥るのは避けるべき。まずは深呼吸をして、</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その情報が本当に信頼できるかどうかを考える</a:t>
                </a:r>
              </a:p>
            </p:txBody>
          </p:sp>
          <p:sp>
            <p:nvSpPr>
              <p:cNvPr id="24" name="テキスト ボックス 23">
                <a:extLst>
                  <a:ext uri="{FF2B5EF4-FFF2-40B4-BE49-F238E27FC236}">
                    <a16:creationId xmlns:a16="http://schemas.microsoft.com/office/drawing/2014/main" id="{9A8FEB4E-D109-F2C8-9A76-EA5F4A2E3FD8}"/>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20" name="グループ化 19">
              <a:extLst>
                <a:ext uri="{FF2B5EF4-FFF2-40B4-BE49-F238E27FC236}">
                  <a16:creationId xmlns:a16="http://schemas.microsoft.com/office/drawing/2014/main" id="{B1843E11-C46A-E165-B80D-2CD2DB5D52D7}"/>
                </a:ext>
              </a:extLst>
            </p:cNvPr>
            <p:cNvGrpSpPr/>
            <p:nvPr/>
          </p:nvGrpSpPr>
          <p:grpSpPr>
            <a:xfrm>
              <a:off x="7945117" y="7705273"/>
              <a:ext cx="9472062" cy="2014462"/>
              <a:chOff x="7945117" y="7572439"/>
              <a:chExt cx="9472062" cy="2014462"/>
            </a:xfrm>
          </p:grpSpPr>
          <p:sp>
            <p:nvSpPr>
              <p:cNvPr id="21" name="テキスト ボックス 20">
                <a:extLst>
                  <a:ext uri="{FF2B5EF4-FFF2-40B4-BE49-F238E27FC236}">
                    <a16:creationId xmlns:a16="http://schemas.microsoft.com/office/drawing/2014/main" id="{A8402B0E-9397-E7B7-0571-41DF582A3FB6}"/>
                  </a:ext>
                </a:extLst>
              </p:cNvPr>
              <p:cNvSpPr txBox="1"/>
              <p:nvPr/>
            </p:nvSpPr>
            <p:spPr>
              <a:xfrm>
                <a:off x="8916454" y="7572439"/>
                <a:ext cx="8500725" cy="2014462"/>
              </a:xfrm>
              <a:prstGeom prst="rect">
                <a:avLst/>
              </a:prstGeom>
              <a:noFill/>
            </p:spPr>
            <p:txBody>
              <a:bodyPr wrap="none" lIns="0" tIns="0" rIns="0" bIns="0" rtlCol="0" anchor="ctr">
                <a:spAutoFit/>
              </a:bodyPr>
              <a:lstStyle/>
              <a:p>
                <a:pPr algn="l">
                  <a:lnSpc>
                    <a:spcPct val="110000"/>
                  </a:lnSpc>
                </a:pPr>
                <a:r>
                  <a:rPr lang="en-US" altLang="ja-JP" sz="2400" spc="50" dirty="0">
                    <a:solidFill>
                      <a:schemeClr val="accent3"/>
                    </a:solidFill>
                    <a:latin typeface="+mn-ea"/>
                  </a:rPr>
                  <a:t>【</a:t>
                </a:r>
                <a:r>
                  <a:rPr lang="ja-JP" altLang="en-US" sz="2400" spc="50" dirty="0">
                    <a:solidFill>
                      <a:schemeClr val="accent3"/>
                    </a:solidFill>
                    <a:latin typeface="+mn-ea"/>
                  </a:rPr>
                  <a:t>解説</a:t>
                </a:r>
                <a:r>
                  <a:rPr lang="en-US" altLang="ja-JP" sz="2400" spc="50" dirty="0">
                    <a:solidFill>
                      <a:schemeClr val="accent3"/>
                    </a:solidFill>
                    <a:latin typeface="+mn-ea"/>
                  </a:rPr>
                  <a:t>】</a:t>
                </a:r>
                <a:br>
                  <a:rPr lang="en-US" altLang="ja-JP" sz="2400" spc="50" dirty="0">
                    <a:solidFill>
                      <a:schemeClr val="accent3"/>
                    </a:solidFill>
                    <a:latin typeface="+mn-ea"/>
                  </a:rPr>
                </a:br>
                <a:r>
                  <a:rPr kumimoji="1" lang="ja-JP" altLang="en-US" sz="2400" spc="50" dirty="0">
                    <a:solidFill>
                      <a:schemeClr val="accent3"/>
                    </a:solidFill>
                    <a:latin typeface="+mn-ea"/>
                    <a:ea typeface="+mn-ea"/>
                  </a:rPr>
                  <a:t>画像が本物か疑っているところまでは正しい行動。</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しかし、生成</a:t>
                </a:r>
                <a:r>
                  <a:rPr kumimoji="1" lang="en-US" altLang="ja-JP" sz="2400" spc="50" dirty="0">
                    <a:solidFill>
                      <a:schemeClr val="accent3"/>
                    </a:solidFill>
                    <a:latin typeface="+mn-ea"/>
                    <a:ea typeface="+mn-ea"/>
                  </a:rPr>
                  <a:t>AI</a:t>
                </a:r>
                <a:r>
                  <a:rPr kumimoji="1" lang="ja-JP" altLang="en-US" sz="2400" spc="50" dirty="0">
                    <a:solidFill>
                      <a:schemeClr val="accent3"/>
                    </a:solidFill>
                    <a:latin typeface="+mn-ea"/>
                    <a:ea typeface="+mn-ea"/>
                  </a:rPr>
                  <a:t>の技術の進歩により、合成画像を見分けるの</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は非常に困難となっている。画像に違和感がなくても偽情報</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の可能性があるため、まずは公式情報を確認すべき</a:t>
                </a:r>
              </a:p>
            </p:txBody>
          </p:sp>
          <p:sp>
            <p:nvSpPr>
              <p:cNvPr id="22" name="テキスト ボックス 21">
                <a:extLst>
                  <a:ext uri="{FF2B5EF4-FFF2-40B4-BE49-F238E27FC236}">
                    <a16:creationId xmlns:a16="http://schemas.microsoft.com/office/drawing/2014/main" id="{7F124F0C-DABB-E3BD-412C-FF1FED03F74F}"/>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2" name="グループ化 1">
            <a:extLst>
              <a:ext uri="{FF2B5EF4-FFF2-40B4-BE49-F238E27FC236}">
                <a16:creationId xmlns:a16="http://schemas.microsoft.com/office/drawing/2014/main" id="{CEFD1EAB-6F08-3B6C-A33E-B8F1E6E00974}"/>
              </a:ext>
            </a:extLst>
          </p:cNvPr>
          <p:cNvGrpSpPr/>
          <p:nvPr/>
        </p:nvGrpSpPr>
        <p:grpSpPr>
          <a:xfrm>
            <a:off x="1593860" y="2604635"/>
            <a:ext cx="4153758" cy="1170649"/>
            <a:chOff x="2073291" y="2604635"/>
            <a:chExt cx="4153758" cy="1170649"/>
          </a:xfrm>
        </p:grpSpPr>
        <p:sp>
          <p:nvSpPr>
            <p:cNvPr id="3" name="四角形: 角を丸くする 2">
              <a:extLst>
                <a:ext uri="{FF2B5EF4-FFF2-40B4-BE49-F238E27FC236}">
                  <a16:creationId xmlns:a16="http://schemas.microsoft.com/office/drawing/2014/main" id="{B0799D7F-CE94-5579-FE88-91B87A144629}"/>
                </a:ext>
              </a:extLst>
            </p:cNvPr>
            <p:cNvSpPr/>
            <p:nvPr/>
          </p:nvSpPr>
          <p:spPr>
            <a:xfrm>
              <a:off x="2073291" y="2604635"/>
              <a:ext cx="1170649" cy="1170649"/>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4" name="テキスト ボックス 3">
              <a:extLst>
                <a:ext uri="{FF2B5EF4-FFF2-40B4-BE49-F238E27FC236}">
                  <a16:creationId xmlns:a16="http://schemas.microsoft.com/office/drawing/2014/main" id="{5DE7DDD7-E2F8-F016-DFED-7DCA666F1BC7}"/>
                </a:ext>
              </a:extLst>
            </p:cNvPr>
            <p:cNvSpPr txBox="1">
              <a:spLocks/>
            </p:cNvSpPr>
            <p:nvPr/>
          </p:nvSpPr>
          <p:spPr>
            <a:xfrm>
              <a:off x="3607070"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5" name="テキスト ボックス 4">
              <a:extLst>
                <a:ext uri="{FF2B5EF4-FFF2-40B4-BE49-F238E27FC236}">
                  <a16:creationId xmlns:a16="http://schemas.microsoft.com/office/drawing/2014/main" id="{6E4D7E78-47D7-26E8-4C15-34922F8BA5A2}"/>
                </a:ext>
              </a:extLst>
            </p:cNvPr>
            <p:cNvSpPr txBox="1">
              <a:spLocks/>
            </p:cNvSpPr>
            <p:nvPr/>
          </p:nvSpPr>
          <p:spPr>
            <a:xfrm>
              <a:off x="4554112"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ウ</a:t>
              </a:r>
              <a:endParaRPr kumimoji="1" lang="ja-JP" altLang="en-US" sz="2800" b="1" spc="300" dirty="0">
                <a:solidFill>
                  <a:schemeClr val="bg1"/>
                </a:solidFill>
                <a:latin typeface="+mn-ea"/>
              </a:endParaRPr>
            </a:p>
          </p:txBody>
        </p:sp>
        <p:sp>
          <p:nvSpPr>
            <p:cNvPr id="6" name="テキスト ボックス 5">
              <a:extLst>
                <a:ext uri="{FF2B5EF4-FFF2-40B4-BE49-F238E27FC236}">
                  <a16:creationId xmlns:a16="http://schemas.microsoft.com/office/drawing/2014/main" id="{FB400D31-6C99-241D-8179-36A176C28B5F}"/>
                </a:ext>
              </a:extLst>
            </p:cNvPr>
            <p:cNvSpPr txBox="1">
              <a:spLocks/>
            </p:cNvSpPr>
            <p:nvPr/>
          </p:nvSpPr>
          <p:spPr>
            <a:xfrm>
              <a:off x="5501154"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sp>
        <p:nvSpPr>
          <p:cNvPr id="1133" name="テキスト ボックス 1132">
            <a:extLst>
              <a:ext uri="{FF2B5EF4-FFF2-40B4-BE49-F238E27FC236}">
                <a16:creationId xmlns:a16="http://schemas.microsoft.com/office/drawing/2014/main" id="{28C1A0EE-44A5-06E5-2E44-BEDE126C2EB1}"/>
              </a:ext>
            </a:extLst>
          </p:cNvPr>
          <p:cNvSpPr txBox="1"/>
          <p:nvPr/>
        </p:nvSpPr>
        <p:spPr>
          <a:xfrm>
            <a:off x="754084" y="4659559"/>
            <a:ext cx="5845132" cy="2199448"/>
          </a:xfrm>
          <a:prstGeom prst="rect">
            <a:avLst/>
          </a:prstGeom>
          <a:noFill/>
        </p:spPr>
        <p:txBody>
          <a:bodyPr wrap="square" lIns="0" tIns="0" rIns="0" bIns="0" rtlCol="0" anchor="t">
            <a:spAutoFit/>
          </a:bodyPr>
          <a:lstStyle/>
          <a:p>
            <a:pPr algn="just">
              <a:lnSpc>
                <a:spcPct val="130000"/>
              </a:lnSpc>
              <a:spcAft>
                <a:spcPts val="1200"/>
              </a:spcAft>
            </a:pPr>
            <a:r>
              <a:rPr kumimoji="1" lang="ja-JP" altLang="en-US" sz="2800" spc="50" dirty="0">
                <a:latin typeface="+mn-ea"/>
              </a:rPr>
              <a:t>公式な情報源や信頼できるメディアからの情報を無視して、代わりに非公式な情報源に依存するのは避けるべき。</a:t>
            </a:r>
          </a:p>
        </p:txBody>
      </p:sp>
      <p:sp>
        <p:nvSpPr>
          <p:cNvPr id="1138" name="テキスト ボックス 1137">
            <a:extLst>
              <a:ext uri="{FF2B5EF4-FFF2-40B4-BE49-F238E27FC236}">
                <a16:creationId xmlns:a16="http://schemas.microsoft.com/office/drawing/2014/main" id="{FE7C55E2-CBE8-1EC2-9171-6BB8DE894381}"/>
              </a:ext>
            </a:extLst>
          </p:cNvPr>
          <p:cNvSpPr txBox="1"/>
          <p:nvPr/>
        </p:nvSpPr>
        <p:spPr>
          <a:xfrm>
            <a:off x="606258" y="9439055"/>
            <a:ext cx="6140784" cy="347596"/>
          </a:xfrm>
          <a:prstGeom prst="rect">
            <a:avLst/>
          </a:prstGeom>
          <a:noFill/>
        </p:spPr>
        <p:txBody>
          <a:bodyPr wrap="none" lIns="0" tIns="0" rIns="0" bIns="0" rtlCol="0" anchor="t">
            <a:spAutoFit/>
          </a:bodyPr>
          <a:lstStyle/>
          <a:p>
            <a:pPr marL="360000" indent="-360000">
              <a:lnSpc>
                <a:spcPct val="120000"/>
              </a:lnSpc>
              <a:spcAft>
                <a:spcPts val="1500"/>
              </a:spcAft>
              <a:buFont typeface="M PLUS 1p Medium" panose="020B0602020203020207" pitchFamily="50" charset="-128"/>
              <a:buChar char="※"/>
            </a:pPr>
            <a:r>
              <a:rPr kumimoji="1" lang="ja-JP" altLang="en-US" sz="2000" spc="50" dirty="0">
                <a:solidFill>
                  <a:schemeClr val="tx2"/>
                </a:solidFill>
                <a:latin typeface="+mn-ea"/>
              </a:rPr>
              <a:t>今回の問題の</a:t>
            </a:r>
            <a:r>
              <a:rPr kumimoji="1" lang="en-US" altLang="ja-JP" sz="2000" spc="50" dirty="0">
                <a:solidFill>
                  <a:schemeClr val="tx2"/>
                </a:solidFill>
                <a:latin typeface="+mn-ea"/>
              </a:rPr>
              <a:t>SNS</a:t>
            </a:r>
            <a:r>
              <a:rPr kumimoji="1" lang="ja-JP" altLang="en-US" sz="2000" spc="50" dirty="0">
                <a:solidFill>
                  <a:schemeClr val="tx2"/>
                </a:solidFill>
                <a:latin typeface="+mn-ea"/>
              </a:rPr>
              <a:t>文章と写真は全て生成</a:t>
            </a:r>
            <a:r>
              <a:rPr kumimoji="1" lang="en-US" altLang="ja-JP" sz="2000" spc="50" dirty="0">
                <a:solidFill>
                  <a:schemeClr val="tx2"/>
                </a:solidFill>
                <a:latin typeface="+mn-ea"/>
              </a:rPr>
              <a:t>AI</a:t>
            </a:r>
            <a:r>
              <a:rPr kumimoji="1" lang="ja-JP" altLang="en-US" sz="2000" spc="50" dirty="0">
                <a:solidFill>
                  <a:schemeClr val="tx2"/>
                </a:solidFill>
                <a:latin typeface="+mn-ea"/>
              </a:rPr>
              <a:t>で作成</a:t>
            </a:r>
          </a:p>
        </p:txBody>
      </p:sp>
      <p:sp>
        <p:nvSpPr>
          <p:cNvPr id="7" name="スライド番号プレースホルダー 6">
            <a:extLst>
              <a:ext uri="{FF2B5EF4-FFF2-40B4-BE49-F238E27FC236}">
                <a16:creationId xmlns:a16="http://schemas.microsoft.com/office/drawing/2014/main" id="{4FD6C992-83E8-A093-2C05-C1E8FB53309E}"/>
              </a:ext>
            </a:extLst>
          </p:cNvPr>
          <p:cNvSpPr>
            <a:spLocks noGrp="1"/>
          </p:cNvSpPr>
          <p:nvPr>
            <p:ph type="sldNum" sz="quarter" idx="11"/>
          </p:nvPr>
        </p:nvSpPr>
        <p:spPr>
          <a:xfrm>
            <a:off x="17695001" y="9786651"/>
            <a:ext cx="327013" cy="307777"/>
          </a:xfrm>
        </p:spPr>
        <p:txBody>
          <a:bodyPr/>
          <a:lstStyle/>
          <a:p>
            <a:r>
              <a:rPr lang="en-US" altLang="ja-JP"/>
              <a:t>44</a:t>
            </a:r>
            <a:endParaRPr lang="ja-JP" altLang="en-US" dirty="0"/>
          </a:p>
        </p:txBody>
      </p:sp>
    </p:spTree>
    <p:extLst>
      <p:ext uri="{BB962C8B-B14F-4D97-AF65-F5344CB8AC3E}">
        <p14:creationId xmlns:p14="http://schemas.microsoft.com/office/powerpoint/2010/main" val="3161473099"/>
      </p:ext>
    </p:extLst>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B7E8D6E3-5F3C-6B96-9C2B-128C12B7897C}"/>
              </a:ext>
            </a:extLst>
          </p:cNvPr>
          <p:cNvSpPr>
            <a:spLocks noGrp="1"/>
          </p:cNvSpPr>
          <p:nvPr>
            <p:ph type="sldNum" sz="quarter" idx="11"/>
          </p:nvPr>
        </p:nvSpPr>
        <p:spPr>
          <a:xfrm>
            <a:off x="17695001" y="9786651"/>
            <a:ext cx="327013" cy="307777"/>
          </a:xfrm>
        </p:spPr>
        <p:txBody>
          <a:bodyPr/>
          <a:lstStyle/>
          <a:p>
            <a:r>
              <a:rPr lang="en-US" altLang="ja-JP"/>
              <a:t>45</a:t>
            </a:r>
            <a:endParaRPr lang="ja-JP" altLang="en-US" dirty="0"/>
          </a:p>
        </p:txBody>
      </p:sp>
      <p:sp>
        <p:nvSpPr>
          <p:cNvPr id="2" name="テキスト ボックス 1">
            <a:extLst>
              <a:ext uri="{FF2B5EF4-FFF2-40B4-BE49-F238E27FC236}">
                <a16:creationId xmlns:a16="http://schemas.microsoft.com/office/drawing/2014/main" id="{538F7007-1639-3F46-732F-8AEBBCDCB457}"/>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443E60DE-F0BB-55B8-C167-F52D4CE1AFD4}"/>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3201159081"/>
      </p:ext>
    </p:extLst>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6D31B065-7894-5726-7D82-1E07460DE72A}"/>
              </a:ext>
            </a:extLst>
          </p:cNvPr>
          <p:cNvSpPr>
            <a:spLocks noGrp="1"/>
          </p:cNvSpPr>
          <p:nvPr>
            <p:ph type="title"/>
          </p:nvPr>
        </p:nvSpPr>
        <p:spPr>
          <a:xfrm>
            <a:off x="891741" y="506301"/>
            <a:ext cx="13159052" cy="492443"/>
          </a:xfrm>
        </p:spPr>
        <p:txBody>
          <a:bodyPr/>
          <a:lstStyle/>
          <a:p>
            <a:r>
              <a:rPr lang="ja-JP" altLang="en-US" dirty="0"/>
              <a:t>個人情報や機密情報を生成</a:t>
            </a:r>
            <a:r>
              <a:rPr lang="en-US" altLang="ja-JP" dirty="0"/>
              <a:t>AI</a:t>
            </a:r>
            <a:r>
              <a:rPr lang="ja-JP" altLang="en-US" dirty="0"/>
              <a:t>に入力すると、情報流出のリスクがある</a:t>
            </a:r>
          </a:p>
        </p:txBody>
      </p:sp>
      <p:sp>
        <p:nvSpPr>
          <p:cNvPr id="34" name="テキスト ボックス 33">
            <a:extLst>
              <a:ext uri="{FF2B5EF4-FFF2-40B4-BE49-F238E27FC236}">
                <a16:creationId xmlns:a16="http://schemas.microsoft.com/office/drawing/2014/main" id="{FF4097C6-EAA4-2767-D1AF-9BC04982835F}"/>
              </a:ext>
            </a:extLst>
          </p:cNvPr>
          <p:cNvSpPr txBox="1"/>
          <p:nvPr/>
        </p:nvSpPr>
        <p:spPr>
          <a:xfrm>
            <a:off x="372103" y="9617374"/>
            <a:ext cx="10294485" cy="430887"/>
          </a:xfrm>
          <a:prstGeom prst="rect">
            <a:avLst/>
          </a:prstGeom>
          <a:noFill/>
        </p:spPr>
        <p:txBody>
          <a:bodyPr wrap="none" lIns="0" tIns="0" rIns="0" bIns="0" rtlCol="0" anchor="b">
            <a:spAutoFit/>
          </a:bodyPr>
          <a:lstStyle/>
          <a:p>
            <a:pPr algn="l"/>
            <a:r>
              <a:rPr kumimoji="1" lang="en-US" altLang="ja-JP" sz="1400" spc="100" dirty="0">
                <a:solidFill>
                  <a:schemeClr val="tx2"/>
                </a:solidFill>
                <a:latin typeface="+mn-ea"/>
              </a:rPr>
              <a:t>※1</a:t>
            </a:r>
            <a:r>
              <a:rPr kumimoji="1" lang="ja-JP" altLang="en-US" sz="1400" spc="100" dirty="0">
                <a:solidFill>
                  <a:schemeClr val="tx2"/>
                </a:solidFill>
                <a:latin typeface="+mn-ea"/>
              </a:rPr>
              <a:t>：個人情報の例</a:t>
            </a:r>
            <a:r>
              <a:rPr kumimoji="1" lang="en-US" altLang="ja-JP" sz="1400" spc="100" dirty="0">
                <a:solidFill>
                  <a:schemeClr val="tx2"/>
                </a:solidFill>
                <a:latin typeface="+mn-ea"/>
              </a:rPr>
              <a:t>: </a:t>
            </a:r>
            <a:r>
              <a:rPr kumimoji="1" lang="ja-JP" altLang="en-US" sz="1400" spc="100" dirty="0">
                <a:solidFill>
                  <a:schemeClr val="tx2"/>
                </a:solidFill>
                <a:latin typeface="+mn-ea"/>
              </a:rPr>
              <a:t>氏名、電話番号、住所、メールアドレス、生年月日、公的</a:t>
            </a:r>
            <a:r>
              <a:rPr kumimoji="1" lang="en-US" altLang="ja-JP" sz="1400" spc="100" dirty="0">
                <a:solidFill>
                  <a:schemeClr val="tx2"/>
                </a:solidFill>
                <a:latin typeface="+mn-ea"/>
              </a:rPr>
              <a:t>ID</a:t>
            </a:r>
            <a:r>
              <a:rPr kumimoji="1" lang="ja-JP" altLang="en-US" sz="1400" spc="100" dirty="0">
                <a:solidFill>
                  <a:schemeClr val="tx2"/>
                </a:solidFill>
                <a:latin typeface="+mn-ea"/>
              </a:rPr>
              <a:t>番号、学校・職場の情報、顔写真など</a:t>
            </a:r>
          </a:p>
          <a:p>
            <a:pPr algn="l"/>
            <a:r>
              <a:rPr kumimoji="1" lang="en-US" altLang="ja-JP" sz="1400" spc="100" dirty="0">
                <a:solidFill>
                  <a:schemeClr val="tx2"/>
                </a:solidFill>
                <a:latin typeface="+mn-ea"/>
              </a:rPr>
              <a:t>※</a:t>
            </a:r>
            <a:r>
              <a:rPr lang="en-US" altLang="ja-JP" sz="1400" spc="100" dirty="0">
                <a:solidFill>
                  <a:schemeClr val="tx2"/>
                </a:solidFill>
                <a:latin typeface="+mn-ea"/>
              </a:rPr>
              <a:t>2</a:t>
            </a:r>
            <a:r>
              <a:rPr lang="ja-JP" altLang="en-US" sz="1400" spc="100" dirty="0">
                <a:solidFill>
                  <a:schemeClr val="tx2"/>
                </a:solidFill>
                <a:latin typeface="+mn-ea"/>
              </a:rPr>
              <a:t>：</a:t>
            </a:r>
            <a:r>
              <a:rPr kumimoji="1" lang="ja-JP" altLang="en-US" sz="1400" spc="100" dirty="0">
                <a:solidFill>
                  <a:schemeClr val="tx2"/>
                </a:solidFill>
                <a:latin typeface="+mn-ea"/>
              </a:rPr>
              <a:t>機密情報の例：経営・営業に関する情報、顧客や社員のデータ、技術情報、法的文章、業務上の秘密、議事録など</a:t>
            </a:r>
          </a:p>
        </p:txBody>
      </p:sp>
      <p:grpSp>
        <p:nvGrpSpPr>
          <p:cNvPr id="44" name="グループ化 43">
            <a:extLst>
              <a:ext uri="{FF2B5EF4-FFF2-40B4-BE49-F238E27FC236}">
                <a16:creationId xmlns:a16="http://schemas.microsoft.com/office/drawing/2014/main" id="{790E2B0E-7D15-369E-8E74-68AB591E6FA8}"/>
              </a:ext>
            </a:extLst>
          </p:cNvPr>
          <p:cNvGrpSpPr/>
          <p:nvPr/>
        </p:nvGrpSpPr>
        <p:grpSpPr>
          <a:xfrm>
            <a:off x="7272879" y="5024085"/>
            <a:ext cx="634347" cy="1127908"/>
            <a:chOff x="5559122" y="5430269"/>
            <a:chExt cx="634347" cy="1127908"/>
          </a:xfrm>
        </p:grpSpPr>
        <p:grpSp>
          <p:nvGrpSpPr>
            <p:cNvPr id="45" name="グループ化 44">
              <a:extLst>
                <a:ext uri="{FF2B5EF4-FFF2-40B4-BE49-F238E27FC236}">
                  <a16:creationId xmlns:a16="http://schemas.microsoft.com/office/drawing/2014/main" id="{84AEE505-6C22-A6AC-1F82-9AC30DAC4702}"/>
                </a:ext>
              </a:extLst>
            </p:cNvPr>
            <p:cNvGrpSpPr/>
            <p:nvPr/>
          </p:nvGrpSpPr>
          <p:grpSpPr>
            <a:xfrm rot="16200000">
              <a:off x="5312343" y="5859633"/>
              <a:ext cx="1127906" cy="269181"/>
              <a:chOff x="3223846" y="4141076"/>
              <a:chExt cx="615260" cy="231227"/>
            </a:xfrm>
          </p:grpSpPr>
          <p:cxnSp>
            <p:nvCxnSpPr>
              <p:cNvPr id="52" name="直線コネクタ 51">
                <a:extLst>
                  <a:ext uri="{FF2B5EF4-FFF2-40B4-BE49-F238E27FC236}">
                    <a16:creationId xmlns:a16="http://schemas.microsoft.com/office/drawing/2014/main" id="{B69EC172-4C4E-8BA1-F6B0-D60D6E32D383}"/>
                  </a:ext>
                </a:extLst>
              </p:cNvPr>
              <p:cNvCxnSpPr>
                <a:cxnSpLocks/>
              </p:cNvCxnSpPr>
              <p:nvPr/>
            </p:nvCxnSpPr>
            <p:spPr>
              <a:xfrm>
                <a:off x="3223846" y="4141076"/>
                <a:ext cx="307630" cy="231227"/>
              </a:xfrm>
              <a:prstGeom prst="line">
                <a:avLst/>
              </a:prstGeom>
              <a:ln w="762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53" name="直線コネクタ 52">
                <a:extLst>
                  <a:ext uri="{FF2B5EF4-FFF2-40B4-BE49-F238E27FC236}">
                    <a16:creationId xmlns:a16="http://schemas.microsoft.com/office/drawing/2014/main" id="{B4BC4141-12B9-60FC-F860-1327EB988AFE}"/>
                  </a:ext>
                </a:extLst>
              </p:cNvPr>
              <p:cNvCxnSpPr>
                <a:cxnSpLocks/>
              </p:cNvCxnSpPr>
              <p:nvPr/>
            </p:nvCxnSpPr>
            <p:spPr>
              <a:xfrm flipH="1">
                <a:off x="3531476" y="4141076"/>
                <a:ext cx="307630" cy="231227"/>
              </a:xfrm>
              <a:prstGeom prst="line">
                <a:avLst/>
              </a:prstGeom>
              <a:ln w="762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nvGrpSpPr>
            <p:cNvPr id="46" name="グループ化 45">
              <a:extLst>
                <a:ext uri="{FF2B5EF4-FFF2-40B4-BE49-F238E27FC236}">
                  <a16:creationId xmlns:a16="http://schemas.microsoft.com/office/drawing/2014/main" id="{B016C310-9775-09DA-2748-A31DEEE687A4}"/>
                </a:ext>
              </a:extLst>
            </p:cNvPr>
            <p:cNvGrpSpPr/>
            <p:nvPr/>
          </p:nvGrpSpPr>
          <p:grpSpPr>
            <a:xfrm rot="16200000">
              <a:off x="5494926" y="5859633"/>
              <a:ext cx="1127906" cy="269181"/>
              <a:chOff x="3223846" y="4141076"/>
              <a:chExt cx="615260" cy="231227"/>
            </a:xfrm>
          </p:grpSpPr>
          <p:cxnSp>
            <p:nvCxnSpPr>
              <p:cNvPr id="50" name="直線コネクタ 49">
                <a:extLst>
                  <a:ext uri="{FF2B5EF4-FFF2-40B4-BE49-F238E27FC236}">
                    <a16:creationId xmlns:a16="http://schemas.microsoft.com/office/drawing/2014/main" id="{615A329E-18A1-7F8C-0405-C31BAE6324AC}"/>
                  </a:ext>
                </a:extLst>
              </p:cNvPr>
              <p:cNvCxnSpPr>
                <a:cxnSpLocks/>
              </p:cNvCxnSpPr>
              <p:nvPr/>
            </p:nvCxnSpPr>
            <p:spPr>
              <a:xfrm>
                <a:off x="3223846" y="4141076"/>
                <a:ext cx="307630" cy="231227"/>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cxnSp>
            <p:nvCxnSpPr>
              <p:cNvPr id="51" name="直線コネクタ 50">
                <a:extLst>
                  <a:ext uri="{FF2B5EF4-FFF2-40B4-BE49-F238E27FC236}">
                    <a16:creationId xmlns:a16="http://schemas.microsoft.com/office/drawing/2014/main" id="{27965A43-7C1C-CFA1-A601-EE0A873D9895}"/>
                  </a:ext>
                </a:extLst>
              </p:cNvPr>
              <p:cNvCxnSpPr>
                <a:cxnSpLocks/>
              </p:cNvCxnSpPr>
              <p:nvPr/>
            </p:nvCxnSpPr>
            <p:spPr>
              <a:xfrm flipH="1">
                <a:off x="3531476" y="4141076"/>
                <a:ext cx="307630" cy="231227"/>
              </a:xfrm>
              <a:prstGeom prst="line">
                <a:avLst/>
              </a:prstGeom>
              <a:ln w="76200" cap="rnd">
                <a:solidFill>
                  <a:schemeClr val="accent2"/>
                </a:solidFill>
                <a:round/>
              </a:ln>
            </p:spPr>
            <p:style>
              <a:lnRef idx="1">
                <a:schemeClr val="accent1"/>
              </a:lnRef>
              <a:fillRef idx="0">
                <a:schemeClr val="accent1"/>
              </a:fillRef>
              <a:effectRef idx="0">
                <a:schemeClr val="accent1"/>
              </a:effectRef>
              <a:fontRef idx="minor">
                <a:schemeClr val="tx1"/>
              </a:fontRef>
            </p:style>
          </p:cxnSp>
        </p:grpSp>
        <p:grpSp>
          <p:nvGrpSpPr>
            <p:cNvPr id="47" name="グループ化 46">
              <a:extLst>
                <a:ext uri="{FF2B5EF4-FFF2-40B4-BE49-F238E27FC236}">
                  <a16:creationId xmlns:a16="http://schemas.microsoft.com/office/drawing/2014/main" id="{F243597C-1C67-7749-CC02-2C9B9F4478D3}"/>
                </a:ext>
              </a:extLst>
            </p:cNvPr>
            <p:cNvGrpSpPr/>
            <p:nvPr/>
          </p:nvGrpSpPr>
          <p:grpSpPr>
            <a:xfrm rot="16200000">
              <a:off x="5129760" y="5859631"/>
              <a:ext cx="1127906" cy="269181"/>
              <a:chOff x="3223846" y="4141076"/>
              <a:chExt cx="615260" cy="231227"/>
            </a:xfrm>
          </p:grpSpPr>
          <p:cxnSp>
            <p:nvCxnSpPr>
              <p:cNvPr id="48" name="直線コネクタ 47">
                <a:extLst>
                  <a:ext uri="{FF2B5EF4-FFF2-40B4-BE49-F238E27FC236}">
                    <a16:creationId xmlns:a16="http://schemas.microsoft.com/office/drawing/2014/main" id="{DCE19BC4-799B-A1CD-7D45-A39A569C32BB}"/>
                  </a:ext>
                </a:extLst>
              </p:cNvPr>
              <p:cNvCxnSpPr>
                <a:cxnSpLocks/>
              </p:cNvCxnSpPr>
              <p:nvPr/>
            </p:nvCxnSpPr>
            <p:spPr>
              <a:xfrm>
                <a:off x="3223846" y="4141076"/>
                <a:ext cx="307630" cy="231227"/>
              </a:xfrm>
              <a:prstGeom prst="line">
                <a:avLst/>
              </a:prstGeom>
              <a:ln w="762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49" name="直線コネクタ 48">
                <a:extLst>
                  <a:ext uri="{FF2B5EF4-FFF2-40B4-BE49-F238E27FC236}">
                    <a16:creationId xmlns:a16="http://schemas.microsoft.com/office/drawing/2014/main" id="{F6121BAA-FE99-1F1E-6917-2285DCAF84B2}"/>
                  </a:ext>
                </a:extLst>
              </p:cNvPr>
              <p:cNvCxnSpPr>
                <a:cxnSpLocks/>
              </p:cNvCxnSpPr>
              <p:nvPr/>
            </p:nvCxnSpPr>
            <p:spPr>
              <a:xfrm flipH="1">
                <a:off x="3531476" y="4141076"/>
                <a:ext cx="307630" cy="231227"/>
              </a:xfrm>
              <a:prstGeom prst="line">
                <a:avLst/>
              </a:prstGeom>
              <a:ln w="762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sp>
        <p:nvSpPr>
          <p:cNvPr id="3" name="スライド番号プレースホルダー 2">
            <a:extLst>
              <a:ext uri="{FF2B5EF4-FFF2-40B4-BE49-F238E27FC236}">
                <a16:creationId xmlns:a16="http://schemas.microsoft.com/office/drawing/2014/main" id="{469A6739-CC7C-2C2C-B74C-4F3990D916FE}"/>
              </a:ext>
            </a:extLst>
          </p:cNvPr>
          <p:cNvSpPr>
            <a:spLocks noGrp="1"/>
          </p:cNvSpPr>
          <p:nvPr>
            <p:ph type="sldNum" sz="quarter" idx="11"/>
          </p:nvPr>
        </p:nvSpPr>
        <p:spPr>
          <a:xfrm>
            <a:off x="17695001" y="9786651"/>
            <a:ext cx="327013" cy="307777"/>
          </a:xfrm>
        </p:spPr>
        <p:txBody>
          <a:bodyPr/>
          <a:lstStyle/>
          <a:p>
            <a:r>
              <a:rPr lang="en-US" altLang="ja-JP"/>
              <a:t>46</a:t>
            </a:r>
            <a:endParaRPr lang="ja-JP" altLang="en-US" dirty="0"/>
          </a:p>
        </p:txBody>
      </p:sp>
      <p:grpSp>
        <p:nvGrpSpPr>
          <p:cNvPr id="7" name="グループ化 6">
            <a:extLst>
              <a:ext uri="{FF2B5EF4-FFF2-40B4-BE49-F238E27FC236}">
                <a16:creationId xmlns:a16="http://schemas.microsoft.com/office/drawing/2014/main" id="{15F29EB9-4B0E-3BCF-D2BD-39A0291F759D}"/>
              </a:ext>
            </a:extLst>
          </p:cNvPr>
          <p:cNvGrpSpPr/>
          <p:nvPr/>
        </p:nvGrpSpPr>
        <p:grpSpPr>
          <a:xfrm>
            <a:off x="891741" y="1459280"/>
            <a:ext cx="6045252" cy="7737273"/>
            <a:chOff x="891741" y="1459280"/>
            <a:chExt cx="6045252" cy="7737273"/>
          </a:xfrm>
        </p:grpSpPr>
        <p:sp>
          <p:nvSpPr>
            <p:cNvPr id="54" name="四角形: 角を丸くする 53">
              <a:extLst>
                <a:ext uri="{FF2B5EF4-FFF2-40B4-BE49-F238E27FC236}">
                  <a16:creationId xmlns:a16="http://schemas.microsoft.com/office/drawing/2014/main" id="{E4C7C28F-04D5-538F-8456-B244AB8C0DF3}"/>
                </a:ext>
              </a:extLst>
            </p:cNvPr>
            <p:cNvSpPr/>
            <p:nvPr/>
          </p:nvSpPr>
          <p:spPr>
            <a:xfrm>
              <a:off x="891741" y="1979525"/>
              <a:ext cx="6045252" cy="721702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3C0D7FB0-FDBC-8E0C-A061-717B0377E49E}"/>
                </a:ext>
              </a:extLst>
            </p:cNvPr>
            <p:cNvSpPr txBox="1"/>
            <p:nvPr/>
          </p:nvSpPr>
          <p:spPr>
            <a:xfrm>
              <a:off x="1317502" y="2644012"/>
              <a:ext cx="5193731" cy="2476704"/>
            </a:xfrm>
            <a:prstGeom prst="rect">
              <a:avLst/>
            </a:prstGeom>
            <a:noFill/>
          </p:spPr>
          <p:txBody>
            <a:bodyPr wrap="none" lIns="0" tIns="0" rIns="0" bIns="0" rtlCol="0" anchor="t">
              <a:spAutoFit/>
            </a:bodyPr>
            <a:lstStyle/>
            <a:p>
              <a:pPr algn="ctr">
                <a:lnSpc>
                  <a:spcPct val="120000"/>
                </a:lnSpc>
                <a:spcAft>
                  <a:spcPts val="1500"/>
                </a:spcAft>
              </a:pPr>
              <a:r>
                <a:rPr kumimoji="1" lang="ja-JP" altLang="en-US" sz="3200" spc="50" dirty="0">
                  <a:latin typeface="+mj-ea"/>
                  <a:ea typeface="+mj-ea"/>
                </a:rPr>
                <a:t>生成</a:t>
              </a:r>
              <a:r>
                <a:rPr kumimoji="1" lang="en-US" altLang="ja-JP" sz="3200" spc="50" dirty="0">
                  <a:latin typeface="+mj-ea"/>
                  <a:ea typeface="+mj-ea"/>
                </a:rPr>
                <a:t>AI</a:t>
              </a:r>
              <a:r>
                <a:rPr kumimoji="1" lang="ja-JP" altLang="en-US" sz="3200" spc="50" dirty="0">
                  <a:latin typeface="+mj-ea"/>
                  <a:ea typeface="+mj-ea"/>
                </a:rPr>
                <a:t>は、</a:t>
              </a:r>
              <a:br>
                <a:rPr kumimoji="1" lang="ja-JP" altLang="en-US" sz="3200" spc="50" dirty="0">
                  <a:latin typeface="+mj-ea"/>
                  <a:ea typeface="+mj-ea"/>
                </a:rPr>
              </a:br>
              <a:r>
                <a:rPr kumimoji="1" lang="ja-JP" altLang="en-US" sz="3200" spc="50" dirty="0">
                  <a:latin typeface="+mj-ea"/>
                  <a:ea typeface="+mj-ea"/>
                </a:rPr>
                <a:t>利用者が⼊⼒したデータを</a:t>
              </a:r>
              <a:br>
                <a:rPr kumimoji="1" lang="ja-JP" altLang="en-US" sz="3200" spc="50" dirty="0">
                  <a:latin typeface="+mj-ea"/>
                  <a:ea typeface="+mj-ea"/>
                </a:rPr>
              </a:br>
              <a:r>
                <a:rPr kumimoji="1" lang="ja-JP" altLang="en-US" sz="4000" spc="50" dirty="0">
                  <a:solidFill>
                    <a:schemeClr val="accent3"/>
                  </a:solidFill>
                  <a:latin typeface="+mj-ea"/>
                  <a:ea typeface="+mj-ea"/>
                </a:rPr>
                <a:t>学習データ</a:t>
              </a:r>
              <a:r>
                <a:rPr kumimoji="1" lang="ja-JP" altLang="en-US" sz="3200" spc="50" dirty="0">
                  <a:solidFill>
                    <a:schemeClr val="accent3"/>
                  </a:solidFill>
                  <a:latin typeface="+mj-ea"/>
                  <a:ea typeface="+mj-ea"/>
                </a:rPr>
                <a:t>として</a:t>
              </a:r>
              <a:r>
                <a:rPr kumimoji="1" lang="ja-JP" altLang="en-US" sz="4000" spc="50" dirty="0">
                  <a:solidFill>
                    <a:schemeClr val="accent3"/>
                  </a:solidFill>
                  <a:latin typeface="+mj-ea"/>
                  <a:ea typeface="+mj-ea"/>
                </a:rPr>
                <a:t>利⽤</a:t>
              </a:r>
              <a:br>
                <a:rPr lang="en-US" altLang="ja-JP" sz="4000" spc="50" dirty="0">
                  <a:solidFill>
                    <a:schemeClr val="accent3"/>
                  </a:solidFill>
                  <a:latin typeface="+mj-ea"/>
                  <a:ea typeface="+mj-ea"/>
                </a:rPr>
              </a:br>
              <a:r>
                <a:rPr kumimoji="1" lang="ja-JP" altLang="en-US" sz="3200" spc="50" dirty="0">
                  <a:latin typeface="+mj-ea"/>
                  <a:ea typeface="+mj-ea"/>
                </a:rPr>
                <a:t>することがある</a:t>
              </a:r>
              <a:endParaRPr kumimoji="1" lang="ja-JP" altLang="en-US" sz="3600" spc="50" dirty="0">
                <a:latin typeface="+mj-ea"/>
                <a:ea typeface="+mj-ea"/>
              </a:endParaRPr>
            </a:p>
          </p:txBody>
        </p:sp>
        <p:grpSp>
          <p:nvGrpSpPr>
            <p:cNvPr id="64" name="グループ化 63">
              <a:extLst>
                <a:ext uri="{FF2B5EF4-FFF2-40B4-BE49-F238E27FC236}">
                  <a16:creationId xmlns:a16="http://schemas.microsoft.com/office/drawing/2014/main" id="{2F21AA4F-50D3-968D-E515-0482CB6528B2}"/>
                </a:ext>
              </a:extLst>
            </p:cNvPr>
            <p:cNvGrpSpPr/>
            <p:nvPr/>
          </p:nvGrpSpPr>
          <p:grpSpPr>
            <a:xfrm>
              <a:off x="3373822" y="1459280"/>
              <a:ext cx="996864" cy="875999"/>
              <a:chOff x="4282695" y="1404831"/>
              <a:chExt cx="1091304" cy="958988"/>
            </a:xfrm>
          </p:grpSpPr>
          <p:sp>
            <p:nvSpPr>
              <p:cNvPr id="63" name="グラフィックス 60">
                <a:extLst>
                  <a:ext uri="{FF2B5EF4-FFF2-40B4-BE49-F238E27FC236}">
                    <a16:creationId xmlns:a16="http://schemas.microsoft.com/office/drawing/2014/main" id="{16A78A1C-9165-1EFC-B84A-E9A8AF2EE313}"/>
                  </a:ext>
                </a:extLst>
              </p:cNvPr>
              <p:cNvSpPr/>
              <p:nvPr/>
            </p:nvSpPr>
            <p:spPr>
              <a:xfrm>
                <a:off x="4282695" y="1404831"/>
                <a:ext cx="1091304" cy="958988"/>
              </a:xfrm>
              <a:custGeom>
                <a:avLst/>
                <a:gdLst>
                  <a:gd name="connsiteX0" fmla="*/ 590537 w 1091304"/>
                  <a:gd name="connsiteY0" fmla="*/ 25927 h 958988"/>
                  <a:gd name="connsiteX1" fmla="*/ 1084349 w 1091304"/>
                  <a:gd name="connsiteY1" fmla="*/ 881234 h 958988"/>
                  <a:gd name="connsiteX2" fmla="*/ 1065377 w 1091304"/>
                  <a:gd name="connsiteY2" fmla="*/ 952043 h 958988"/>
                  <a:gd name="connsiteX3" fmla="*/ 1039458 w 1091304"/>
                  <a:gd name="connsiteY3" fmla="*/ 958989 h 958988"/>
                  <a:gd name="connsiteX4" fmla="*/ 51837 w 1091304"/>
                  <a:gd name="connsiteY4" fmla="*/ 958989 h 958988"/>
                  <a:gd name="connsiteX5" fmla="*/ 0 w 1091304"/>
                  <a:gd name="connsiteY5" fmla="*/ 907152 h 958988"/>
                  <a:gd name="connsiteX6" fmla="*/ 6945 w 1091304"/>
                  <a:gd name="connsiteY6" fmla="*/ 881234 h 958988"/>
                  <a:gd name="connsiteX7" fmla="*/ 500756 w 1091304"/>
                  <a:gd name="connsiteY7" fmla="*/ 25927 h 958988"/>
                  <a:gd name="connsiteX8" fmla="*/ 571565 w 1091304"/>
                  <a:gd name="connsiteY8" fmla="*/ 6953 h 958988"/>
                  <a:gd name="connsiteX9" fmla="*/ 590537 w 1091304"/>
                  <a:gd name="connsiteY9" fmla="*/ 25927 h 9589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1304" h="958988">
                    <a:moveTo>
                      <a:pt x="590537" y="25927"/>
                    </a:moveTo>
                    <a:lnTo>
                      <a:pt x="1084349" y="881234"/>
                    </a:lnTo>
                    <a:cubicBezTo>
                      <a:pt x="1098666" y="906027"/>
                      <a:pt x="1090170" y="937731"/>
                      <a:pt x="1065377" y="952043"/>
                    </a:cubicBezTo>
                    <a:cubicBezTo>
                      <a:pt x="1057498" y="956594"/>
                      <a:pt x="1048556" y="958989"/>
                      <a:pt x="1039458" y="958989"/>
                    </a:cubicBezTo>
                    <a:lnTo>
                      <a:pt x="51837" y="958989"/>
                    </a:lnTo>
                    <a:cubicBezTo>
                      <a:pt x="23208" y="958989"/>
                      <a:pt x="0" y="935781"/>
                      <a:pt x="0" y="907152"/>
                    </a:cubicBezTo>
                    <a:cubicBezTo>
                      <a:pt x="0" y="898050"/>
                      <a:pt x="2395" y="889113"/>
                      <a:pt x="6945" y="881234"/>
                    </a:cubicBezTo>
                    <a:lnTo>
                      <a:pt x="500756" y="25927"/>
                    </a:lnTo>
                    <a:cubicBezTo>
                      <a:pt x="515068" y="1134"/>
                      <a:pt x="546772" y="-7361"/>
                      <a:pt x="571565" y="6953"/>
                    </a:cubicBezTo>
                    <a:cubicBezTo>
                      <a:pt x="579444" y="11503"/>
                      <a:pt x="585991" y="18047"/>
                      <a:pt x="590537" y="25927"/>
                    </a:cubicBezTo>
                    <a:close/>
                  </a:path>
                </a:pathLst>
              </a:custGeom>
              <a:solidFill>
                <a:schemeClr val="accent5"/>
              </a:solidFill>
              <a:ln w="51594" cap="flat">
                <a:solidFill>
                  <a:schemeClr val="tx1"/>
                </a:solidFill>
                <a:prstDash val="solid"/>
                <a:miter/>
              </a:ln>
            </p:spPr>
            <p:txBody>
              <a:bodyPr rtlCol="0" anchor="ctr"/>
              <a:lstStyle/>
              <a:p>
                <a:endParaRPr lang="ja-JP" altLang="en-US"/>
              </a:p>
            </p:txBody>
          </p:sp>
          <p:sp>
            <p:nvSpPr>
              <p:cNvPr id="62" name="テキスト ボックス 61">
                <a:extLst>
                  <a:ext uri="{FF2B5EF4-FFF2-40B4-BE49-F238E27FC236}">
                    <a16:creationId xmlns:a16="http://schemas.microsoft.com/office/drawing/2014/main" id="{A1239893-96D9-FB61-946F-43D9226F0A68}"/>
                  </a:ext>
                </a:extLst>
              </p:cNvPr>
              <p:cNvSpPr txBox="1">
                <a:spLocks noChangeAspect="1"/>
              </p:cNvSpPr>
              <p:nvPr/>
            </p:nvSpPr>
            <p:spPr>
              <a:xfrm>
                <a:off x="4766444" y="1712545"/>
                <a:ext cx="123806" cy="540000"/>
              </a:xfrm>
              <a:custGeom>
                <a:avLst/>
                <a:gdLst>
                  <a:gd name="connsiteX0" fmla="*/ 65327 w 130654"/>
                  <a:gd name="connsiteY0" fmla="*/ 439217 h 569871"/>
                  <a:gd name="connsiteX1" fmla="*/ 111807 w 130654"/>
                  <a:gd name="connsiteY1" fmla="*/ 458062 h 569871"/>
                  <a:gd name="connsiteX2" fmla="*/ 130654 w 130654"/>
                  <a:gd name="connsiteY2" fmla="*/ 504544 h 569871"/>
                  <a:gd name="connsiteX3" fmla="*/ 111807 w 130654"/>
                  <a:gd name="connsiteY3" fmla="*/ 551027 h 569871"/>
                  <a:gd name="connsiteX4" fmla="*/ 65327 w 130654"/>
                  <a:gd name="connsiteY4" fmla="*/ 569871 h 569871"/>
                  <a:gd name="connsiteX5" fmla="*/ 18847 w 130654"/>
                  <a:gd name="connsiteY5" fmla="*/ 551027 h 569871"/>
                  <a:gd name="connsiteX6" fmla="*/ 0 w 130654"/>
                  <a:gd name="connsiteY6" fmla="*/ 504544 h 569871"/>
                  <a:gd name="connsiteX7" fmla="*/ 18847 w 130654"/>
                  <a:gd name="connsiteY7" fmla="*/ 458062 h 569871"/>
                  <a:gd name="connsiteX8" fmla="*/ 65327 w 130654"/>
                  <a:gd name="connsiteY8" fmla="*/ 439217 h 569871"/>
                  <a:gd name="connsiteX9" fmla="*/ 13411 w 130654"/>
                  <a:gd name="connsiteY9" fmla="*/ 0 h 569871"/>
                  <a:gd name="connsiteX10" fmla="*/ 117243 w 130654"/>
                  <a:gd name="connsiteY10" fmla="*/ 0 h 569871"/>
                  <a:gd name="connsiteX11" fmla="*/ 117243 w 130654"/>
                  <a:gd name="connsiteY11" fmla="*/ 388925 h 569871"/>
                  <a:gd name="connsiteX12" fmla="*/ 13411 w 130654"/>
                  <a:gd name="connsiteY12" fmla="*/ 388925 h 56987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30654" h="569871">
                    <a:moveTo>
                      <a:pt x="65327" y="439217"/>
                    </a:moveTo>
                    <a:cubicBezTo>
                      <a:pt x="84168" y="439636"/>
                      <a:pt x="99662" y="445917"/>
                      <a:pt x="111807" y="458062"/>
                    </a:cubicBezTo>
                    <a:cubicBezTo>
                      <a:pt x="123953" y="470206"/>
                      <a:pt x="130235" y="485700"/>
                      <a:pt x="130654" y="504544"/>
                    </a:cubicBezTo>
                    <a:cubicBezTo>
                      <a:pt x="130235" y="523389"/>
                      <a:pt x="123953" y="538883"/>
                      <a:pt x="111807" y="551027"/>
                    </a:cubicBezTo>
                    <a:cubicBezTo>
                      <a:pt x="99662" y="563171"/>
                      <a:pt x="84168" y="569453"/>
                      <a:pt x="65327" y="569871"/>
                    </a:cubicBezTo>
                    <a:cubicBezTo>
                      <a:pt x="46486" y="569453"/>
                      <a:pt x="30993" y="563171"/>
                      <a:pt x="18847" y="551027"/>
                    </a:cubicBezTo>
                    <a:cubicBezTo>
                      <a:pt x="6702" y="538883"/>
                      <a:pt x="419" y="523389"/>
                      <a:pt x="0" y="504544"/>
                    </a:cubicBezTo>
                    <a:cubicBezTo>
                      <a:pt x="419" y="485700"/>
                      <a:pt x="6702" y="470206"/>
                      <a:pt x="18847" y="458062"/>
                    </a:cubicBezTo>
                    <a:cubicBezTo>
                      <a:pt x="30993" y="445917"/>
                      <a:pt x="46486" y="439636"/>
                      <a:pt x="65327" y="439217"/>
                    </a:cubicBezTo>
                    <a:close/>
                    <a:moveTo>
                      <a:pt x="13411" y="0"/>
                    </a:moveTo>
                    <a:lnTo>
                      <a:pt x="117243" y="0"/>
                    </a:lnTo>
                    <a:lnTo>
                      <a:pt x="117243" y="388925"/>
                    </a:lnTo>
                    <a:lnTo>
                      <a:pt x="13411" y="388925"/>
                    </a:lnTo>
                    <a:close/>
                  </a:path>
                </a:pathLst>
              </a:custGeom>
              <a:solidFill>
                <a:schemeClr val="tx1"/>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pPr algn="ctr"/>
                <a:endParaRPr kumimoji="1" lang="ja-JP" altLang="en-US" sz="6600" spc="100" dirty="0">
                  <a:latin typeface="M PLUS 1p Medium" panose="020B0602020203020207" pitchFamily="50" charset="-128"/>
                </a:endParaRPr>
              </a:p>
            </p:txBody>
          </p:sp>
        </p:grpSp>
        <p:pic>
          <p:nvPicPr>
            <p:cNvPr id="6" name="図 5">
              <a:extLst>
                <a:ext uri="{FF2B5EF4-FFF2-40B4-BE49-F238E27FC236}">
                  <a16:creationId xmlns:a16="http://schemas.microsoft.com/office/drawing/2014/main" id="{85FE413E-AC50-4969-CA2A-8A2AC613DAF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389174" y="5359662"/>
              <a:ext cx="3050386" cy="3482089"/>
            </a:xfrm>
            <a:prstGeom prst="rect">
              <a:avLst/>
            </a:prstGeom>
          </p:spPr>
        </p:pic>
      </p:grpSp>
      <p:grpSp>
        <p:nvGrpSpPr>
          <p:cNvPr id="8" name="グループ化 7">
            <a:extLst>
              <a:ext uri="{FF2B5EF4-FFF2-40B4-BE49-F238E27FC236}">
                <a16:creationId xmlns:a16="http://schemas.microsoft.com/office/drawing/2014/main" id="{8C3FC59A-E945-BB62-E97B-5FFF5CD8E8BE}"/>
              </a:ext>
            </a:extLst>
          </p:cNvPr>
          <p:cNvGrpSpPr/>
          <p:nvPr/>
        </p:nvGrpSpPr>
        <p:grpSpPr>
          <a:xfrm>
            <a:off x="8243112" y="1979525"/>
            <a:ext cx="9246102" cy="3235555"/>
            <a:chOff x="8243112" y="1979525"/>
            <a:chExt cx="9246102" cy="3235555"/>
          </a:xfrm>
        </p:grpSpPr>
        <p:sp>
          <p:nvSpPr>
            <p:cNvPr id="18" name="四角形: 上の 2 つの角を丸める 17">
              <a:extLst>
                <a:ext uri="{FF2B5EF4-FFF2-40B4-BE49-F238E27FC236}">
                  <a16:creationId xmlns:a16="http://schemas.microsoft.com/office/drawing/2014/main" id="{B92E0629-BB91-A035-2643-C6651330C681}"/>
                </a:ext>
              </a:extLst>
            </p:cNvPr>
            <p:cNvSpPr/>
            <p:nvPr/>
          </p:nvSpPr>
          <p:spPr>
            <a:xfrm>
              <a:off x="8243112" y="1979525"/>
              <a:ext cx="2069931" cy="512541"/>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ctr" anchorCtr="1">
              <a:noAutofit/>
            </a:bodyPr>
            <a:lstStyle/>
            <a:p>
              <a:pPr algn="ctr"/>
              <a:r>
                <a:rPr lang="ja-JP" altLang="en-US" sz="2400" dirty="0">
                  <a:solidFill>
                    <a:schemeClr val="bg1"/>
                  </a:solidFill>
                  <a:latin typeface="+mj-ea"/>
                  <a:ea typeface="+mj-ea"/>
                </a:rPr>
                <a:t>リスク １</a:t>
              </a:r>
              <a:endParaRPr kumimoji="1" lang="ja-JP" altLang="en-US" sz="2400" dirty="0">
                <a:solidFill>
                  <a:schemeClr val="bg1"/>
                </a:solidFill>
                <a:latin typeface="+mj-ea"/>
                <a:ea typeface="+mj-ea"/>
              </a:endParaRPr>
            </a:p>
          </p:txBody>
        </p:sp>
        <p:sp>
          <p:nvSpPr>
            <p:cNvPr id="19" name="四角形: 上の 2 つの角を丸める 18">
              <a:extLst>
                <a:ext uri="{FF2B5EF4-FFF2-40B4-BE49-F238E27FC236}">
                  <a16:creationId xmlns:a16="http://schemas.microsoft.com/office/drawing/2014/main" id="{E3A0DD98-5366-6647-2B59-CBBA56BDBDB7}"/>
                </a:ext>
              </a:extLst>
            </p:cNvPr>
            <p:cNvSpPr/>
            <p:nvPr/>
          </p:nvSpPr>
          <p:spPr>
            <a:xfrm>
              <a:off x="8243114" y="2501067"/>
              <a:ext cx="9246100" cy="2714013"/>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2520000" tIns="324000" rIns="216000" bIns="324000" rtlCol="0" anchor="ctr" anchorCtr="0">
              <a:noAutofit/>
            </a:bodyPr>
            <a:lstStyle/>
            <a:p>
              <a:pPr>
                <a:lnSpc>
                  <a:spcPct val="120000"/>
                </a:lnSpc>
                <a:spcAft>
                  <a:spcPts val="1000"/>
                </a:spcAft>
                <a:buClr>
                  <a:schemeClr val="accent3"/>
                </a:buClr>
              </a:pPr>
              <a:r>
                <a:rPr kumimoji="1" lang="ja-JP" altLang="en-US" sz="2800" spc="100" dirty="0">
                  <a:solidFill>
                    <a:schemeClr val="tx1"/>
                  </a:solidFill>
                  <a:latin typeface="+mn-ea"/>
                </a:rPr>
                <a:t>個人情報</a:t>
              </a:r>
              <a:r>
                <a:rPr lang="en-US" altLang="ja-JP" sz="2800" spc="100" baseline="30000" dirty="0">
                  <a:solidFill>
                    <a:schemeClr val="tx1"/>
                  </a:solidFill>
                  <a:latin typeface="+mn-ea"/>
                </a:rPr>
                <a:t> </a:t>
              </a:r>
              <a:r>
                <a:rPr kumimoji="1" lang="en-US" altLang="ja-JP" sz="2800" spc="100" baseline="30000" dirty="0">
                  <a:solidFill>
                    <a:schemeClr val="tx1"/>
                  </a:solidFill>
                  <a:latin typeface="+mn-ea"/>
                </a:rPr>
                <a:t>※</a:t>
              </a:r>
              <a:r>
                <a:rPr lang="en-US" altLang="ja-JP" sz="2800" spc="100" baseline="30000" dirty="0">
                  <a:solidFill>
                    <a:schemeClr val="tx1"/>
                  </a:solidFill>
                  <a:latin typeface="+mn-ea"/>
                </a:rPr>
                <a:t>1 </a:t>
              </a:r>
              <a:r>
                <a:rPr kumimoji="1" lang="ja-JP" altLang="en-US" sz="2800" spc="100" dirty="0">
                  <a:solidFill>
                    <a:schemeClr val="tx1"/>
                  </a:solidFill>
                  <a:latin typeface="+mn-ea"/>
                </a:rPr>
                <a:t>や社外秘の機密情報 </a:t>
              </a:r>
              <a:r>
                <a:rPr kumimoji="1" lang="en-US" altLang="ja-JP" sz="2800" spc="100" baseline="30000" dirty="0">
                  <a:solidFill>
                    <a:schemeClr val="tx1"/>
                  </a:solidFill>
                  <a:latin typeface="+mn-ea"/>
                </a:rPr>
                <a:t>※2</a:t>
              </a:r>
              <a:br>
                <a:rPr kumimoji="1" lang="en-US" altLang="ja-JP" sz="2800" spc="100" baseline="30000" dirty="0">
                  <a:solidFill>
                    <a:schemeClr val="tx1"/>
                  </a:solidFill>
                  <a:latin typeface="+mn-ea"/>
                </a:rPr>
              </a:br>
              <a:r>
                <a:rPr kumimoji="1" lang="ja-JP" altLang="en-US" sz="2800" spc="100" dirty="0">
                  <a:solidFill>
                    <a:schemeClr val="tx1"/>
                  </a:solidFill>
                  <a:latin typeface="+mn-ea"/>
                </a:rPr>
                <a:t>を入力すると、他⼈の質問への回答に</a:t>
              </a:r>
              <a:br>
                <a:rPr kumimoji="1" lang="en-US" altLang="ja-JP" sz="2800" spc="100" dirty="0">
                  <a:solidFill>
                    <a:schemeClr val="tx1"/>
                  </a:solidFill>
                  <a:latin typeface="+mn-ea"/>
                </a:rPr>
              </a:br>
              <a:r>
                <a:rPr kumimoji="1" lang="ja-JP" altLang="en-US" sz="2800" spc="100" dirty="0">
                  <a:solidFill>
                    <a:schemeClr val="tx1"/>
                  </a:solidFill>
                  <a:latin typeface="+mn-ea"/>
                </a:rPr>
                <a:t>使われ、情報が漏洩する可能性がある</a:t>
              </a:r>
            </a:p>
          </p:txBody>
        </p:sp>
        <p:pic>
          <p:nvPicPr>
            <p:cNvPr id="5" name="図 4">
              <a:extLst>
                <a:ext uri="{FF2B5EF4-FFF2-40B4-BE49-F238E27FC236}">
                  <a16:creationId xmlns:a16="http://schemas.microsoft.com/office/drawing/2014/main" id="{A132F4CD-2518-8A31-D10C-BD086177025B}"/>
                </a:ext>
              </a:extLst>
            </p:cNvPr>
            <p:cNvPicPr>
              <a:picLocks noChangeAspect="1"/>
            </p:cNvPicPr>
            <p:nvPr/>
          </p:nvPicPr>
          <p:blipFill>
            <a:blip r:embed="rId4"/>
            <a:stretch>
              <a:fillRect/>
            </a:stretch>
          </p:blipFill>
          <p:spPr>
            <a:xfrm>
              <a:off x="8661433" y="3094296"/>
              <a:ext cx="1725318" cy="1554615"/>
            </a:xfrm>
            <a:prstGeom prst="rect">
              <a:avLst/>
            </a:prstGeom>
          </p:spPr>
        </p:pic>
      </p:grpSp>
      <p:grpSp>
        <p:nvGrpSpPr>
          <p:cNvPr id="12" name="グループ化 11">
            <a:extLst>
              <a:ext uri="{FF2B5EF4-FFF2-40B4-BE49-F238E27FC236}">
                <a16:creationId xmlns:a16="http://schemas.microsoft.com/office/drawing/2014/main" id="{486850A3-752C-1A62-0847-BB29C7161572}"/>
              </a:ext>
            </a:extLst>
          </p:cNvPr>
          <p:cNvGrpSpPr/>
          <p:nvPr/>
        </p:nvGrpSpPr>
        <p:grpSpPr>
          <a:xfrm>
            <a:off x="8243112" y="5960998"/>
            <a:ext cx="9246102" cy="3235555"/>
            <a:chOff x="8243112" y="5960998"/>
            <a:chExt cx="9246102" cy="3235555"/>
          </a:xfrm>
        </p:grpSpPr>
        <p:sp>
          <p:nvSpPr>
            <p:cNvPr id="21" name="四角形: 上の 2 つの角を丸める 20">
              <a:extLst>
                <a:ext uri="{FF2B5EF4-FFF2-40B4-BE49-F238E27FC236}">
                  <a16:creationId xmlns:a16="http://schemas.microsoft.com/office/drawing/2014/main" id="{D5F2C4B8-22C6-63B0-8DCB-2EF8640F2E0B}"/>
                </a:ext>
              </a:extLst>
            </p:cNvPr>
            <p:cNvSpPr/>
            <p:nvPr/>
          </p:nvSpPr>
          <p:spPr>
            <a:xfrm>
              <a:off x="8243112" y="5960998"/>
              <a:ext cx="2069931" cy="512541"/>
            </a:xfrm>
            <a:prstGeom prst="round2SameRect">
              <a:avLst>
                <a:gd name="adj1" fmla="val 22191"/>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ctr" anchorCtr="1">
              <a:noAutofit/>
            </a:bodyPr>
            <a:lstStyle/>
            <a:p>
              <a:pPr algn="ctr"/>
              <a:r>
                <a:rPr lang="ja-JP" altLang="en-US" sz="2400" dirty="0">
                  <a:solidFill>
                    <a:schemeClr val="bg1"/>
                  </a:solidFill>
                  <a:latin typeface="+mj-ea"/>
                  <a:ea typeface="+mj-ea"/>
                </a:rPr>
                <a:t>リスク ２</a:t>
              </a:r>
              <a:endParaRPr kumimoji="1" lang="ja-JP" altLang="en-US" sz="2400" dirty="0">
                <a:solidFill>
                  <a:schemeClr val="bg1"/>
                </a:solidFill>
                <a:latin typeface="+mj-ea"/>
                <a:ea typeface="+mj-ea"/>
              </a:endParaRPr>
            </a:p>
          </p:txBody>
        </p:sp>
        <p:sp>
          <p:nvSpPr>
            <p:cNvPr id="22" name="四角形: 上の 2 つの角を丸める 21">
              <a:extLst>
                <a:ext uri="{FF2B5EF4-FFF2-40B4-BE49-F238E27FC236}">
                  <a16:creationId xmlns:a16="http://schemas.microsoft.com/office/drawing/2014/main" id="{73C09C38-E0F8-56B1-8335-339D2D5A0176}"/>
                </a:ext>
              </a:extLst>
            </p:cNvPr>
            <p:cNvSpPr/>
            <p:nvPr/>
          </p:nvSpPr>
          <p:spPr>
            <a:xfrm>
              <a:off x="8243114" y="6482540"/>
              <a:ext cx="9246100" cy="2714013"/>
            </a:xfrm>
            <a:prstGeom prst="round2SameRect">
              <a:avLst>
                <a:gd name="adj1" fmla="val 0"/>
                <a:gd name="adj2" fmla="val 5099"/>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2520000" tIns="324000" rIns="216000" bIns="324000" rtlCol="0" anchor="ctr" anchorCtr="0">
              <a:noAutofit/>
            </a:bodyPr>
            <a:lstStyle/>
            <a:p>
              <a:pPr>
                <a:lnSpc>
                  <a:spcPct val="120000"/>
                </a:lnSpc>
                <a:spcAft>
                  <a:spcPts val="1000"/>
                </a:spcAft>
                <a:buClr>
                  <a:schemeClr val="accent3"/>
                </a:buClr>
              </a:pPr>
              <a:r>
                <a:rPr kumimoji="1" lang="ja-JP" altLang="en-US" sz="2800" spc="100" dirty="0">
                  <a:solidFill>
                    <a:schemeClr val="tx1"/>
                  </a:solidFill>
                  <a:latin typeface="+mn-ea"/>
                </a:rPr>
                <a:t>漏洩した情報がサイバー犯罪などに</a:t>
              </a:r>
              <a:br>
                <a:rPr kumimoji="1" lang="en-US" altLang="ja-JP" sz="2800" spc="100" dirty="0">
                  <a:solidFill>
                    <a:schemeClr val="tx1"/>
                  </a:solidFill>
                  <a:latin typeface="+mn-ea"/>
                </a:rPr>
              </a:br>
              <a:r>
                <a:rPr kumimoji="1" lang="ja-JP" altLang="en-US" sz="2800" spc="100" dirty="0">
                  <a:solidFill>
                    <a:schemeClr val="tx1"/>
                  </a:solidFill>
                  <a:latin typeface="+mn-ea"/>
                </a:rPr>
                <a:t>悪⽤される恐れがある</a:t>
              </a:r>
            </a:p>
          </p:txBody>
        </p:sp>
        <p:pic>
          <p:nvPicPr>
            <p:cNvPr id="10" name="図 9">
              <a:extLst>
                <a:ext uri="{FF2B5EF4-FFF2-40B4-BE49-F238E27FC236}">
                  <a16:creationId xmlns:a16="http://schemas.microsoft.com/office/drawing/2014/main" id="{6F590A29-8D83-3EDB-3B3C-385B2712B42D}"/>
                </a:ext>
              </a:extLst>
            </p:cNvPr>
            <p:cNvPicPr>
              <a:picLocks noChangeAspect="1"/>
            </p:cNvPicPr>
            <p:nvPr/>
          </p:nvPicPr>
          <p:blipFill>
            <a:blip r:embed="rId5"/>
            <a:stretch>
              <a:fillRect/>
            </a:stretch>
          </p:blipFill>
          <p:spPr>
            <a:xfrm>
              <a:off x="8687136" y="6742681"/>
              <a:ext cx="1731414" cy="2200847"/>
            </a:xfrm>
            <a:prstGeom prst="rect">
              <a:avLst/>
            </a:prstGeom>
          </p:spPr>
        </p:pic>
      </p:grpSp>
    </p:spTree>
    <p:extLst>
      <p:ext uri="{BB962C8B-B14F-4D97-AF65-F5344CB8AC3E}">
        <p14:creationId xmlns:p14="http://schemas.microsoft.com/office/powerpoint/2010/main" val="139438165"/>
      </p:ext>
    </p:extLst>
  </p:cSld>
  <p:clrMapOvr>
    <a:masterClrMapping/>
  </p:clrMapOvr>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DF42D933-0FA9-1A44-2735-B00232DC5E71}"/>
              </a:ext>
            </a:extLst>
          </p:cNvPr>
          <p:cNvSpPr txBox="1"/>
          <p:nvPr/>
        </p:nvSpPr>
        <p:spPr>
          <a:xfrm>
            <a:off x="3229719" y="969604"/>
            <a:ext cx="12379992"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ある海外企業では、生成</a:t>
            </a:r>
            <a:r>
              <a:rPr kumimoji="1" lang="en-US" altLang="ja-JP" sz="3600" spc="100" dirty="0">
                <a:latin typeface="+mj-ea"/>
                <a:ea typeface="+mj-ea"/>
              </a:rPr>
              <a:t>AI</a:t>
            </a:r>
            <a:r>
              <a:rPr kumimoji="1" lang="ja-JP" altLang="en-US" sz="3600" spc="100" dirty="0">
                <a:latin typeface="+mj-ea"/>
                <a:ea typeface="+mj-ea"/>
              </a:rPr>
              <a:t>に機密情報を入力し情報が流出</a:t>
            </a:r>
            <a:endParaRPr kumimoji="1" lang="en-US" altLang="ja-JP" sz="3600" spc="100" dirty="0">
              <a:latin typeface="+mj-ea"/>
              <a:ea typeface="+mj-ea"/>
            </a:endParaRPr>
          </a:p>
        </p:txBody>
      </p:sp>
      <p:sp>
        <p:nvSpPr>
          <p:cNvPr id="4" name="テキスト ボックス 3">
            <a:extLst>
              <a:ext uri="{FF2B5EF4-FFF2-40B4-BE49-F238E27FC236}">
                <a16:creationId xmlns:a16="http://schemas.microsoft.com/office/drawing/2014/main" id="{230125B3-7FDA-531E-FFA7-9F7A0C905447}"/>
              </a:ext>
            </a:extLst>
          </p:cNvPr>
          <p:cNvSpPr txBox="1"/>
          <p:nvPr/>
        </p:nvSpPr>
        <p:spPr>
          <a:xfrm>
            <a:off x="1425542" y="2213614"/>
            <a:ext cx="15436919" cy="486672"/>
          </a:xfrm>
          <a:prstGeom prst="rect">
            <a:avLst/>
          </a:prstGeom>
          <a:noFill/>
        </p:spPr>
        <p:txBody>
          <a:bodyPr wrap="none" lIns="0" tIns="0" rIns="0" bIns="0" rtlCol="0" anchor="t">
            <a:spAutoFit/>
          </a:bodyPr>
          <a:lstStyle/>
          <a:p>
            <a:pPr algn="ctr">
              <a:lnSpc>
                <a:spcPct val="120000"/>
              </a:lnSpc>
              <a:spcAft>
                <a:spcPts val="1500"/>
              </a:spcAft>
            </a:pPr>
            <a:r>
              <a:rPr kumimoji="1" lang="en-US" altLang="ja-JP" sz="2800" spc="50" dirty="0">
                <a:latin typeface="+mn-ea"/>
              </a:rPr>
              <a:t>2023</a:t>
            </a:r>
            <a:r>
              <a:rPr kumimoji="1" lang="ja-JP" altLang="en-US" sz="2800" spc="50" dirty="0">
                <a:latin typeface="+mn-ea"/>
              </a:rPr>
              <a:t>年</a:t>
            </a:r>
            <a:r>
              <a:rPr kumimoji="1" lang="en-US" altLang="ja-JP" sz="2800" spc="50" dirty="0">
                <a:latin typeface="+mn-ea"/>
              </a:rPr>
              <a:t>3</a:t>
            </a:r>
            <a:r>
              <a:rPr kumimoji="1" lang="ja-JP" altLang="en-US" sz="2800" spc="50" dirty="0">
                <a:latin typeface="+mn-ea"/>
              </a:rPr>
              <a:t>月、海外の電子機器メーカーで生成</a:t>
            </a:r>
            <a:r>
              <a:rPr kumimoji="1" lang="en-US" altLang="ja-JP" sz="2800" spc="50" dirty="0">
                <a:latin typeface="+mn-ea"/>
              </a:rPr>
              <a:t>AI</a:t>
            </a:r>
            <a:r>
              <a:rPr kumimoji="1" lang="ja-JP" altLang="en-US" sz="2800" spc="50" dirty="0">
                <a:latin typeface="+mn-ea"/>
              </a:rPr>
              <a:t>の使用による、</a:t>
            </a:r>
            <a:r>
              <a:rPr kumimoji="1" lang="ja-JP" altLang="en-US" sz="2800" spc="50" dirty="0">
                <a:solidFill>
                  <a:schemeClr val="accent3"/>
                </a:solidFill>
                <a:latin typeface="+mj-ea"/>
                <a:ea typeface="+mj-ea"/>
              </a:rPr>
              <a:t>社内情報流出</a:t>
            </a:r>
            <a:r>
              <a:rPr kumimoji="1" lang="ja-JP" altLang="en-US" sz="2800" spc="50" dirty="0">
                <a:latin typeface="+mn-ea"/>
              </a:rPr>
              <a:t>が立て続けに発生</a:t>
            </a:r>
          </a:p>
        </p:txBody>
      </p:sp>
      <p:grpSp>
        <p:nvGrpSpPr>
          <p:cNvPr id="14" name="グループ化 13">
            <a:extLst>
              <a:ext uri="{FF2B5EF4-FFF2-40B4-BE49-F238E27FC236}">
                <a16:creationId xmlns:a16="http://schemas.microsoft.com/office/drawing/2014/main" id="{EFB98631-AFCD-92EA-6E2F-E5C04794A333}"/>
              </a:ext>
            </a:extLst>
          </p:cNvPr>
          <p:cNvGrpSpPr/>
          <p:nvPr/>
        </p:nvGrpSpPr>
        <p:grpSpPr>
          <a:xfrm>
            <a:off x="9419715" y="3226027"/>
            <a:ext cx="7421370" cy="6380427"/>
            <a:chOff x="9419715" y="3226027"/>
            <a:chExt cx="7421370" cy="6380427"/>
          </a:xfrm>
        </p:grpSpPr>
        <p:grpSp>
          <p:nvGrpSpPr>
            <p:cNvPr id="40" name="グループ化 39">
              <a:extLst>
                <a:ext uri="{FF2B5EF4-FFF2-40B4-BE49-F238E27FC236}">
                  <a16:creationId xmlns:a16="http://schemas.microsoft.com/office/drawing/2014/main" id="{3B1B0F03-6E1D-60B6-F274-3A76FBD7B85F}"/>
                </a:ext>
              </a:extLst>
            </p:cNvPr>
            <p:cNvGrpSpPr/>
            <p:nvPr/>
          </p:nvGrpSpPr>
          <p:grpSpPr>
            <a:xfrm>
              <a:off x="9419715" y="3226027"/>
              <a:ext cx="7421370" cy="6380427"/>
              <a:chOff x="1019503" y="3310111"/>
              <a:chExt cx="7421370" cy="6380427"/>
            </a:xfrm>
          </p:grpSpPr>
          <p:sp>
            <p:nvSpPr>
              <p:cNvPr id="41" name="四角形: 角を丸くする 40">
                <a:extLst>
                  <a:ext uri="{FF2B5EF4-FFF2-40B4-BE49-F238E27FC236}">
                    <a16:creationId xmlns:a16="http://schemas.microsoft.com/office/drawing/2014/main" id="{A13BF688-27FD-7597-0822-0A1887ACD6AE}"/>
                  </a:ext>
                </a:extLst>
              </p:cNvPr>
              <p:cNvSpPr/>
              <p:nvPr/>
            </p:nvSpPr>
            <p:spPr>
              <a:xfrm>
                <a:off x="1019503" y="3310112"/>
                <a:ext cx="7421370" cy="6380426"/>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2" name="四角形: 上の 2 つの角を丸める 41">
                <a:extLst>
                  <a:ext uri="{FF2B5EF4-FFF2-40B4-BE49-F238E27FC236}">
                    <a16:creationId xmlns:a16="http://schemas.microsoft.com/office/drawing/2014/main" id="{62DEC5BA-365F-5B0C-AF07-727FEBE25D8B}"/>
                  </a:ext>
                </a:extLst>
              </p:cNvPr>
              <p:cNvSpPr/>
              <p:nvPr/>
            </p:nvSpPr>
            <p:spPr>
              <a:xfrm>
                <a:off x="1019503" y="3310111"/>
                <a:ext cx="7421370"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kumimoji="1" lang="ja-JP" altLang="en-US" sz="2800" spc="300" dirty="0">
                    <a:solidFill>
                      <a:schemeClr val="bg1"/>
                    </a:solidFill>
                    <a:latin typeface="+mj-ea"/>
                    <a:ea typeface="+mj-ea"/>
                  </a:rPr>
                  <a:t>情報流出の内容 </a:t>
                </a:r>
                <a:r>
                  <a:rPr lang="ja-JP" altLang="en-US" sz="2800" spc="300" dirty="0">
                    <a:solidFill>
                      <a:schemeClr val="bg1"/>
                    </a:solidFill>
                    <a:latin typeface="+mj-ea"/>
                    <a:ea typeface="+mj-ea"/>
                  </a:rPr>
                  <a:t>❷</a:t>
                </a:r>
                <a:endParaRPr kumimoji="1" lang="ja-JP" altLang="en-US" sz="2800" spc="300" dirty="0">
                  <a:solidFill>
                    <a:schemeClr val="bg1"/>
                  </a:solidFill>
                  <a:latin typeface="+mj-ea"/>
                  <a:ea typeface="+mj-ea"/>
                </a:endParaRPr>
              </a:p>
            </p:txBody>
          </p:sp>
          <p:sp>
            <p:nvSpPr>
              <p:cNvPr id="43" name="テキスト ボックス 42">
                <a:extLst>
                  <a:ext uri="{FF2B5EF4-FFF2-40B4-BE49-F238E27FC236}">
                    <a16:creationId xmlns:a16="http://schemas.microsoft.com/office/drawing/2014/main" id="{F193A887-BABD-C7CC-BD00-0B31B804A6D4}"/>
                  </a:ext>
                </a:extLst>
              </p:cNvPr>
              <p:cNvSpPr txBox="1"/>
              <p:nvPr/>
            </p:nvSpPr>
            <p:spPr>
              <a:xfrm>
                <a:off x="1651621" y="4458935"/>
                <a:ext cx="6157134" cy="1668534"/>
              </a:xfrm>
              <a:prstGeom prst="rect">
                <a:avLst/>
              </a:prstGeom>
              <a:noFill/>
            </p:spPr>
            <p:txBody>
              <a:bodyPr wrap="none" lIns="0" tIns="0" rIns="0" bIns="0" rtlCol="0" anchor="t">
                <a:spAutoFit/>
              </a:bodyPr>
              <a:lstStyle/>
              <a:p>
                <a:pPr>
                  <a:lnSpc>
                    <a:spcPct val="120000"/>
                  </a:lnSpc>
                  <a:spcAft>
                    <a:spcPts val="1500"/>
                  </a:spcAft>
                </a:pPr>
                <a:r>
                  <a:rPr kumimoji="1" lang="ja-JP" altLang="en-US" sz="3600" spc="50" dirty="0">
                    <a:solidFill>
                      <a:schemeClr val="accent3"/>
                    </a:solidFill>
                    <a:latin typeface="+mj-ea"/>
                    <a:ea typeface="+mj-ea"/>
                  </a:rPr>
                  <a:t>社内会議の録音データ</a:t>
                </a:r>
                <a:r>
                  <a:rPr kumimoji="1" lang="ja-JP" altLang="en-US" sz="2800" spc="50" dirty="0">
                    <a:latin typeface="+mn-ea"/>
                  </a:rPr>
                  <a:t>を</a:t>
                </a:r>
                <a:br>
                  <a:rPr kumimoji="1" lang="en-US" altLang="ja-JP" sz="2800" spc="50" dirty="0">
                    <a:latin typeface="+mn-ea"/>
                  </a:rPr>
                </a:br>
                <a:r>
                  <a:rPr kumimoji="1" lang="ja-JP" altLang="en-US" sz="2800" spc="50" dirty="0">
                    <a:latin typeface="+mn-ea"/>
                  </a:rPr>
                  <a:t>音声認識アプリで文章に変換して</a:t>
                </a:r>
                <a:br>
                  <a:rPr kumimoji="1" lang="en-US" altLang="ja-JP" sz="2800" spc="50" dirty="0">
                    <a:latin typeface="+mn-ea"/>
                  </a:rPr>
                </a:br>
                <a:r>
                  <a:rPr kumimoji="1" lang="ja-JP" altLang="en-US" sz="2800" spc="50" dirty="0">
                    <a:latin typeface="+mn-ea"/>
                  </a:rPr>
                  <a:t>生成</a:t>
                </a:r>
                <a:r>
                  <a:rPr kumimoji="1" lang="en-US" altLang="ja-JP" sz="2800" spc="50" dirty="0">
                    <a:latin typeface="+mn-ea"/>
                  </a:rPr>
                  <a:t>AI</a:t>
                </a:r>
                <a:r>
                  <a:rPr kumimoji="1" lang="ja-JP" altLang="en-US" sz="2800" spc="50" dirty="0">
                    <a:latin typeface="+mn-ea"/>
                  </a:rPr>
                  <a:t>に入力し、議事録を作成 </a:t>
                </a:r>
                <a:r>
                  <a:rPr kumimoji="1" lang="en-US" altLang="ja-JP" sz="2800" spc="50" dirty="0">
                    <a:latin typeface="+mn-ea"/>
                  </a:rPr>
                  <a:t>(1</a:t>
                </a:r>
                <a:r>
                  <a:rPr kumimoji="1" lang="ja-JP" altLang="en-US" sz="2800" spc="50" dirty="0">
                    <a:latin typeface="+mn-ea"/>
                  </a:rPr>
                  <a:t>件</a:t>
                </a:r>
                <a:r>
                  <a:rPr kumimoji="1" lang="en-US" altLang="ja-JP" sz="2800" spc="50" dirty="0">
                    <a:latin typeface="+mn-ea"/>
                  </a:rPr>
                  <a:t>)</a:t>
                </a:r>
                <a:endParaRPr kumimoji="1" lang="en-US" altLang="ja-JP" sz="3000" spc="50" dirty="0">
                  <a:latin typeface="+mn-ea"/>
                </a:endParaRPr>
              </a:p>
            </p:txBody>
          </p:sp>
        </p:grpSp>
        <p:grpSp>
          <p:nvGrpSpPr>
            <p:cNvPr id="212" name="グループ化 211">
              <a:extLst>
                <a:ext uri="{FF2B5EF4-FFF2-40B4-BE49-F238E27FC236}">
                  <a16:creationId xmlns:a16="http://schemas.microsoft.com/office/drawing/2014/main" id="{DC58F39E-3FEA-B9A5-1E1C-5734F1E6ADAA}"/>
                </a:ext>
              </a:extLst>
            </p:cNvPr>
            <p:cNvGrpSpPr/>
            <p:nvPr/>
          </p:nvGrpSpPr>
          <p:grpSpPr>
            <a:xfrm>
              <a:off x="10251144" y="6502289"/>
              <a:ext cx="5455278" cy="2280377"/>
              <a:chOff x="10251144" y="6672680"/>
              <a:chExt cx="5455278" cy="2280377"/>
            </a:xfrm>
          </p:grpSpPr>
          <p:grpSp>
            <p:nvGrpSpPr>
              <p:cNvPr id="194" name="グループ化 193">
                <a:extLst>
                  <a:ext uri="{FF2B5EF4-FFF2-40B4-BE49-F238E27FC236}">
                    <a16:creationId xmlns:a16="http://schemas.microsoft.com/office/drawing/2014/main" id="{6EC6F102-A05C-0019-1C5C-FA35319DE283}"/>
                  </a:ext>
                </a:extLst>
              </p:cNvPr>
              <p:cNvGrpSpPr/>
              <p:nvPr/>
            </p:nvGrpSpPr>
            <p:grpSpPr>
              <a:xfrm>
                <a:off x="10251144" y="7140976"/>
                <a:ext cx="2830549" cy="1408387"/>
                <a:chOff x="9932478" y="7052441"/>
                <a:chExt cx="2246551" cy="1117809"/>
              </a:xfrm>
            </p:grpSpPr>
            <p:pic>
              <p:nvPicPr>
                <p:cNvPr id="38" name="グラフィックス 37">
                  <a:extLst>
                    <a:ext uri="{FF2B5EF4-FFF2-40B4-BE49-F238E27FC236}">
                      <a16:creationId xmlns:a16="http://schemas.microsoft.com/office/drawing/2014/main" id="{4660340C-CBCF-BBD1-F760-4A34B3700E98}"/>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9932478" y="7052441"/>
                  <a:ext cx="2246551" cy="999901"/>
                </a:xfrm>
                <a:prstGeom prst="rect">
                  <a:avLst/>
                </a:prstGeom>
              </p:spPr>
            </p:pic>
            <p:grpSp>
              <p:nvGrpSpPr>
                <p:cNvPr id="56" name="グループ化 55">
                  <a:extLst>
                    <a:ext uri="{FF2B5EF4-FFF2-40B4-BE49-F238E27FC236}">
                      <a16:creationId xmlns:a16="http://schemas.microsoft.com/office/drawing/2014/main" id="{06BED715-59E9-5D23-38FF-B1562B948CAE}"/>
                    </a:ext>
                  </a:extLst>
                </p:cNvPr>
                <p:cNvGrpSpPr/>
                <p:nvPr/>
              </p:nvGrpSpPr>
              <p:grpSpPr>
                <a:xfrm>
                  <a:off x="11214592" y="7537335"/>
                  <a:ext cx="613348" cy="632915"/>
                  <a:chOff x="11353299" y="7651366"/>
                  <a:chExt cx="470912" cy="485935"/>
                </a:xfrm>
              </p:grpSpPr>
              <p:sp>
                <p:nvSpPr>
                  <p:cNvPr id="54" name="フリーフォーム: 図形 53">
                    <a:extLst>
                      <a:ext uri="{FF2B5EF4-FFF2-40B4-BE49-F238E27FC236}">
                        <a16:creationId xmlns:a16="http://schemas.microsoft.com/office/drawing/2014/main" id="{129BBE86-5C29-FA3A-60E9-AB90D1F7F7D8}"/>
                      </a:ext>
                    </a:extLst>
                  </p:cNvPr>
                  <p:cNvSpPr/>
                  <p:nvPr/>
                </p:nvSpPr>
                <p:spPr>
                  <a:xfrm>
                    <a:off x="11353299" y="7651366"/>
                    <a:ext cx="470912" cy="485935"/>
                  </a:xfrm>
                  <a:custGeom>
                    <a:avLst/>
                    <a:gdLst>
                      <a:gd name="connsiteX0" fmla="*/ 422326 w 470912"/>
                      <a:gd name="connsiteY0" fmla="*/ 143267 h 485935"/>
                      <a:gd name="connsiteX1" fmla="*/ 370625 w 470912"/>
                      <a:gd name="connsiteY1" fmla="*/ 143267 h 485935"/>
                      <a:gd name="connsiteX2" fmla="*/ 235420 w 470912"/>
                      <a:gd name="connsiteY2" fmla="*/ 0 h 485935"/>
                      <a:gd name="connsiteX3" fmla="*/ 100269 w 470912"/>
                      <a:gd name="connsiteY3" fmla="*/ 143267 h 485935"/>
                      <a:gd name="connsiteX4" fmla="*/ 43603 w 470912"/>
                      <a:gd name="connsiteY4" fmla="*/ 143267 h 485935"/>
                      <a:gd name="connsiteX5" fmla="*/ 0 w 470912"/>
                      <a:gd name="connsiteY5" fmla="*/ 485936 h 485935"/>
                      <a:gd name="connsiteX6" fmla="*/ 470912 w 470912"/>
                      <a:gd name="connsiteY6" fmla="*/ 485936 h 485935"/>
                      <a:gd name="connsiteX7" fmla="*/ 422326 w 470912"/>
                      <a:gd name="connsiteY7" fmla="*/ 143267 h 485935"/>
                      <a:gd name="connsiteX8" fmla="*/ 235420 w 470912"/>
                      <a:gd name="connsiteY8" fmla="*/ 29899 h 485935"/>
                      <a:gd name="connsiteX9" fmla="*/ 340708 w 470912"/>
                      <a:gd name="connsiteY9" fmla="*/ 143267 h 485935"/>
                      <a:gd name="connsiteX10" fmla="*/ 130168 w 470912"/>
                      <a:gd name="connsiteY10" fmla="*/ 143267 h 485935"/>
                      <a:gd name="connsiteX11" fmla="*/ 235420 w 470912"/>
                      <a:gd name="connsiteY11" fmla="*/ 29899 h 48593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70912" h="485935">
                        <a:moveTo>
                          <a:pt x="422326" y="143267"/>
                        </a:moveTo>
                        <a:lnTo>
                          <a:pt x="370625" y="143267"/>
                        </a:lnTo>
                        <a:cubicBezTo>
                          <a:pt x="370625" y="64287"/>
                          <a:pt x="309966" y="0"/>
                          <a:pt x="235420" y="0"/>
                        </a:cubicBezTo>
                        <a:cubicBezTo>
                          <a:pt x="160873" y="0"/>
                          <a:pt x="100269" y="64287"/>
                          <a:pt x="100269" y="143267"/>
                        </a:cubicBezTo>
                        <a:lnTo>
                          <a:pt x="43603" y="143267"/>
                        </a:lnTo>
                        <a:lnTo>
                          <a:pt x="0" y="485936"/>
                        </a:lnTo>
                        <a:lnTo>
                          <a:pt x="470912" y="485936"/>
                        </a:lnTo>
                        <a:lnTo>
                          <a:pt x="422326" y="143267"/>
                        </a:lnTo>
                        <a:close/>
                        <a:moveTo>
                          <a:pt x="235420" y="29899"/>
                        </a:moveTo>
                        <a:cubicBezTo>
                          <a:pt x="293477" y="29899"/>
                          <a:pt x="340708" y="80776"/>
                          <a:pt x="340708" y="143267"/>
                        </a:cubicBezTo>
                        <a:lnTo>
                          <a:pt x="130168" y="143267"/>
                        </a:lnTo>
                        <a:cubicBezTo>
                          <a:pt x="130168" y="80757"/>
                          <a:pt x="177380" y="29899"/>
                          <a:pt x="235420" y="29899"/>
                        </a:cubicBezTo>
                        <a:close/>
                      </a:path>
                    </a:pathLst>
                  </a:custGeom>
                  <a:solidFill>
                    <a:schemeClr val="accent1"/>
                  </a:solidFill>
                  <a:ln w="0" cap="flat">
                    <a:noFill/>
                    <a:prstDash val="solid"/>
                    <a:miter/>
                  </a:ln>
                </p:spPr>
                <p:txBody>
                  <a:bodyPr rtlCol="0" anchor="ctr"/>
                  <a:lstStyle/>
                  <a:p>
                    <a:endParaRPr lang="ja-JP" altLang="en-US"/>
                  </a:p>
                </p:txBody>
              </p:sp>
              <p:sp>
                <p:nvSpPr>
                  <p:cNvPr id="55" name="フリーフォーム: 図形 54">
                    <a:extLst>
                      <a:ext uri="{FF2B5EF4-FFF2-40B4-BE49-F238E27FC236}">
                        <a16:creationId xmlns:a16="http://schemas.microsoft.com/office/drawing/2014/main" id="{4ABE1ACB-0398-A501-112C-240D6D51FA61}"/>
                      </a:ext>
                    </a:extLst>
                  </p:cNvPr>
                  <p:cNvSpPr/>
                  <p:nvPr/>
                </p:nvSpPr>
                <p:spPr>
                  <a:xfrm>
                    <a:off x="11522892" y="7856904"/>
                    <a:ext cx="131761" cy="230308"/>
                  </a:xfrm>
                  <a:custGeom>
                    <a:avLst/>
                    <a:gdLst>
                      <a:gd name="connsiteX0" fmla="*/ 131743 w 131761"/>
                      <a:gd name="connsiteY0" fmla="*/ 66339 h 230308"/>
                      <a:gd name="connsiteX1" fmla="*/ 65863 w 131761"/>
                      <a:gd name="connsiteY1" fmla="*/ 0 h 230308"/>
                      <a:gd name="connsiteX2" fmla="*/ 0 w 131761"/>
                      <a:gd name="connsiteY2" fmla="*/ 66339 h 230308"/>
                      <a:gd name="connsiteX3" fmla="*/ 43823 w 131761"/>
                      <a:gd name="connsiteY3" fmla="*/ 128574 h 230308"/>
                      <a:gd name="connsiteX4" fmla="*/ 16818 w 131761"/>
                      <a:gd name="connsiteY4" fmla="*/ 230308 h 230308"/>
                      <a:gd name="connsiteX5" fmla="*/ 114925 w 131761"/>
                      <a:gd name="connsiteY5" fmla="*/ 230308 h 230308"/>
                      <a:gd name="connsiteX6" fmla="*/ 90669 w 131761"/>
                      <a:gd name="connsiteY6" fmla="*/ 127695 h 230308"/>
                      <a:gd name="connsiteX7" fmla="*/ 131762 w 131761"/>
                      <a:gd name="connsiteY7" fmla="*/ 66339 h 23030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31761" h="230308">
                        <a:moveTo>
                          <a:pt x="131743" y="66339"/>
                        </a:moveTo>
                        <a:cubicBezTo>
                          <a:pt x="131743" y="29679"/>
                          <a:pt x="102247" y="0"/>
                          <a:pt x="65863" y="0"/>
                        </a:cubicBezTo>
                        <a:cubicBezTo>
                          <a:pt x="29478" y="0"/>
                          <a:pt x="0" y="29679"/>
                          <a:pt x="0" y="66339"/>
                        </a:cubicBezTo>
                        <a:cubicBezTo>
                          <a:pt x="0" y="95157"/>
                          <a:pt x="18339" y="119414"/>
                          <a:pt x="43823" y="128574"/>
                        </a:cubicBezTo>
                        <a:lnTo>
                          <a:pt x="16818" y="230308"/>
                        </a:lnTo>
                        <a:lnTo>
                          <a:pt x="114925" y="230308"/>
                        </a:lnTo>
                        <a:lnTo>
                          <a:pt x="90669" y="127695"/>
                        </a:lnTo>
                        <a:cubicBezTo>
                          <a:pt x="114760" y="117838"/>
                          <a:pt x="131762" y="94113"/>
                          <a:pt x="131762" y="66339"/>
                        </a:cubicBezTo>
                        <a:close/>
                      </a:path>
                    </a:pathLst>
                  </a:custGeom>
                  <a:solidFill>
                    <a:srgbClr val="FFFFFF"/>
                  </a:solidFill>
                  <a:ln w="0" cap="flat">
                    <a:noFill/>
                    <a:prstDash val="solid"/>
                    <a:miter/>
                  </a:ln>
                </p:spPr>
                <p:txBody>
                  <a:bodyPr rtlCol="0" anchor="ctr"/>
                  <a:lstStyle/>
                  <a:p>
                    <a:endParaRPr lang="ja-JP" altLang="en-US"/>
                  </a:p>
                </p:txBody>
              </p:sp>
            </p:grpSp>
          </p:grpSp>
          <p:grpSp>
            <p:nvGrpSpPr>
              <p:cNvPr id="198" name="グループ化 197">
                <a:extLst>
                  <a:ext uri="{FF2B5EF4-FFF2-40B4-BE49-F238E27FC236}">
                    <a16:creationId xmlns:a16="http://schemas.microsoft.com/office/drawing/2014/main" id="{885097DB-47D1-27DE-3FFA-B62ECE14A193}"/>
                  </a:ext>
                </a:extLst>
              </p:cNvPr>
              <p:cNvGrpSpPr/>
              <p:nvPr/>
            </p:nvGrpSpPr>
            <p:grpSpPr>
              <a:xfrm>
                <a:off x="13353298" y="7499919"/>
                <a:ext cx="840827" cy="523274"/>
                <a:chOff x="5454868" y="7006267"/>
                <a:chExt cx="840827" cy="523274"/>
              </a:xfrm>
              <a:solidFill>
                <a:schemeClr val="bg2">
                  <a:lumMod val="75000"/>
                </a:schemeClr>
              </a:solidFill>
            </p:grpSpPr>
            <p:sp>
              <p:nvSpPr>
                <p:cNvPr id="199" name="正方形/長方形 198">
                  <a:extLst>
                    <a:ext uri="{FF2B5EF4-FFF2-40B4-BE49-F238E27FC236}">
                      <a16:creationId xmlns:a16="http://schemas.microsoft.com/office/drawing/2014/main" id="{9A47C31E-B856-B0E4-E261-DE9704142732}"/>
                    </a:ext>
                  </a:extLst>
                </p:cNvPr>
                <p:cNvSpPr/>
                <p:nvPr/>
              </p:nvSpPr>
              <p:spPr>
                <a:xfrm>
                  <a:off x="5454868" y="7173310"/>
                  <a:ext cx="672662" cy="18918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0" name="二等辺三角形 199">
                  <a:extLst>
                    <a:ext uri="{FF2B5EF4-FFF2-40B4-BE49-F238E27FC236}">
                      <a16:creationId xmlns:a16="http://schemas.microsoft.com/office/drawing/2014/main" id="{92E4F794-2CDF-DDAD-EE15-18226E86562A}"/>
                    </a:ext>
                  </a:extLst>
                </p:cNvPr>
                <p:cNvSpPr/>
                <p:nvPr/>
              </p:nvSpPr>
              <p:spPr>
                <a:xfrm rot="5400000">
                  <a:off x="5865893" y="7099738"/>
                  <a:ext cx="523274" cy="336331"/>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9" name="グループ化 208">
                <a:extLst>
                  <a:ext uri="{FF2B5EF4-FFF2-40B4-BE49-F238E27FC236}">
                    <a16:creationId xmlns:a16="http://schemas.microsoft.com/office/drawing/2014/main" id="{984DFAA8-F543-72E8-08AE-265F98D2F197}"/>
                  </a:ext>
                </a:extLst>
              </p:cNvPr>
              <p:cNvGrpSpPr/>
              <p:nvPr/>
            </p:nvGrpSpPr>
            <p:grpSpPr>
              <a:xfrm>
                <a:off x="14406105" y="6672680"/>
                <a:ext cx="1300317" cy="2280377"/>
                <a:chOff x="6667014" y="6294451"/>
                <a:chExt cx="1300317" cy="2280377"/>
              </a:xfrm>
            </p:grpSpPr>
            <p:sp>
              <p:nvSpPr>
                <p:cNvPr id="210" name="テキスト ボックス 209">
                  <a:extLst>
                    <a:ext uri="{FF2B5EF4-FFF2-40B4-BE49-F238E27FC236}">
                      <a16:creationId xmlns:a16="http://schemas.microsoft.com/office/drawing/2014/main" id="{E28773F4-91CC-4523-26E3-EC71011187E5}"/>
                    </a:ext>
                  </a:extLst>
                </p:cNvPr>
                <p:cNvSpPr txBox="1"/>
                <p:nvPr/>
              </p:nvSpPr>
              <p:spPr>
                <a:xfrm>
                  <a:off x="6762936" y="8088156"/>
                  <a:ext cx="1117293" cy="486672"/>
                </a:xfrm>
                <a:prstGeom prst="rect">
                  <a:avLst/>
                </a:prstGeom>
                <a:noFill/>
              </p:spPr>
              <p:txBody>
                <a:bodyPr wrap="none" lIns="0" tIns="0" rIns="0" bIns="0" rtlCol="0" anchor="t">
                  <a:spAutoFit/>
                </a:bodyPr>
                <a:lstStyle/>
                <a:p>
                  <a:pPr algn="ctr">
                    <a:lnSpc>
                      <a:spcPct val="120000"/>
                    </a:lnSpc>
                    <a:spcAft>
                      <a:spcPts val="1500"/>
                    </a:spcAft>
                  </a:pPr>
                  <a:r>
                    <a:rPr kumimoji="1" lang="ja-JP" altLang="en-US" sz="2800" spc="50" dirty="0">
                      <a:latin typeface="+mn-ea"/>
                    </a:rPr>
                    <a:t>生成</a:t>
                  </a:r>
                  <a:r>
                    <a:rPr kumimoji="1" lang="en-US" altLang="ja-JP" sz="2800" spc="50" dirty="0">
                      <a:latin typeface="+mn-ea"/>
                    </a:rPr>
                    <a:t>AI</a:t>
                  </a:r>
                  <a:endParaRPr kumimoji="1" lang="ja-JP" altLang="en-US" sz="2800" spc="50" dirty="0">
                    <a:latin typeface="+mn-ea"/>
                  </a:endParaRPr>
                </a:p>
              </p:txBody>
            </p:sp>
            <p:pic>
              <p:nvPicPr>
                <p:cNvPr id="211" name="グラフィックス 210">
                  <a:extLst>
                    <a:ext uri="{FF2B5EF4-FFF2-40B4-BE49-F238E27FC236}">
                      <a16:creationId xmlns:a16="http://schemas.microsoft.com/office/drawing/2014/main" id="{8A84A7F5-42FC-2F88-662A-05260C590854}"/>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67014" y="6294451"/>
                  <a:ext cx="1300317" cy="1724631"/>
                </a:xfrm>
                <a:prstGeom prst="rect">
                  <a:avLst/>
                </a:prstGeom>
              </p:spPr>
            </p:pic>
          </p:grpSp>
        </p:grpSp>
      </p:grpSp>
      <p:sp>
        <p:nvSpPr>
          <p:cNvPr id="5" name="スライド番号プレースホルダー 4">
            <a:extLst>
              <a:ext uri="{FF2B5EF4-FFF2-40B4-BE49-F238E27FC236}">
                <a16:creationId xmlns:a16="http://schemas.microsoft.com/office/drawing/2014/main" id="{71E34C9A-D5D2-6E40-5B78-EC4F6191EC3F}"/>
              </a:ext>
            </a:extLst>
          </p:cNvPr>
          <p:cNvSpPr>
            <a:spLocks noGrp="1"/>
          </p:cNvSpPr>
          <p:nvPr>
            <p:ph type="sldNum" sz="quarter" idx="11"/>
          </p:nvPr>
        </p:nvSpPr>
        <p:spPr>
          <a:xfrm>
            <a:off x="17695001" y="9786651"/>
            <a:ext cx="327013" cy="307777"/>
          </a:xfrm>
        </p:spPr>
        <p:txBody>
          <a:bodyPr/>
          <a:lstStyle/>
          <a:p>
            <a:r>
              <a:rPr lang="en-US" altLang="ja-JP"/>
              <a:t>47</a:t>
            </a:r>
            <a:endParaRPr lang="ja-JP" altLang="en-US" dirty="0"/>
          </a:p>
        </p:txBody>
      </p:sp>
      <p:grpSp>
        <p:nvGrpSpPr>
          <p:cNvPr id="13" name="グループ化 12">
            <a:extLst>
              <a:ext uri="{FF2B5EF4-FFF2-40B4-BE49-F238E27FC236}">
                <a16:creationId xmlns:a16="http://schemas.microsoft.com/office/drawing/2014/main" id="{F18D880C-1720-94BA-D69F-29ED98A06CD1}"/>
              </a:ext>
            </a:extLst>
          </p:cNvPr>
          <p:cNvGrpSpPr/>
          <p:nvPr/>
        </p:nvGrpSpPr>
        <p:grpSpPr>
          <a:xfrm>
            <a:off x="1446916" y="3226027"/>
            <a:ext cx="7421370" cy="6380426"/>
            <a:chOff x="1446916" y="3226027"/>
            <a:chExt cx="7421370" cy="6380426"/>
          </a:xfrm>
        </p:grpSpPr>
        <p:grpSp>
          <p:nvGrpSpPr>
            <p:cNvPr id="39" name="グループ化 38">
              <a:extLst>
                <a:ext uri="{FF2B5EF4-FFF2-40B4-BE49-F238E27FC236}">
                  <a16:creationId xmlns:a16="http://schemas.microsoft.com/office/drawing/2014/main" id="{AF14B2B9-1049-044F-2B5D-EC65E174F62C}"/>
                </a:ext>
              </a:extLst>
            </p:cNvPr>
            <p:cNvGrpSpPr/>
            <p:nvPr/>
          </p:nvGrpSpPr>
          <p:grpSpPr>
            <a:xfrm>
              <a:off x="1446916" y="3226027"/>
              <a:ext cx="7421370" cy="6380426"/>
              <a:chOff x="1019503" y="3310112"/>
              <a:chExt cx="7421370" cy="6380426"/>
            </a:xfrm>
          </p:grpSpPr>
          <p:sp>
            <p:nvSpPr>
              <p:cNvPr id="12" name="四角形: 角を丸くする 11">
                <a:extLst>
                  <a:ext uri="{FF2B5EF4-FFF2-40B4-BE49-F238E27FC236}">
                    <a16:creationId xmlns:a16="http://schemas.microsoft.com/office/drawing/2014/main" id="{7D57FCD9-AA94-87ED-6B4E-04CA2AB2AD9A}"/>
                  </a:ext>
                </a:extLst>
              </p:cNvPr>
              <p:cNvSpPr/>
              <p:nvPr/>
            </p:nvSpPr>
            <p:spPr>
              <a:xfrm>
                <a:off x="1019503" y="3310112"/>
                <a:ext cx="7421370" cy="6380426"/>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8" name="四角形: 上の 2 つの角を丸める 7">
                <a:extLst>
                  <a:ext uri="{FF2B5EF4-FFF2-40B4-BE49-F238E27FC236}">
                    <a16:creationId xmlns:a16="http://schemas.microsoft.com/office/drawing/2014/main" id="{04127CDB-DC54-B4DC-DD6D-4B182D973BE7}"/>
                  </a:ext>
                </a:extLst>
              </p:cNvPr>
              <p:cNvSpPr/>
              <p:nvPr/>
            </p:nvSpPr>
            <p:spPr>
              <a:xfrm>
                <a:off x="1019503" y="3310113"/>
                <a:ext cx="7421370"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kumimoji="1" lang="ja-JP" altLang="en-US" sz="2800" spc="300" dirty="0">
                    <a:solidFill>
                      <a:schemeClr val="bg1"/>
                    </a:solidFill>
                    <a:latin typeface="+mj-ea"/>
                    <a:ea typeface="+mj-ea"/>
                  </a:rPr>
                  <a:t>情報流出の内容 ❶</a:t>
                </a:r>
              </a:p>
            </p:txBody>
          </p:sp>
          <p:sp>
            <p:nvSpPr>
              <p:cNvPr id="11" name="テキスト ボックス 10">
                <a:extLst>
                  <a:ext uri="{FF2B5EF4-FFF2-40B4-BE49-F238E27FC236}">
                    <a16:creationId xmlns:a16="http://schemas.microsoft.com/office/drawing/2014/main" id="{7D80DCC1-B9CD-F6D7-4D28-1B93A12E86DC}"/>
                  </a:ext>
                </a:extLst>
              </p:cNvPr>
              <p:cNvSpPr txBox="1"/>
              <p:nvPr/>
            </p:nvSpPr>
            <p:spPr>
              <a:xfrm>
                <a:off x="1834364" y="4459600"/>
                <a:ext cx="5791650" cy="1151469"/>
              </a:xfrm>
              <a:prstGeom prst="rect">
                <a:avLst/>
              </a:prstGeom>
              <a:noFill/>
            </p:spPr>
            <p:txBody>
              <a:bodyPr wrap="none" lIns="0" tIns="0" rIns="0" bIns="0" rtlCol="0" anchor="t">
                <a:spAutoFit/>
              </a:bodyPr>
              <a:lstStyle/>
              <a:p>
                <a:pPr>
                  <a:lnSpc>
                    <a:spcPct val="120000"/>
                  </a:lnSpc>
                  <a:spcAft>
                    <a:spcPts val="1500"/>
                  </a:spcAft>
                </a:pPr>
                <a:r>
                  <a:rPr kumimoji="1" lang="ja-JP" altLang="en-US" sz="3600" spc="50" dirty="0">
                    <a:solidFill>
                      <a:schemeClr val="accent3"/>
                    </a:solidFill>
                    <a:latin typeface="+mj-ea"/>
                    <a:ea typeface="+mj-ea"/>
                  </a:rPr>
                  <a:t>社内機密のソースコード</a:t>
                </a:r>
                <a:r>
                  <a:rPr kumimoji="1" lang="ja-JP" altLang="en-US" sz="2800" spc="50" dirty="0">
                    <a:latin typeface="+mn-ea"/>
                  </a:rPr>
                  <a:t>を</a:t>
                </a:r>
                <a:br>
                  <a:rPr kumimoji="1" lang="en-US" altLang="ja-JP" sz="2800" spc="50" dirty="0">
                    <a:latin typeface="+mn-ea"/>
                  </a:rPr>
                </a:br>
                <a:r>
                  <a:rPr kumimoji="1" lang="ja-JP" altLang="en-US" sz="2800" spc="50" dirty="0">
                    <a:latin typeface="+mn-ea"/>
                  </a:rPr>
                  <a:t>生成</a:t>
                </a:r>
                <a:r>
                  <a:rPr kumimoji="1" lang="en-US" altLang="ja-JP" sz="2800" spc="50" dirty="0">
                    <a:latin typeface="+mn-ea"/>
                  </a:rPr>
                  <a:t>AI</a:t>
                </a:r>
                <a:r>
                  <a:rPr kumimoji="1" lang="ja-JP" altLang="en-US" sz="2800" spc="50" dirty="0">
                    <a:latin typeface="+mn-ea"/>
                  </a:rPr>
                  <a:t>に入力し、修正を依頼 </a:t>
                </a:r>
                <a:r>
                  <a:rPr kumimoji="1" lang="en-US" altLang="ja-JP" sz="2800" spc="50" dirty="0">
                    <a:latin typeface="+mn-ea"/>
                  </a:rPr>
                  <a:t>(2</a:t>
                </a:r>
                <a:r>
                  <a:rPr kumimoji="1" lang="ja-JP" altLang="en-US" sz="2800" spc="50" dirty="0">
                    <a:latin typeface="+mn-ea"/>
                  </a:rPr>
                  <a:t>件</a:t>
                </a:r>
                <a:r>
                  <a:rPr kumimoji="1" lang="en-US" altLang="ja-JP" sz="2800" spc="50" dirty="0">
                    <a:latin typeface="+mn-ea"/>
                  </a:rPr>
                  <a:t>)</a:t>
                </a:r>
                <a:endParaRPr kumimoji="1" lang="en-US" altLang="ja-JP" sz="3600" spc="50" dirty="0">
                  <a:latin typeface="+mn-ea"/>
                </a:endParaRPr>
              </a:p>
            </p:txBody>
          </p:sp>
        </p:grpSp>
        <p:grpSp>
          <p:nvGrpSpPr>
            <p:cNvPr id="10" name="グループ化 9">
              <a:extLst>
                <a:ext uri="{FF2B5EF4-FFF2-40B4-BE49-F238E27FC236}">
                  <a16:creationId xmlns:a16="http://schemas.microsoft.com/office/drawing/2014/main" id="{7813FA14-726F-B559-785D-CED6BB19BFEC}"/>
                </a:ext>
              </a:extLst>
            </p:cNvPr>
            <p:cNvGrpSpPr/>
            <p:nvPr/>
          </p:nvGrpSpPr>
          <p:grpSpPr>
            <a:xfrm>
              <a:off x="2115076" y="5937306"/>
              <a:ext cx="5830018" cy="2999492"/>
              <a:chOff x="2115076" y="5937306"/>
              <a:chExt cx="5830018" cy="2999492"/>
            </a:xfrm>
          </p:grpSpPr>
          <p:grpSp>
            <p:nvGrpSpPr>
              <p:cNvPr id="197" name="グループ化 196">
                <a:extLst>
                  <a:ext uri="{FF2B5EF4-FFF2-40B4-BE49-F238E27FC236}">
                    <a16:creationId xmlns:a16="http://schemas.microsoft.com/office/drawing/2014/main" id="{2BA8FEA7-FB46-33BF-F5DE-A713EA92C0FA}"/>
                  </a:ext>
                </a:extLst>
              </p:cNvPr>
              <p:cNvGrpSpPr/>
              <p:nvPr/>
            </p:nvGrpSpPr>
            <p:grpSpPr>
              <a:xfrm>
                <a:off x="5596840" y="7286250"/>
                <a:ext cx="840827" cy="523274"/>
                <a:chOff x="5454868" y="7006267"/>
                <a:chExt cx="840827" cy="523274"/>
              </a:xfrm>
              <a:solidFill>
                <a:schemeClr val="bg2">
                  <a:lumMod val="75000"/>
                </a:schemeClr>
              </a:solidFill>
            </p:grpSpPr>
            <p:sp>
              <p:nvSpPr>
                <p:cNvPr id="195" name="正方形/長方形 194">
                  <a:extLst>
                    <a:ext uri="{FF2B5EF4-FFF2-40B4-BE49-F238E27FC236}">
                      <a16:creationId xmlns:a16="http://schemas.microsoft.com/office/drawing/2014/main" id="{D6AE87C0-B534-E513-03D5-8B0D869FC762}"/>
                    </a:ext>
                  </a:extLst>
                </p:cNvPr>
                <p:cNvSpPr/>
                <p:nvPr/>
              </p:nvSpPr>
              <p:spPr>
                <a:xfrm>
                  <a:off x="5454868" y="7173310"/>
                  <a:ext cx="672662" cy="189186"/>
                </a:xfrm>
                <a:prstGeom prst="rect">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6" name="二等辺三角形 195">
                  <a:extLst>
                    <a:ext uri="{FF2B5EF4-FFF2-40B4-BE49-F238E27FC236}">
                      <a16:creationId xmlns:a16="http://schemas.microsoft.com/office/drawing/2014/main" id="{15983D07-753E-3011-4A52-07D683F8148B}"/>
                    </a:ext>
                  </a:extLst>
                </p:cNvPr>
                <p:cNvSpPr/>
                <p:nvPr/>
              </p:nvSpPr>
              <p:spPr>
                <a:xfrm rot="5400000">
                  <a:off x="5865893" y="7099738"/>
                  <a:ext cx="523274" cy="336331"/>
                </a:xfrm>
                <a:prstGeom prst="triangle">
                  <a:avLst/>
                </a:prstGeom>
                <a:grp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grpSp>
            <p:nvGrpSpPr>
              <p:cNvPr id="208" name="グループ化 207">
                <a:extLst>
                  <a:ext uri="{FF2B5EF4-FFF2-40B4-BE49-F238E27FC236}">
                    <a16:creationId xmlns:a16="http://schemas.microsoft.com/office/drawing/2014/main" id="{AA36734D-592B-2072-D986-8EC07CADFEDA}"/>
                  </a:ext>
                </a:extLst>
              </p:cNvPr>
              <p:cNvGrpSpPr/>
              <p:nvPr/>
            </p:nvGrpSpPr>
            <p:grpSpPr>
              <a:xfrm>
                <a:off x="6644777" y="6452127"/>
                <a:ext cx="1300317" cy="2280377"/>
                <a:chOff x="6667014" y="6294451"/>
                <a:chExt cx="1300317" cy="2280377"/>
              </a:xfrm>
            </p:grpSpPr>
            <p:sp>
              <p:nvSpPr>
                <p:cNvPr id="203" name="テキスト ボックス 202">
                  <a:extLst>
                    <a:ext uri="{FF2B5EF4-FFF2-40B4-BE49-F238E27FC236}">
                      <a16:creationId xmlns:a16="http://schemas.microsoft.com/office/drawing/2014/main" id="{CDB77FD3-4F94-F018-05C4-78DC3472EF3A}"/>
                    </a:ext>
                  </a:extLst>
                </p:cNvPr>
                <p:cNvSpPr txBox="1"/>
                <p:nvPr/>
              </p:nvSpPr>
              <p:spPr>
                <a:xfrm>
                  <a:off x="6762936" y="8088156"/>
                  <a:ext cx="1117293" cy="486672"/>
                </a:xfrm>
                <a:prstGeom prst="rect">
                  <a:avLst/>
                </a:prstGeom>
                <a:noFill/>
              </p:spPr>
              <p:txBody>
                <a:bodyPr wrap="none" lIns="0" tIns="0" rIns="0" bIns="0" rtlCol="0" anchor="t">
                  <a:spAutoFit/>
                </a:bodyPr>
                <a:lstStyle/>
                <a:p>
                  <a:pPr algn="ctr">
                    <a:lnSpc>
                      <a:spcPct val="120000"/>
                    </a:lnSpc>
                    <a:spcAft>
                      <a:spcPts val="1500"/>
                    </a:spcAft>
                  </a:pPr>
                  <a:r>
                    <a:rPr kumimoji="1" lang="ja-JP" altLang="en-US" sz="2800" spc="50" dirty="0">
                      <a:latin typeface="+mn-ea"/>
                    </a:rPr>
                    <a:t>生成</a:t>
                  </a:r>
                  <a:r>
                    <a:rPr kumimoji="1" lang="en-US" altLang="ja-JP" sz="2800" spc="50" dirty="0">
                      <a:latin typeface="+mn-ea"/>
                    </a:rPr>
                    <a:t>AI</a:t>
                  </a:r>
                  <a:endParaRPr kumimoji="1" lang="ja-JP" altLang="en-US" sz="2800" spc="50" dirty="0">
                    <a:latin typeface="+mn-ea"/>
                  </a:endParaRPr>
                </a:p>
              </p:txBody>
            </p:sp>
            <p:pic>
              <p:nvPicPr>
                <p:cNvPr id="207" name="グラフィックス 206">
                  <a:extLst>
                    <a:ext uri="{FF2B5EF4-FFF2-40B4-BE49-F238E27FC236}">
                      <a16:creationId xmlns:a16="http://schemas.microsoft.com/office/drawing/2014/main" id="{15186515-61C6-CF61-AF6A-4C14F1264D7F}"/>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6667014" y="6294451"/>
                  <a:ext cx="1300317" cy="1724631"/>
                </a:xfrm>
                <a:prstGeom prst="rect">
                  <a:avLst/>
                </a:prstGeom>
              </p:spPr>
            </p:pic>
          </p:grpSp>
          <p:pic>
            <p:nvPicPr>
              <p:cNvPr id="9" name="図 8">
                <a:extLst>
                  <a:ext uri="{FF2B5EF4-FFF2-40B4-BE49-F238E27FC236}">
                    <a16:creationId xmlns:a16="http://schemas.microsoft.com/office/drawing/2014/main" id="{F5DD835E-F27B-1640-7D74-402FD6128AAD}"/>
                  </a:ext>
                </a:extLst>
              </p:cNvPr>
              <p:cNvPicPr>
                <a:picLocks noChangeAspect="1"/>
              </p:cNvPicPr>
              <p:nvPr/>
            </p:nvPicPr>
            <p:blipFill>
              <a:blip r:embed="rId7"/>
              <a:stretch>
                <a:fillRect/>
              </a:stretch>
            </p:blipFill>
            <p:spPr>
              <a:xfrm>
                <a:off x="2115076" y="5937306"/>
                <a:ext cx="3377477" cy="2999492"/>
              </a:xfrm>
              <a:prstGeom prst="rect">
                <a:avLst/>
              </a:prstGeom>
            </p:spPr>
          </p:pic>
        </p:grpSp>
      </p:grpSp>
    </p:spTree>
    <p:extLst>
      <p:ext uri="{BB962C8B-B14F-4D97-AF65-F5344CB8AC3E}">
        <p14:creationId xmlns:p14="http://schemas.microsoft.com/office/powerpoint/2010/main" val="2242982975"/>
      </p:ext>
    </p:extLst>
  </p:cSld>
  <p:clrMapOvr>
    <a:masterClrMapping/>
  </p:clrMapOvr>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872AF1A-A635-A2AA-F404-7D77F6608A1B}"/>
              </a:ext>
            </a:extLst>
          </p:cNvPr>
          <p:cNvSpPr>
            <a:spLocks noGrp="1"/>
          </p:cNvSpPr>
          <p:nvPr>
            <p:ph type="title"/>
          </p:nvPr>
        </p:nvSpPr>
        <p:spPr>
          <a:xfrm>
            <a:off x="891741" y="506301"/>
            <a:ext cx="8316379" cy="492443"/>
          </a:xfrm>
        </p:spPr>
        <p:txBody>
          <a:bodyPr/>
          <a:lstStyle/>
          <a:p>
            <a:r>
              <a:rPr lang="ja-JP" altLang="en-US" dirty="0"/>
              <a:t>情報流出を防ぐため、</a:t>
            </a:r>
            <a:r>
              <a:rPr lang="en-US" altLang="ja-JP" dirty="0"/>
              <a:t>3</a:t>
            </a:r>
            <a:r>
              <a:rPr lang="ja-JP" altLang="en-US" dirty="0"/>
              <a:t>つの行動を心がける</a:t>
            </a:r>
          </a:p>
        </p:txBody>
      </p:sp>
      <p:sp>
        <p:nvSpPr>
          <p:cNvPr id="23" name="テキスト ボックス 22">
            <a:extLst>
              <a:ext uri="{FF2B5EF4-FFF2-40B4-BE49-F238E27FC236}">
                <a16:creationId xmlns:a16="http://schemas.microsoft.com/office/drawing/2014/main" id="{1D5DC7D9-7179-6318-F382-9F798EC2380F}"/>
              </a:ext>
            </a:extLst>
          </p:cNvPr>
          <p:cNvSpPr txBox="1"/>
          <p:nvPr/>
        </p:nvSpPr>
        <p:spPr>
          <a:xfrm>
            <a:off x="372103" y="9617374"/>
            <a:ext cx="17548074" cy="430887"/>
          </a:xfrm>
          <a:prstGeom prst="rect">
            <a:avLst/>
          </a:prstGeom>
          <a:noFill/>
        </p:spPr>
        <p:txBody>
          <a:bodyPr wrap="none" lIns="0" tIns="0" rIns="0" bIns="0" rtlCol="0" anchor="b">
            <a:spAutoFit/>
          </a:bodyPr>
          <a:lstStyle/>
          <a:p>
            <a:pPr algn="l"/>
            <a:r>
              <a:rPr kumimoji="1" lang="en-US" altLang="ja-JP" sz="1400" spc="100" dirty="0">
                <a:solidFill>
                  <a:schemeClr val="tx2"/>
                </a:solidFill>
                <a:latin typeface="+mn-ea"/>
              </a:rPr>
              <a:t>※1</a:t>
            </a:r>
            <a:r>
              <a:rPr kumimoji="1" lang="ja-JP" altLang="en-US" sz="1400" spc="100" dirty="0">
                <a:solidFill>
                  <a:schemeClr val="tx2"/>
                </a:solidFill>
                <a:latin typeface="+mn-ea"/>
              </a:rPr>
              <a:t>：オプトアウトとは、ユーザーが提供したデータを提供先の企業が利用することを拒否すること。</a:t>
            </a:r>
            <a:r>
              <a:rPr kumimoji="1" lang="en-US" altLang="ja-JP" sz="1400" spc="100" dirty="0">
                <a:solidFill>
                  <a:schemeClr val="tx2"/>
                </a:solidFill>
                <a:latin typeface="+mn-ea"/>
              </a:rPr>
              <a:t>ChatGPT</a:t>
            </a:r>
            <a:r>
              <a:rPr kumimoji="1" lang="ja-JP" altLang="en-US" sz="1400" spc="100" dirty="0">
                <a:solidFill>
                  <a:schemeClr val="tx2"/>
                </a:solidFill>
                <a:latin typeface="+mn-ea"/>
              </a:rPr>
              <a:t>では、オプトアウト設定をした場合も、不正利用の監視に備えて</a:t>
            </a:r>
            <a:r>
              <a:rPr kumimoji="1" lang="en-US" altLang="ja-JP" sz="1400" spc="100" dirty="0">
                <a:solidFill>
                  <a:schemeClr val="tx2"/>
                </a:solidFill>
                <a:latin typeface="+mn-ea"/>
              </a:rPr>
              <a:t>30</a:t>
            </a:r>
            <a:r>
              <a:rPr kumimoji="1" lang="ja-JP" altLang="en-US" sz="1400" spc="100" dirty="0">
                <a:solidFill>
                  <a:schemeClr val="tx2"/>
                </a:solidFill>
                <a:latin typeface="+mn-ea"/>
              </a:rPr>
              <a:t>日間履歴が保存される</a:t>
            </a:r>
          </a:p>
          <a:p>
            <a:pPr algn="l"/>
            <a:r>
              <a:rPr kumimoji="1" lang="en-US" altLang="ja-JP" sz="1400" spc="100" dirty="0">
                <a:solidFill>
                  <a:schemeClr val="tx2"/>
                </a:solidFill>
                <a:latin typeface="+mn-ea"/>
              </a:rPr>
              <a:t>Source:</a:t>
            </a:r>
            <a:r>
              <a:rPr kumimoji="1" lang="ja-JP" altLang="en-US" sz="1400" spc="100" dirty="0">
                <a:solidFill>
                  <a:schemeClr val="tx2"/>
                </a:solidFill>
                <a:latin typeface="+mn-ea"/>
              </a:rPr>
              <a:t>　</a:t>
            </a:r>
            <a:r>
              <a:rPr lang="ja-JP" altLang="en-US" sz="1400" dirty="0">
                <a:solidFill>
                  <a:schemeClr val="tx2"/>
                </a:solidFill>
                <a:latin typeface="+mn-ea"/>
                <a:sym typeface="Trebuchet MS" panose="020B0603020202020204" pitchFamily="34" charset="0"/>
                <a:hlinkClick r:id="rId3">
                  <a:extLst>
                    <a:ext uri="{A12FA001-AC4F-418D-AE19-62706E023703}">
                      <ahyp:hlinkClr xmlns:ahyp="http://schemas.microsoft.com/office/drawing/2018/hyperlinkcolor" val="tx"/>
                    </a:ext>
                  </a:extLst>
                </a:hlinkClick>
              </a:rPr>
              <a:t>個人情報保護委員会「生成</a:t>
            </a:r>
            <a:r>
              <a:rPr lang="en-US" altLang="ja-JP" sz="1400" dirty="0">
                <a:solidFill>
                  <a:schemeClr val="tx2"/>
                </a:solidFill>
                <a:latin typeface="+mn-ea"/>
                <a:sym typeface="Trebuchet MS" panose="020B0603020202020204" pitchFamily="34" charset="0"/>
                <a:hlinkClick r:id="rId3">
                  <a:extLst>
                    <a:ext uri="{A12FA001-AC4F-418D-AE19-62706E023703}">
                      <ahyp:hlinkClr xmlns:ahyp="http://schemas.microsoft.com/office/drawing/2018/hyperlinkcolor" val="tx"/>
                    </a:ext>
                  </a:extLst>
                </a:hlinkClick>
              </a:rPr>
              <a:t>AI</a:t>
            </a:r>
            <a:r>
              <a:rPr lang="ja-JP" altLang="en-US" sz="1400" dirty="0">
                <a:solidFill>
                  <a:schemeClr val="tx2"/>
                </a:solidFill>
                <a:latin typeface="+mn-ea"/>
                <a:sym typeface="Trebuchet MS" panose="020B0603020202020204" pitchFamily="34" charset="0"/>
                <a:hlinkClick r:id="rId3">
                  <a:extLst>
                    <a:ext uri="{A12FA001-AC4F-418D-AE19-62706E023703}">
                      <ahyp:hlinkClr xmlns:ahyp="http://schemas.microsoft.com/office/drawing/2018/hyperlinkcolor" val="tx"/>
                    </a:ext>
                  </a:extLst>
                </a:hlinkClick>
              </a:rPr>
              <a:t>サービスの利用に関する注意喚起等について」</a:t>
            </a:r>
            <a:endParaRPr kumimoji="1" lang="ja-JP" altLang="en-US" sz="1400" spc="100" dirty="0">
              <a:solidFill>
                <a:schemeClr val="tx2"/>
              </a:solidFill>
              <a:latin typeface="+mn-ea"/>
            </a:endParaRPr>
          </a:p>
        </p:txBody>
      </p:sp>
      <p:sp>
        <p:nvSpPr>
          <p:cNvPr id="5" name="スライド番号プレースホルダー 4">
            <a:extLst>
              <a:ext uri="{FF2B5EF4-FFF2-40B4-BE49-F238E27FC236}">
                <a16:creationId xmlns:a16="http://schemas.microsoft.com/office/drawing/2014/main" id="{2DA99CC0-832C-B7CA-A6E7-A28038C16192}"/>
              </a:ext>
            </a:extLst>
          </p:cNvPr>
          <p:cNvSpPr>
            <a:spLocks noGrp="1"/>
          </p:cNvSpPr>
          <p:nvPr>
            <p:ph type="sldNum" sz="quarter" idx="11"/>
          </p:nvPr>
        </p:nvSpPr>
        <p:spPr>
          <a:xfrm>
            <a:off x="17695001" y="9786651"/>
            <a:ext cx="327013" cy="307777"/>
          </a:xfrm>
        </p:spPr>
        <p:txBody>
          <a:bodyPr/>
          <a:lstStyle/>
          <a:p>
            <a:r>
              <a:rPr lang="en-US" altLang="ja-JP"/>
              <a:t>48</a:t>
            </a:r>
            <a:endParaRPr lang="ja-JP" altLang="en-US" dirty="0"/>
          </a:p>
        </p:txBody>
      </p:sp>
      <p:grpSp>
        <p:nvGrpSpPr>
          <p:cNvPr id="7" name="グループ化 6">
            <a:extLst>
              <a:ext uri="{FF2B5EF4-FFF2-40B4-BE49-F238E27FC236}">
                <a16:creationId xmlns:a16="http://schemas.microsoft.com/office/drawing/2014/main" id="{0450D0B3-C088-680D-E00B-3CFB91D3A674}"/>
              </a:ext>
            </a:extLst>
          </p:cNvPr>
          <p:cNvGrpSpPr/>
          <p:nvPr/>
        </p:nvGrpSpPr>
        <p:grpSpPr>
          <a:xfrm>
            <a:off x="6535172" y="1528749"/>
            <a:ext cx="5217657" cy="7667279"/>
            <a:chOff x="6535172" y="1528749"/>
            <a:chExt cx="5217657" cy="7667279"/>
          </a:xfrm>
        </p:grpSpPr>
        <p:sp>
          <p:nvSpPr>
            <p:cNvPr id="24" name="四角形: 角を丸くする 23">
              <a:extLst>
                <a:ext uri="{FF2B5EF4-FFF2-40B4-BE49-F238E27FC236}">
                  <a16:creationId xmlns:a16="http://schemas.microsoft.com/office/drawing/2014/main" id="{B0B4BE14-3F27-D5E7-CEA2-1C04B12DE53E}"/>
                </a:ext>
              </a:extLst>
            </p:cNvPr>
            <p:cNvSpPr/>
            <p:nvPr/>
          </p:nvSpPr>
          <p:spPr>
            <a:xfrm>
              <a:off x="6535172" y="1859807"/>
              <a:ext cx="5217657" cy="7336221"/>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四角形: 角を丸くする 26">
              <a:extLst>
                <a:ext uri="{FF2B5EF4-FFF2-40B4-BE49-F238E27FC236}">
                  <a16:creationId xmlns:a16="http://schemas.microsoft.com/office/drawing/2014/main" id="{863D1F53-F5F5-49CA-807A-0672D71E43A3}"/>
                </a:ext>
              </a:extLst>
            </p:cNvPr>
            <p:cNvSpPr/>
            <p:nvPr/>
          </p:nvSpPr>
          <p:spPr>
            <a:xfrm>
              <a:off x="8311411" y="1528749"/>
              <a:ext cx="1665179"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行動２</a:t>
              </a:r>
              <a:endParaRPr kumimoji="1" lang="ja-JP" altLang="en-US" sz="2800" spc="100" dirty="0">
                <a:solidFill>
                  <a:schemeClr val="bg1"/>
                </a:solidFill>
                <a:latin typeface="+mj-ea"/>
                <a:ea typeface="+mj-ea"/>
              </a:endParaRPr>
            </a:p>
          </p:txBody>
        </p:sp>
        <p:sp>
          <p:nvSpPr>
            <p:cNvPr id="30" name="テキスト ボックス 29">
              <a:extLst>
                <a:ext uri="{FF2B5EF4-FFF2-40B4-BE49-F238E27FC236}">
                  <a16:creationId xmlns:a16="http://schemas.microsoft.com/office/drawing/2014/main" id="{4C980FBA-7BF7-DD5D-2AFB-7331CA05987F}"/>
                </a:ext>
              </a:extLst>
            </p:cNvPr>
            <p:cNvSpPr txBox="1"/>
            <p:nvPr/>
          </p:nvSpPr>
          <p:spPr>
            <a:xfrm>
              <a:off x="7348637" y="6544911"/>
              <a:ext cx="3590727" cy="1142749"/>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2800" b="0" i="0" u="none" strike="noStrike" kern="1200" cap="none" spc="0" normalizeH="0" baseline="0" noProof="0" dirty="0">
                  <a:ln>
                    <a:noFill/>
                  </a:ln>
                  <a:effectLst/>
                  <a:uLnTx/>
                  <a:uFillTx/>
                  <a:latin typeface="+mn-ea"/>
                  <a:cs typeface="+mn-cs"/>
                </a:rPr>
                <a:t>個人情報や機密情報の</a:t>
              </a:r>
              <a:br>
                <a:rPr kumimoji="1" lang="en-US" altLang="ja-JP" sz="2800" b="0" i="0" u="none" strike="noStrike" kern="1200" cap="none" spc="0" normalizeH="0" baseline="0" noProof="0" dirty="0">
                  <a:ln>
                    <a:noFill/>
                  </a:ln>
                  <a:effectLst/>
                  <a:uLnTx/>
                  <a:uFillTx/>
                  <a:latin typeface="+mn-ea"/>
                  <a:cs typeface="+mn-cs"/>
                </a:rPr>
              </a:br>
              <a:r>
                <a:rPr kumimoji="1" lang="ja-JP" altLang="en-US" sz="2800" b="0" i="0" u="none" strike="noStrike" kern="1200" cap="none" spc="0" normalizeH="0" baseline="0" noProof="0" dirty="0">
                  <a:ln>
                    <a:noFill/>
                  </a:ln>
                  <a:effectLst/>
                  <a:uLnTx/>
                  <a:uFillTx/>
                  <a:latin typeface="+mn-ea"/>
                  <a:cs typeface="+mn-cs"/>
                </a:rPr>
                <a:t>入力は</a:t>
              </a:r>
              <a:r>
                <a:rPr kumimoji="1" lang="ja-JP" altLang="en-US" sz="3600" b="0" i="0" u="none" strike="noStrike" kern="1200" cap="none" spc="0" normalizeH="0" baseline="0" noProof="0" dirty="0">
                  <a:ln>
                    <a:noFill/>
                  </a:ln>
                  <a:solidFill>
                    <a:schemeClr val="accent3"/>
                  </a:solidFill>
                  <a:effectLst/>
                  <a:uLnTx/>
                  <a:uFillTx/>
                  <a:latin typeface="+mj-ea"/>
                  <a:ea typeface="+mj-ea"/>
                  <a:cs typeface="+mn-cs"/>
                </a:rPr>
                <a:t>必要最小限</a:t>
              </a:r>
              <a:endParaRPr kumimoji="1" lang="ja-JP" altLang="en-US" sz="2800" b="0" i="0" u="none" strike="noStrike" kern="1200" cap="none" spc="0" normalizeH="0" baseline="0" noProof="0" dirty="0">
                <a:ln>
                  <a:noFill/>
                </a:ln>
                <a:solidFill>
                  <a:schemeClr val="accent3"/>
                </a:solidFill>
                <a:effectLst/>
                <a:uLnTx/>
                <a:uFillTx/>
                <a:latin typeface="+mj-ea"/>
                <a:ea typeface="+mj-ea"/>
                <a:cs typeface="+mn-cs"/>
              </a:endParaRPr>
            </a:p>
          </p:txBody>
        </p:sp>
        <p:pic>
          <p:nvPicPr>
            <p:cNvPr id="6" name="図 5">
              <a:extLst>
                <a:ext uri="{FF2B5EF4-FFF2-40B4-BE49-F238E27FC236}">
                  <a16:creationId xmlns:a16="http://schemas.microsoft.com/office/drawing/2014/main" id="{18A60E53-B3D2-CE91-9A5A-1213F2912B31}"/>
                </a:ext>
              </a:extLst>
            </p:cNvPr>
            <p:cNvPicPr>
              <a:picLocks noChangeAspect="1"/>
            </p:cNvPicPr>
            <p:nvPr/>
          </p:nvPicPr>
          <p:blipFill>
            <a:blip r:embed="rId4"/>
            <a:stretch>
              <a:fillRect/>
            </a:stretch>
          </p:blipFill>
          <p:spPr>
            <a:xfrm>
              <a:off x="7912501" y="3304143"/>
              <a:ext cx="2462997" cy="2225233"/>
            </a:xfrm>
            <a:prstGeom prst="rect">
              <a:avLst/>
            </a:prstGeom>
          </p:spPr>
        </p:pic>
      </p:grpSp>
      <p:grpSp>
        <p:nvGrpSpPr>
          <p:cNvPr id="10" name="グループ化 9">
            <a:extLst>
              <a:ext uri="{FF2B5EF4-FFF2-40B4-BE49-F238E27FC236}">
                <a16:creationId xmlns:a16="http://schemas.microsoft.com/office/drawing/2014/main" id="{FC0E9EC7-39A1-B93B-73EE-60629848530E}"/>
              </a:ext>
            </a:extLst>
          </p:cNvPr>
          <p:cNvGrpSpPr/>
          <p:nvPr/>
        </p:nvGrpSpPr>
        <p:grpSpPr>
          <a:xfrm>
            <a:off x="12178602" y="1528749"/>
            <a:ext cx="5217657" cy="7667279"/>
            <a:chOff x="12178602" y="1528749"/>
            <a:chExt cx="5217657" cy="7667279"/>
          </a:xfrm>
        </p:grpSpPr>
        <p:sp>
          <p:nvSpPr>
            <p:cNvPr id="25" name="四角形: 角を丸くする 24">
              <a:extLst>
                <a:ext uri="{FF2B5EF4-FFF2-40B4-BE49-F238E27FC236}">
                  <a16:creationId xmlns:a16="http://schemas.microsoft.com/office/drawing/2014/main" id="{646F049C-621D-881E-B8F8-F0CC889AF6A8}"/>
                </a:ext>
              </a:extLst>
            </p:cNvPr>
            <p:cNvSpPr/>
            <p:nvPr/>
          </p:nvSpPr>
          <p:spPr>
            <a:xfrm>
              <a:off x="12178602" y="1860332"/>
              <a:ext cx="5217657" cy="7335696"/>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8" name="四角形: 角を丸くする 27">
              <a:extLst>
                <a:ext uri="{FF2B5EF4-FFF2-40B4-BE49-F238E27FC236}">
                  <a16:creationId xmlns:a16="http://schemas.microsoft.com/office/drawing/2014/main" id="{06D7D366-0C5A-29B6-2A75-360303972A1F}"/>
                </a:ext>
              </a:extLst>
            </p:cNvPr>
            <p:cNvSpPr/>
            <p:nvPr/>
          </p:nvSpPr>
          <p:spPr>
            <a:xfrm>
              <a:off x="13954846" y="1528749"/>
              <a:ext cx="1665179"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行動３</a:t>
              </a:r>
            </a:p>
          </p:txBody>
        </p:sp>
        <p:sp>
          <p:nvSpPr>
            <p:cNvPr id="31" name="テキスト ボックス 30">
              <a:extLst>
                <a:ext uri="{FF2B5EF4-FFF2-40B4-BE49-F238E27FC236}">
                  <a16:creationId xmlns:a16="http://schemas.microsoft.com/office/drawing/2014/main" id="{B5CBE654-7E6A-D6B8-5A6B-CBE26EE7B323}"/>
                </a:ext>
              </a:extLst>
            </p:cNvPr>
            <p:cNvSpPr txBox="1"/>
            <p:nvPr/>
          </p:nvSpPr>
          <p:spPr>
            <a:xfrm>
              <a:off x="12530402" y="6544911"/>
              <a:ext cx="4514056" cy="1664174"/>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2800" b="0" i="0" u="none" strike="noStrike" kern="1200" cap="none" spc="0" normalizeH="0" baseline="0" noProof="0" dirty="0">
                  <a:ln>
                    <a:noFill/>
                  </a:ln>
                  <a:solidFill>
                    <a:srgbClr val="3C3C3C"/>
                  </a:solidFill>
                  <a:effectLst/>
                  <a:uLnTx/>
                  <a:uFillTx/>
                  <a:latin typeface="+mn-ea"/>
                  <a:cs typeface="+mn-cs"/>
                </a:rPr>
                <a:t>生成</a:t>
              </a:r>
              <a:r>
                <a:rPr kumimoji="1" lang="en-US" altLang="ja-JP" sz="2800" b="0" i="0" u="none" strike="noStrike" kern="1200" cap="none" spc="0" normalizeH="0" baseline="0" noProof="0" dirty="0">
                  <a:ln>
                    <a:noFill/>
                  </a:ln>
                  <a:solidFill>
                    <a:srgbClr val="3C3C3C"/>
                  </a:solidFill>
                  <a:effectLst/>
                  <a:uLnTx/>
                  <a:uFillTx/>
                  <a:latin typeface="+mn-ea"/>
                  <a:cs typeface="+mn-cs"/>
                </a:rPr>
                <a:t>AI</a:t>
              </a:r>
              <a:r>
                <a:rPr kumimoji="1" lang="ja-JP" altLang="en-US" sz="2800" b="0" i="0" u="none" strike="noStrike" kern="1200" cap="none" spc="0" normalizeH="0" baseline="0" noProof="0" dirty="0">
                  <a:ln>
                    <a:noFill/>
                  </a:ln>
                  <a:solidFill>
                    <a:srgbClr val="3C3C3C"/>
                  </a:solidFill>
                  <a:effectLst/>
                  <a:uLnTx/>
                  <a:uFillTx/>
                  <a:latin typeface="+mn-ea"/>
                  <a:cs typeface="+mn-cs"/>
                </a:rPr>
                <a:t>に入力したデータを</a:t>
              </a:r>
              <a:br>
                <a:rPr kumimoji="1" lang="en-US" altLang="ja-JP" sz="2800" b="0" i="0" u="none" strike="noStrike" kern="1200" cap="none" spc="0" normalizeH="0" baseline="0" noProof="0" dirty="0">
                  <a:ln>
                    <a:noFill/>
                  </a:ln>
                  <a:solidFill>
                    <a:srgbClr val="3C3C3C"/>
                  </a:solidFill>
                  <a:effectLst/>
                  <a:uLnTx/>
                  <a:uFillTx/>
                  <a:latin typeface="+mn-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学習に使わせないように</a:t>
              </a:r>
              <a:br>
                <a:rPr kumimoji="1" lang="en-US" altLang="ja-JP" sz="3200" b="0" i="0" u="none" strike="noStrike" kern="1200" cap="none" spc="0" normalizeH="0" baseline="0" noProof="0" dirty="0">
                  <a:ln>
                    <a:noFill/>
                  </a:ln>
                  <a:solidFill>
                    <a:schemeClr val="accent3"/>
                  </a:solidFill>
                  <a:effectLst/>
                  <a:uLnTx/>
                  <a:uFillTx/>
                  <a:latin typeface="+mj-ea"/>
                  <a:ea typeface="+mj-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設定</a:t>
              </a:r>
              <a:r>
                <a:rPr kumimoji="1" lang="ja-JP" altLang="en-US" sz="2400" b="0" i="0" u="none" strike="noStrike" kern="1200" cap="none" spc="0" normalizeH="0" baseline="0" noProof="0" dirty="0">
                  <a:ln>
                    <a:noFill/>
                  </a:ln>
                  <a:solidFill>
                    <a:srgbClr val="3C3C3C"/>
                  </a:solidFill>
                  <a:effectLst/>
                  <a:uLnTx/>
                  <a:uFillTx/>
                  <a:latin typeface="+mn-ea"/>
                  <a:cs typeface="+mn-cs"/>
                </a:rPr>
                <a:t>（オプトアウト設定）</a:t>
              </a:r>
              <a:r>
                <a:rPr kumimoji="1" lang="en-US" altLang="ja-JP" sz="2400" b="0" i="0" u="none" strike="noStrike" kern="1200" cap="none" spc="0" normalizeH="0" baseline="30000" noProof="0" dirty="0">
                  <a:ln>
                    <a:noFill/>
                  </a:ln>
                  <a:solidFill>
                    <a:srgbClr val="3C3C3C"/>
                  </a:solidFill>
                  <a:effectLst/>
                  <a:uLnTx/>
                  <a:uFillTx/>
                  <a:latin typeface="+mn-ea"/>
                  <a:cs typeface="+mn-cs"/>
                </a:rPr>
                <a:t>※1</a:t>
              </a:r>
            </a:p>
          </p:txBody>
        </p:sp>
        <p:pic>
          <p:nvPicPr>
            <p:cNvPr id="9" name="図 8">
              <a:extLst>
                <a:ext uri="{FF2B5EF4-FFF2-40B4-BE49-F238E27FC236}">
                  <a16:creationId xmlns:a16="http://schemas.microsoft.com/office/drawing/2014/main" id="{25D653D9-191F-3570-FB41-814BDCFFF54D}"/>
                </a:ext>
              </a:extLst>
            </p:cNvPr>
            <p:cNvPicPr>
              <a:picLocks noChangeAspect="1"/>
            </p:cNvPicPr>
            <p:nvPr/>
          </p:nvPicPr>
          <p:blipFill>
            <a:blip r:embed="rId5"/>
            <a:stretch>
              <a:fillRect/>
            </a:stretch>
          </p:blipFill>
          <p:spPr>
            <a:xfrm>
              <a:off x="13086499" y="2881040"/>
              <a:ext cx="3401863" cy="3054361"/>
            </a:xfrm>
            <a:prstGeom prst="rect">
              <a:avLst/>
            </a:prstGeom>
          </p:spPr>
        </p:pic>
      </p:grpSp>
      <p:grpSp>
        <p:nvGrpSpPr>
          <p:cNvPr id="13" name="グループ化 12">
            <a:extLst>
              <a:ext uri="{FF2B5EF4-FFF2-40B4-BE49-F238E27FC236}">
                <a16:creationId xmlns:a16="http://schemas.microsoft.com/office/drawing/2014/main" id="{4A1A6F4B-C90D-ABE5-9642-437911EC99CB}"/>
              </a:ext>
            </a:extLst>
          </p:cNvPr>
          <p:cNvGrpSpPr/>
          <p:nvPr/>
        </p:nvGrpSpPr>
        <p:grpSpPr>
          <a:xfrm>
            <a:off x="919446" y="1528749"/>
            <a:ext cx="5217657" cy="7667278"/>
            <a:chOff x="919446" y="1528749"/>
            <a:chExt cx="5217657" cy="7667278"/>
          </a:xfrm>
        </p:grpSpPr>
        <p:sp>
          <p:nvSpPr>
            <p:cNvPr id="3" name="四角形: 角を丸くする 2">
              <a:extLst>
                <a:ext uri="{FF2B5EF4-FFF2-40B4-BE49-F238E27FC236}">
                  <a16:creationId xmlns:a16="http://schemas.microsoft.com/office/drawing/2014/main" id="{AB9D31AA-F8D5-1013-6054-669A2C44EFEE}"/>
                </a:ext>
              </a:extLst>
            </p:cNvPr>
            <p:cNvSpPr/>
            <p:nvPr/>
          </p:nvSpPr>
          <p:spPr>
            <a:xfrm>
              <a:off x="919446" y="1859806"/>
              <a:ext cx="5217657" cy="7336221"/>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四角形: 角を丸くする 25">
              <a:extLst>
                <a:ext uri="{FF2B5EF4-FFF2-40B4-BE49-F238E27FC236}">
                  <a16:creationId xmlns:a16="http://schemas.microsoft.com/office/drawing/2014/main" id="{E272AFE6-9C21-8282-5399-806DC99A1557}"/>
                </a:ext>
              </a:extLst>
            </p:cNvPr>
            <p:cNvSpPr/>
            <p:nvPr/>
          </p:nvSpPr>
          <p:spPr>
            <a:xfrm>
              <a:off x="2667982" y="1528749"/>
              <a:ext cx="1665179"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行動１</a:t>
              </a:r>
            </a:p>
          </p:txBody>
        </p:sp>
        <p:sp>
          <p:nvSpPr>
            <p:cNvPr id="29" name="テキスト ボックス 28">
              <a:extLst>
                <a:ext uri="{FF2B5EF4-FFF2-40B4-BE49-F238E27FC236}">
                  <a16:creationId xmlns:a16="http://schemas.microsoft.com/office/drawing/2014/main" id="{6E4556D5-EB4A-83BB-C5CA-08F1A235D283}"/>
                </a:ext>
              </a:extLst>
            </p:cNvPr>
            <p:cNvSpPr txBox="1"/>
            <p:nvPr/>
          </p:nvSpPr>
          <p:spPr>
            <a:xfrm>
              <a:off x="1265635" y="6544911"/>
              <a:ext cx="4525278" cy="2033505"/>
            </a:xfrm>
            <a:prstGeom prst="rect">
              <a:avLst/>
            </a:prstGeom>
            <a:noFill/>
          </p:spPr>
          <p:txBody>
            <a:bodyPr wrap="none" lIns="0" tIns="0" rIns="0" bIns="0" anchor="t" anchorCtr="0">
              <a:spAutoFit/>
            </a:bodyPr>
            <a:lstStyle/>
            <a:p>
              <a:pPr marL="0" marR="0" lvl="0" indent="0" defTabSz="1371509" rtl="0" eaLnBrk="1" fontAlgn="auto" latinLnBrk="0" hangingPunct="1">
                <a:lnSpc>
                  <a:spcPct val="120000"/>
                </a:lnSpc>
                <a:spcBef>
                  <a:spcPts val="0"/>
                </a:spcBef>
                <a:spcAft>
                  <a:spcPts val="1800"/>
                </a:spcAft>
                <a:buClrTx/>
                <a:buSzTx/>
                <a:buFontTx/>
                <a:buNone/>
                <a:tabLst/>
                <a:defRPr/>
              </a:pPr>
              <a:r>
                <a:rPr kumimoji="1" lang="ja-JP" altLang="en-US" sz="2400" b="0" i="0" u="none" strike="noStrike" kern="1200" cap="none" spc="0" normalizeH="0" baseline="0" noProof="0" dirty="0">
                  <a:ln>
                    <a:noFill/>
                  </a:ln>
                  <a:solidFill>
                    <a:srgbClr val="3C3C3C"/>
                  </a:solidFill>
                  <a:effectLst/>
                  <a:uLnTx/>
                  <a:uFillTx/>
                  <a:latin typeface="+mn-ea"/>
                  <a:cs typeface="+mn-cs"/>
                </a:rPr>
                <a:t>生成</a:t>
              </a:r>
              <a:r>
                <a:rPr kumimoji="1" lang="en-US" altLang="ja-JP" sz="2400" b="0" i="0" u="none" strike="noStrike" kern="1200" cap="none" spc="0" normalizeH="0" baseline="0" noProof="0" dirty="0">
                  <a:ln>
                    <a:noFill/>
                  </a:ln>
                  <a:solidFill>
                    <a:srgbClr val="3C3C3C"/>
                  </a:solidFill>
                  <a:effectLst/>
                  <a:uLnTx/>
                  <a:uFillTx/>
                  <a:latin typeface="+mn-ea"/>
                  <a:cs typeface="+mn-cs"/>
                </a:rPr>
                <a:t>AI</a:t>
              </a:r>
              <a:r>
                <a:rPr kumimoji="1" lang="ja-JP" altLang="en-US" sz="2400" b="0" i="0" u="none" strike="noStrike" kern="1200" cap="none" spc="0" normalizeH="0" baseline="0" noProof="0" dirty="0">
                  <a:ln>
                    <a:noFill/>
                  </a:ln>
                  <a:solidFill>
                    <a:srgbClr val="3C3C3C"/>
                  </a:solidFill>
                  <a:effectLst/>
                  <a:uLnTx/>
                  <a:uFillTx/>
                  <a:latin typeface="+mn-ea"/>
                  <a:cs typeface="+mn-cs"/>
                </a:rPr>
                <a:t>サービスの</a:t>
              </a: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規約を確認</a:t>
              </a:r>
              <a:br>
                <a:rPr kumimoji="1" lang="en-US" altLang="ja-JP" sz="3200" b="0" i="0" u="none" strike="noStrike" kern="1200" cap="none" spc="0" normalizeH="0" baseline="0" noProof="0" dirty="0">
                  <a:ln>
                    <a:noFill/>
                  </a:ln>
                  <a:solidFill>
                    <a:schemeClr val="accent3"/>
                  </a:solidFill>
                  <a:effectLst/>
                  <a:uLnTx/>
                  <a:uFillTx/>
                  <a:latin typeface="+mn-ea"/>
                  <a:cs typeface="+mn-cs"/>
                </a:rPr>
              </a:br>
              <a:r>
                <a:rPr kumimoji="1" lang="ja-JP" altLang="en-US" sz="2400" b="0" i="0" u="none" strike="noStrike" kern="1200" cap="none" spc="0" normalizeH="0" baseline="0" noProof="0" dirty="0">
                  <a:ln>
                    <a:noFill/>
                  </a:ln>
                  <a:solidFill>
                    <a:srgbClr val="3C3C3C"/>
                  </a:solidFill>
                  <a:effectLst/>
                  <a:uLnTx/>
                  <a:uFillTx/>
                  <a:latin typeface="+mn-ea"/>
                  <a:cs typeface="+mn-cs"/>
                </a:rPr>
                <a:t>（データの利用目的や範囲等）</a:t>
              </a:r>
              <a:br>
                <a:rPr kumimoji="1" lang="ja-JP" altLang="en-US" sz="2400" b="0" i="0" u="none" strike="noStrike" kern="1200" cap="none" spc="0" normalizeH="0" baseline="0" noProof="0" dirty="0">
                  <a:ln>
                    <a:noFill/>
                  </a:ln>
                  <a:solidFill>
                    <a:srgbClr val="3C3C3C"/>
                  </a:solidFill>
                  <a:effectLst/>
                  <a:uLnTx/>
                  <a:uFillTx/>
                  <a:latin typeface="+mn-ea"/>
                  <a:cs typeface="+mn-cs"/>
                </a:rPr>
              </a:br>
              <a:r>
                <a:rPr kumimoji="1" lang="ja-JP" altLang="en-US" sz="2400" b="0" i="0" u="none" strike="noStrike" kern="1200" cap="none" spc="0" normalizeH="0" baseline="0" noProof="0" dirty="0">
                  <a:ln>
                    <a:noFill/>
                  </a:ln>
                  <a:solidFill>
                    <a:srgbClr val="3C3C3C"/>
                  </a:solidFill>
                  <a:effectLst/>
                  <a:uLnTx/>
                  <a:uFillTx/>
                  <a:latin typeface="+mn-ea"/>
                  <a:cs typeface="+mn-cs"/>
                </a:rPr>
                <a:t>また利用規約の変更時には</a:t>
              </a:r>
              <a:br>
                <a:rPr kumimoji="1" lang="en-US" altLang="ja-JP" sz="2400" b="0" i="0" u="none" strike="noStrike" kern="1200" cap="none" spc="0" normalizeH="0" baseline="0" noProof="0" dirty="0">
                  <a:ln>
                    <a:noFill/>
                  </a:ln>
                  <a:solidFill>
                    <a:srgbClr val="3C3C3C"/>
                  </a:solidFill>
                  <a:effectLst/>
                  <a:uLnTx/>
                  <a:uFillTx/>
                  <a:latin typeface="+mn-ea"/>
                  <a:cs typeface="+mn-cs"/>
                </a:rPr>
              </a:br>
              <a:r>
                <a:rPr kumimoji="1" lang="ja-JP" altLang="en-US" sz="3200" b="0" i="0" u="none" strike="noStrike" kern="1200" cap="none" spc="0" normalizeH="0" baseline="0" noProof="0" dirty="0">
                  <a:ln>
                    <a:noFill/>
                  </a:ln>
                  <a:solidFill>
                    <a:schemeClr val="accent3"/>
                  </a:solidFill>
                  <a:effectLst/>
                  <a:uLnTx/>
                  <a:uFillTx/>
                  <a:latin typeface="+mj-ea"/>
                  <a:ea typeface="+mj-ea"/>
                  <a:cs typeface="+mn-cs"/>
                </a:rPr>
                <a:t>変更箇所をチェック</a:t>
              </a:r>
              <a:endParaRPr kumimoji="1" lang="ja-JP" altLang="en-US" sz="2800" b="0" i="0" u="none" strike="noStrike" kern="1200" cap="none" spc="0" normalizeH="0" baseline="0" noProof="0" dirty="0">
                <a:ln>
                  <a:noFill/>
                </a:ln>
                <a:solidFill>
                  <a:schemeClr val="accent3"/>
                </a:solidFill>
                <a:effectLst/>
                <a:uLnTx/>
                <a:uFillTx/>
                <a:latin typeface="+mj-ea"/>
                <a:ea typeface="+mj-ea"/>
                <a:cs typeface="+mn-cs"/>
              </a:endParaRPr>
            </a:p>
          </p:txBody>
        </p:sp>
        <p:pic>
          <p:nvPicPr>
            <p:cNvPr id="12" name="図 11">
              <a:extLst>
                <a:ext uri="{FF2B5EF4-FFF2-40B4-BE49-F238E27FC236}">
                  <a16:creationId xmlns:a16="http://schemas.microsoft.com/office/drawing/2014/main" id="{F001E7E3-40A3-C57B-0EFD-4E70A35C5DC7}"/>
                </a:ext>
              </a:extLst>
            </p:cNvPr>
            <p:cNvPicPr>
              <a:picLocks noChangeAspect="1"/>
            </p:cNvPicPr>
            <p:nvPr/>
          </p:nvPicPr>
          <p:blipFill>
            <a:blip r:embed="rId6"/>
            <a:stretch>
              <a:fillRect/>
            </a:stretch>
          </p:blipFill>
          <p:spPr>
            <a:xfrm>
              <a:off x="2322287" y="2881040"/>
              <a:ext cx="2950720" cy="3029975"/>
            </a:xfrm>
            <a:prstGeom prst="rect">
              <a:avLst/>
            </a:prstGeom>
          </p:spPr>
        </p:pic>
      </p:grpSp>
    </p:spTree>
    <p:extLst>
      <p:ext uri="{BB962C8B-B14F-4D97-AF65-F5344CB8AC3E}">
        <p14:creationId xmlns:p14="http://schemas.microsoft.com/office/powerpoint/2010/main" val="1322059660"/>
      </p:ext>
    </p:extLst>
  </p:cSld>
  <p:clrMapOvr>
    <a:masterClrMapping/>
  </p:clrMapOvr>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9" name="テキスト ボックス 1128">
            <a:extLst>
              <a:ext uri="{FF2B5EF4-FFF2-40B4-BE49-F238E27FC236}">
                <a16:creationId xmlns:a16="http://schemas.microsoft.com/office/drawing/2014/main" id="{96B8B509-DEB4-969D-10C6-28CEC96BF46E}"/>
              </a:ext>
            </a:extLst>
          </p:cNvPr>
          <p:cNvSpPr txBox="1"/>
          <p:nvPr/>
        </p:nvSpPr>
        <p:spPr>
          <a:xfrm>
            <a:off x="754084" y="2365580"/>
            <a:ext cx="5845132" cy="1520801"/>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生成</a:t>
            </a:r>
            <a:r>
              <a:rPr kumimoji="1" lang="en-US" altLang="ja-JP" sz="2800" spc="50" dirty="0">
                <a:latin typeface="+mn-ea"/>
              </a:rPr>
              <a:t>AI</a:t>
            </a:r>
            <a:r>
              <a:rPr kumimoji="1" lang="ja-JP" altLang="en-US" sz="2800" spc="50" dirty="0">
                <a:latin typeface="+mn-ea"/>
              </a:rPr>
              <a:t>に入力すべきでない、個人情報や機密情報の例として、適切なものはどれか。</a:t>
            </a:r>
            <a:r>
              <a:rPr kumimoji="1" lang="ja-JP" altLang="en-US" sz="2800" spc="50" dirty="0">
                <a:solidFill>
                  <a:schemeClr val="accent3"/>
                </a:solidFill>
                <a:latin typeface="+mn-ea"/>
              </a:rPr>
              <a:t>全て</a:t>
            </a:r>
            <a:r>
              <a:rPr kumimoji="1" lang="ja-JP" altLang="en-US" sz="2800" spc="50" dirty="0">
                <a:latin typeface="+mn-ea"/>
              </a:rPr>
              <a:t>選んでください</a:t>
            </a:r>
            <a:r>
              <a:rPr lang="ja-JP" altLang="en-US" sz="2800" spc="50" dirty="0">
                <a:latin typeface="+mn-ea"/>
              </a:rPr>
              <a:t>。</a:t>
            </a:r>
            <a:endParaRPr kumimoji="1" lang="ja-JP" altLang="en-US" sz="2800" spc="50" dirty="0">
              <a:latin typeface="+mn-ea"/>
            </a:endParaRPr>
          </a:p>
        </p:txBody>
      </p:sp>
      <p:grpSp>
        <p:nvGrpSpPr>
          <p:cNvPr id="43" name="グループ化 42">
            <a:extLst>
              <a:ext uri="{FF2B5EF4-FFF2-40B4-BE49-F238E27FC236}">
                <a16:creationId xmlns:a16="http://schemas.microsoft.com/office/drawing/2014/main" id="{DE169D9C-7202-96D8-21ED-63C0A8CDFE6B}"/>
              </a:ext>
            </a:extLst>
          </p:cNvPr>
          <p:cNvGrpSpPr/>
          <p:nvPr/>
        </p:nvGrpSpPr>
        <p:grpSpPr>
          <a:xfrm>
            <a:off x="7945117" y="724103"/>
            <a:ext cx="5972706" cy="8837206"/>
            <a:chOff x="7945117" y="728997"/>
            <a:chExt cx="5972706" cy="8837206"/>
          </a:xfrm>
        </p:grpSpPr>
        <p:grpSp>
          <p:nvGrpSpPr>
            <p:cNvPr id="38" name="グループ化 37">
              <a:extLst>
                <a:ext uri="{FF2B5EF4-FFF2-40B4-BE49-F238E27FC236}">
                  <a16:creationId xmlns:a16="http://schemas.microsoft.com/office/drawing/2014/main" id="{1A1A81FE-61D2-52D2-7F28-51DCAD64C81C}"/>
                </a:ext>
              </a:extLst>
            </p:cNvPr>
            <p:cNvGrpSpPr/>
            <p:nvPr/>
          </p:nvGrpSpPr>
          <p:grpSpPr>
            <a:xfrm>
              <a:off x="7945117" y="728997"/>
              <a:ext cx="5972706" cy="1800000"/>
              <a:chOff x="7945117" y="1234999"/>
              <a:chExt cx="5972706" cy="1800000"/>
            </a:xfrm>
          </p:grpSpPr>
          <p:sp>
            <p:nvSpPr>
              <p:cNvPr id="13" name="テキスト ボックス 12">
                <a:extLst>
                  <a:ext uri="{FF2B5EF4-FFF2-40B4-BE49-F238E27FC236}">
                    <a16:creationId xmlns:a16="http://schemas.microsoft.com/office/drawing/2014/main" id="{20930E40-724B-183F-F377-411F3B12D1D6}"/>
                  </a:ext>
                </a:extLst>
              </p:cNvPr>
              <p:cNvSpPr txBox="1"/>
              <p:nvPr userDrawn="1"/>
            </p:nvSpPr>
            <p:spPr>
              <a:xfrm>
                <a:off x="8916454" y="1875377"/>
                <a:ext cx="5001369"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知人のメールアドレス一覧</a:t>
                </a:r>
              </a:p>
            </p:txBody>
          </p:sp>
          <p:sp>
            <p:nvSpPr>
              <p:cNvPr id="14" name="テキスト ボックス 13">
                <a:extLst>
                  <a:ext uri="{FF2B5EF4-FFF2-40B4-BE49-F238E27FC236}">
                    <a16:creationId xmlns:a16="http://schemas.microsoft.com/office/drawing/2014/main" id="{E8302694-4A3C-EF60-C0A1-AA23A3011E2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39" name="グループ化 38">
              <a:extLst>
                <a:ext uri="{FF2B5EF4-FFF2-40B4-BE49-F238E27FC236}">
                  <a16:creationId xmlns:a16="http://schemas.microsoft.com/office/drawing/2014/main" id="{9AFFD3BA-9662-F4C2-ACEF-53E8A72F820E}"/>
                </a:ext>
              </a:extLst>
            </p:cNvPr>
            <p:cNvGrpSpPr/>
            <p:nvPr/>
          </p:nvGrpSpPr>
          <p:grpSpPr>
            <a:xfrm>
              <a:off x="7945117" y="3074733"/>
              <a:ext cx="4722364" cy="1800000"/>
              <a:chOff x="7945117" y="3367623"/>
              <a:chExt cx="4722364" cy="1800000"/>
            </a:xfrm>
          </p:grpSpPr>
          <p:sp>
            <p:nvSpPr>
              <p:cNvPr id="11" name="テキスト ボックス 10">
                <a:extLst>
                  <a:ext uri="{FF2B5EF4-FFF2-40B4-BE49-F238E27FC236}">
                    <a16:creationId xmlns:a16="http://schemas.microsoft.com/office/drawing/2014/main" id="{A91CF0A5-B45A-D5C7-2CA9-A2955D80CF20}"/>
                  </a:ext>
                </a:extLst>
              </p:cNvPr>
              <p:cNvSpPr txBox="1"/>
              <p:nvPr/>
            </p:nvSpPr>
            <p:spPr>
              <a:xfrm>
                <a:off x="8916454" y="4008001"/>
                <a:ext cx="3751027"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役員会議の発言メモ</a:t>
                </a:r>
              </a:p>
            </p:txBody>
          </p:sp>
          <p:sp>
            <p:nvSpPr>
              <p:cNvPr id="35" name="テキスト ボックス 34">
                <a:extLst>
                  <a:ext uri="{FF2B5EF4-FFF2-40B4-BE49-F238E27FC236}">
                    <a16:creationId xmlns:a16="http://schemas.microsoft.com/office/drawing/2014/main" id="{9640002A-13EE-5A19-8ABA-246A6BD3BA9A}"/>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40" name="グループ化 39">
              <a:extLst>
                <a:ext uri="{FF2B5EF4-FFF2-40B4-BE49-F238E27FC236}">
                  <a16:creationId xmlns:a16="http://schemas.microsoft.com/office/drawing/2014/main" id="{34B4FF4C-446E-420A-CF4A-81B112F366BA}"/>
                </a:ext>
              </a:extLst>
            </p:cNvPr>
            <p:cNvGrpSpPr/>
            <p:nvPr/>
          </p:nvGrpSpPr>
          <p:grpSpPr>
            <a:xfrm>
              <a:off x="7945117" y="5420469"/>
              <a:ext cx="5972706" cy="1800000"/>
              <a:chOff x="7945117" y="5500579"/>
              <a:chExt cx="5972706" cy="1800000"/>
            </a:xfrm>
          </p:grpSpPr>
          <p:sp>
            <p:nvSpPr>
              <p:cNvPr id="9" name="テキスト ボックス 8">
                <a:extLst>
                  <a:ext uri="{FF2B5EF4-FFF2-40B4-BE49-F238E27FC236}">
                    <a16:creationId xmlns:a16="http://schemas.microsoft.com/office/drawing/2014/main" id="{AA6F2BF5-A2B7-83C3-EBD2-89CE6292ED10}"/>
                  </a:ext>
                </a:extLst>
              </p:cNvPr>
              <p:cNvSpPr txBox="1"/>
              <p:nvPr/>
            </p:nvSpPr>
            <p:spPr>
              <a:xfrm>
                <a:off x="8916454" y="6140957"/>
                <a:ext cx="5001369"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クラス名簿を撮影した写真</a:t>
                </a:r>
              </a:p>
            </p:txBody>
          </p:sp>
          <p:sp>
            <p:nvSpPr>
              <p:cNvPr id="36" name="テキスト ボックス 35">
                <a:extLst>
                  <a:ext uri="{FF2B5EF4-FFF2-40B4-BE49-F238E27FC236}">
                    <a16:creationId xmlns:a16="http://schemas.microsoft.com/office/drawing/2014/main" id="{20BE5682-581B-922A-98A6-180C22D8A15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41" name="グループ化 40">
              <a:extLst>
                <a:ext uri="{FF2B5EF4-FFF2-40B4-BE49-F238E27FC236}">
                  <a16:creationId xmlns:a16="http://schemas.microsoft.com/office/drawing/2014/main" id="{0DC2B69C-F8CB-34F4-4648-ED0DEA965496}"/>
                </a:ext>
              </a:extLst>
            </p:cNvPr>
            <p:cNvGrpSpPr/>
            <p:nvPr/>
          </p:nvGrpSpPr>
          <p:grpSpPr>
            <a:xfrm>
              <a:off x="7945117" y="7766203"/>
              <a:ext cx="3055241" cy="1800000"/>
              <a:chOff x="7945117" y="7633369"/>
              <a:chExt cx="3055241" cy="1800000"/>
            </a:xfrm>
          </p:grpSpPr>
          <p:sp>
            <p:nvSpPr>
              <p:cNvPr id="7" name="テキスト ボックス 6">
                <a:extLst>
                  <a:ext uri="{FF2B5EF4-FFF2-40B4-BE49-F238E27FC236}">
                    <a16:creationId xmlns:a16="http://schemas.microsoft.com/office/drawing/2014/main" id="{73A5C44B-BB9B-148E-6C37-947486EA742C}"/>
                  </a:ext>
                </a:extLst>
              </p:cNvPr>
              <p:cNvSpPr txBox="1"/>
              <p:nvPr/>
            </p:nvSpPr>
            <p:spPr>
              <a:xfrm>
                <a:off x="8916454" y="8273747"/>
                <a:ext cx="2083904"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自分の趣味</a:t>
                </a:r>
              </a:p>
            </p:txBody>
          </p:sp>
          <p:sp>
            <p:nvSpPr>
              <p:cNvPr id="37" name="テキスト ボックス 36">
                <a:extLst>
                  <a:ext uri="{FF2B5EF4-FFF2-40B4-BE49-F238E27FC236}">
                    <a16:creationId xmlns:a16="http://schemas.microsoft.com/office/drawing/2014/main" id="{7435CC64-39E7-77C8-A4BB-78AF98003321}"/>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74C213E9-DDB7-2FCF-1A68-64447B38D50B}"/>
              </a:ext>
            </a:extLst>
          </p:cNvPr>
          <p:cNvSpPr>
            <a:spLocks noGrp="1"/>
          </p:cNvSpPr>
          <p:nvPr>
            <p:ph type="sldNum" sz="quarter" idx="11"/>
          </p:nvPr>
        </p:nvSpPr>
        <p:spPr>
          <a:xfrm>
            <a:off x="17695001" y="9786651"/>
            <a:ext cx="327013" cy="307777"/>
          </a:xfrm>
        </p:spPr>
        <p:txBody>
          <a:bodyPr/>
          <a:lstStyle/>
          <a:p>
            <a:r>
              <a:rPr lang="en-US" altLang="ja-JP"/>
              <a:t>49</a:t>
            </a:r>
            <a:endParaRPr lang="ja-JP" altLang="en-US" dirty="0"/>
          </a:p>
        </p:txBody>
      </p:sp>
    </p:spTree>
    <p:extLst>
      <p:ext uri="{BB962C8B-B14F-4D97-AF65-F5344CB8AC3E}">
        <p14:creationId xmlns:p14="http://schemas.microsoft.com/office/powerpoint/2010/main" val="6612611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22" name="グループ化 1121">
            <a:extLst>
              <a:ext uri="{FF2B5EF4-FFF2-40B4-BE49-F238E27FC236}">
                <a16:creationId xmlns:a16="http://schemas.microsoft.com/office/drawing/2014/main" id="{D10F81F1-9686-FFB7-48FC-6CC4767863F1}"/>
              </a:ext>
            </a:extLst>
          </p:cNvPr>
          <p:cNvGrpSpPr/>
          <p:nvPr/>
        </p:nvGrpSpPr>
        <p:grpSpPr>
          <a:xfrm>
            <a:off x="2127509" y="1215449"/>
            <a:ext cx="14032983" cy="7854514"/>
            <a:chOff x="1106195" y="850224"/>
            <a:chExt cx="6931611" cy="3879748"/>
          </a:xfrm>
        </p:grpSpPr>
        <p:grpSp>
          <p:nvGrpSpPr>
            <p:cNvPr id="1123" name="グループ化 1122">
              <a:extLst>
                <a:ext uri="{FF2B5EF4-FFF2-40B4-BE49-F238E27FC236}">
                  <a16:creationId xmlns:a16="http://schemas.microsoft.com/office/drawing/2014/main" id="{8B08DD3A-AFBB-F6B2-BF6A-EDF537A4A6A2}"/>
                </a:ext>
              </a:extLst>
            </p:cNvPr>
            <p:cNvGrpSpPr/>
            <p:nvPr/>
          </p:nvGrpSpPr>
          <p:grpSpPr>
            <a:xfrm>
              <a:off x="1106197" y="850224"/>
              <a:ext cx="6931609" cy="826390"/>
              <a:chOff x="1106197" y="850224"/>
              <a:chExt cx="6931609" cy="826390"/>
            </a:xfrm>
          </p:grpSpPr>
          <p:sp>
            <p:nvSpPr>
              <p:cNvPr id="1151" name="正方形/長方形 1">
                <a:extLst>
                  <a:ext uri="{FF2B5EF4-FFF2-40B4-BE49-F238E27FC236}">
                    <a16:creationId xmlns:a16="http://schemas.microsoft.com/office/drawing/2014/main" id="{AD04D013-3152-F8A1-016A-E5528E0B941A}"/>
                  </a:ext>
                </a:extLst>
              </p:cNvPr>
              <p:cNvSpPr/>
              <p:nvPr/>
            </p:nvSpPr>
            <p:spPr>
              <a:xfrm>
                <a:off x="1106197" y="850224"/>
                <a:ext cx="3432950" cy="826390"/>
              </a:xfrm>
              <a:prstGeom prst="roundRect">
                <a:avLst>
                  <a:gd name="adj" fmla="val 1092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152" name="正方形/長方形 10">
                <a:extLst>
                  <a:ext uri="{FF2B5EF4-FFF2-40B4-BE49-F238E27FC236}">
                    <a16:creationId xmlns:a16="http://schemas.microsoft.com/office/drawing/2014/main" id="{C7492BD3-05A4-D813-2C48-99E6FAB699EB}"/>
                  </a:ext>
                </a:extLst>
              </p:cNvPr>
              <p:cNvSpPr/>
              <p:nvPr/>
            </p:nvSpPr>
            <p:spPr>
              <a:xfrm>
                <a:off x="4604855" y="850225"/>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基礎知識</a:t>
                </a:r>
              </a:p>
            </p:txBody>
          </p:sp>
          <p:sp>
            <p:nvSpPr>
              <p:cNvPr id="1153" name="正方形/長方形 14">
                <a:extLst>
                  <a:ext uri="{FF2B5EF4-FFF2-40B4-BE49-F238E27FC236}">
                    <a16:creationId xmlns:a16="http://schemas.microsoft.com/office/drawing/2014/main" id="{2263B2CF-C319-F1CC-AD99-3E1390FA24B9}"/>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154" name="正方形/長方形 1">
                <a:extLst>
                  <a:ext uri="{FF2B5EF4-FFF2-40B4-BE49-F238E27FC236}">
                    <a16:creationId xmlns:a16="http://schemas.microsoft.com/office/drawing/2014/main" id="{CAAD091A-22FC-30B2-FEED-1D6EC4B852CF}"/>
                  </a:ext>
                </a:extLst>
              </p:cNvPr>
              <p:cNvSpPr/>
              <p:nvPr/>
            </p:nvSpPr>
            <p:spPr>
              <a:xfrm>
                <a:off x="4342033" y="850224"/>
                <a:ext cx="197114" cy="82639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55" name="正方形/長方形 10">
                <a:extLst>
                  <a:ext uri="{FF2B5EF4-FFF2-40B4-BE49-F238E27FC236}">
                    <a16:creationId xmlns:a16="http://schemas.microsoft.com/office/drawing/2014/main" id="{B1182218-6C58-E78D-DE36-1F46C80D4B4C}"/>
                  </a:ext>
                </a:extLst>
              </p:cNvPr>
              <p:cNvSpPr/>
              <p:nvPr/>
            </p:nvSpPr>
            <p:spPr>
              <a:xfrm>
                <a:off x="4604855" y="850225"/>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56" name="正方形/長方形 14">
                <a:extLst>
                  <a:ext uri="{FF2B5EF4-FFF2-40B4-BE49-F238E27FC236}">
                    <a16:creationId xmlns:a16="http://schemas.microsoft.com/office/drawing/2014/main" id="{A381CE17-F535-F245-7AA3-3415EDB525A5}"/>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24" name="グループ化 1123">
              <a:extLst>
                <a:ext uri="{FF2B5EF4-FFF2-40B4-BE49-F238E27FC236}">
                  <a16:creationId xmlns:a16="http://schemas.microsoft.com/office/drawing/2014/main" id="{A235EAE0-A099-45E8-CBDC-11B36EFDDBA6}"/>
                </a:ext>
              </a:extLst>
            </p:cNvPr>
            <p:cNvGrpSpPr/>
            <p:nvPr/>
          </p:nvGrpSpPr>
          <p:grpSpPr>
            <a:xfrm>
              <a:off x="1106197" y="1722737"/>
              <a:ext cx="6931608" cy="826390"/>
              <a:chOff x="1106197" y="1722737"/>
              <a:chExt cx="6931608" cy="826390"/>
            </a:xfrm>
          </p:grpSpPr>
          <p:sp>
            <p:nvSpPr>
              <p:cNvPr id="1144" name="正方形/長方形 2">
                <a:extLst>
                  <a:ext uri="{FF2B5EF4-FFF2-40B4-BE49-F238E27FC236}">
                    <a16:creationId xmlns:a16="http://schemas.microsoft.com/office/drawing/2014/main" id="{53CDD695-DCAC-CBE9-0CF0-CDE7525578CA}"/>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45" name="正方形/長方形 21">
                <a:extLst>
                  <a:ext uri="{FF2B5EF4-FFF2-40B4-BE49-F238E27FC236}">
                    <a16:creationId xmlns:a16="http://schemas.microsoft.com/office/drawing/2014/main" id="{3D47EA60-C8B6-1A9A-FDAD-92FCC40C1174}"/>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46" name="正方形/長方形 22">
                <a:extLst>
                  <a:ext uri="{FF2B5EF4-FFF2-40B4-BE49-F238E27FC236}">
                    <a16:creationId xmlns:a16="http://schemas.microsoft.com/office/drawing/2014/main" id="{DA17E7A9-FB76-66D8-A7EB-F313E1C3C40C}"/>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147" name="正方形/長方形 2">
                <a:extLst>
                  <a:ext uri="{FF2B5EF4-FFF2-40B4-BE49-F238E27FC236}">
                    <a16:creationId xmlns:a16="http://schemas.microsoft.com/office/drawing/2014/main" id="{D18FCA14-B576-51C6-8EF1-2FF01556A922}"/>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48" name="正方形/長方形 21">
                <a:extLst>
                  <a:ext uri="{FF2B5EF4-FFF2-40B4-BE49-F238E27FC236}">
                    <a16:creationId xmlns:a16="http://schemas.microsoft.com/office/drawing/2014/main" id="{E4A2E382-FFF6-2EDD-734C-FCBC58259B2C}"/>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49" name="正方形/長方形 22">
                <a:extLst>
                  <a:ext uri="{FF2B5EF4-FFF2-40B4-BE49-F238E27FC236}">
                    <a16:creationId xmlns:a16="http://schemas.microsoft.com/office/drawing/2014/main" id="{6683DC9B-5A02-29DF-5B57-4635EFE86D22}"/>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25" name="グループ化 1124">
              <a:extLst>
                <a:ext uri="{FF2B5EF4-FFF2-40B4-BE49-F238E27FC236}">
                  <a16:creationId xmlns:a16="http://schemas.microsoft.com/office/drawing/2014/main" id="{04DDD204-00BD-8E9D-AF35-53F41026455C}"/>
                </a:ext>
              </a:extLst>
            </p:cNvPr>
            <p:cNvGrpSpPr/>
            <p:nvPr/>
          </p:nvGrpSpPr>
          <p:grpSpPr>
            <a:xfrm>
              <a:off x="1106197" y="2595250"/>
              <a:ext cx="6931608" cy="1698026"/>
              <a:chOff x="1106197" y="2595250"/>
              <a:chExt cx="6931608" cy="1698026"/>
            </a:xfrm>
          </p:grpSpPr>
          <p:sp>
            <p:nvSpPr>
              <p:cNvPr id="1133" name="正方形/長方形 3">
                <a:extLst>
                  <a:ext uri="{FF2B5EF4-FFF2-40B4-BE49-F238E27FC236}">
                    <a16:creationId xmlns:a16="http://schemas.microsoft.com/office/drawing/2014/main" id="{728D7D57-F325-ECD0-5236-48433DD67994}"/>
                  </a:ext>
                </a:extLst>
              </p:cNvPr>
              <p:cNvSpPr/>
              <p:nvPr/>
            </p:nvSpPr>
            <p:spPr>
              <a:xfrm>
                <a:off x="1106197" y="2595251"/>
                <a:ext cx="3432950" cy="1698025"/>
              </a:xfrm>
              <a:prstGeom prst="roundRect">
                <a:avLst>
                  <a:gd name="adj" fmla="val 5315"/>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34" name="正方形/長方形 24">
                <a:extLst>
                  <a:ext uri="{FF2B5EF4-FFF2-40B4-BE49-F238E27FC236}">
                    <a16:creationId xmlns:a16="http://schemas.microsoft.com/office/drawing/2014/main" id="{893FA6FC-83F9-D7BC-6EA7-C6D35C272594}"/>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35" name="正方形/長方形 25">
                <a:extLst>
                  <a:ext uri="{FF2B5EF4-FFF2-40B4-BE49-F238E27FC236}">
                    <a16:creationId xmlns:a16="http://schemas.microsoft.com/office/drawing/2014/main" id="{E11A04CF-952E-5B63-1C86-3715920762B3}"/>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36" name="正方形/長方形 27">
                <a:extLst>
                  <a:ext uri="{FF2B5EF4-FFF2-40B4-BE49-F238E27FC236}">
                    <a16:creationId xmlns:a16="http://schemas.microsoft.com/office/drawing/2014/main" id="{035DB80B-E1BC-FA36-6648-53D6FE5014A2}"/>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37" name="正方形/長方形 28">
                <a:extLst>
                  <a:ext uri="{FF2B5EF4-FFF2-40B4-BE49-F238E27FC236}">
                    <a16:creationId xmlns:a16="http://schemas.microsoft.com/office/drawing/2014/main" id="{36AC12FC-C2D6-69CC-4650-1ABF8E5F4E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38" name="正方形/長方形 3">
                <a:extLst>
                  <a:ext uri="{FF2B5EF4-FFF2-40B4-BE49-F238E27FC236}">
                    <a16:creationId xmlns:a16="http://schemas.microsoft.com/office/drawing/2014/main" id="{0BD693F8-415B-11EE-3C58-2ECB7825FF7A}"/>
                  </a:ext>
                </a:extLst>
              </p:cNvPr>
              <p:cNvSpPr/>
              <p:nvPr/>
            </p:nvSpPr>
            <p:spPr>
              <a:xfrm>
                <a:off x="4342033" y="2595251"/>
                <a:ext cx="197114" cy="16980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39" name="正方形/長方形 24">
                <a:extLst>
                  <a:ext uri="{FF2B5EF4-FFF2-40B4-BE49-F238E27FC236}">
                    <a16:creationId xmlns:a16="http://schemas.microsoft.com/office/drawing/2014/main" id="{DAE6391D-5893-A91E-B296-8D50279D144B}"/>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40" name="正方形/長方形 25">
                <a:extLst>
                  <a:ext uri="{FF2B5EF4-FFF2-40B4-BE49-F238E27FC236}">
                    <a16:creationId xmlns:a16="http://schemas.microsoft.com/office/drawing/2014/main" id="{A2409FBD-9030-A75C-CF9F-3CE39AA548E3}"/>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41" name="正方形/長方形 27">
                <a:extLst>
                  <a:ext uri="{FF2B5EF4-FFF2-40B4-BE49-F238E27FC236}">
                    <a16:creationId xmlns:a16="http://schemas.microsoft.com/office/drawing/2014/main" id="{24617E4D-5F8C-7884-B8C1-CB02BCCA2858}"/>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42" name="正方形/長方形 28">
                <a:extLst>
                  <a:ext uri="{FF2B5EF4-FFF2-40B4-BE49-F238E27FC236}">
                    <a16:creationId xmlns:a16="http://schemas.microsoft.com/office/drawing/2014/main" id="{884F6D78-8D70-7A3D-EACC-AEF8081211A3}"/>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26" name="グループ化 1125">
              <a:extLst>
                <a:ext uri="{FF2B5EF4-FFF2-40B4-BE49-F238E27FC236}">
                  <a16:creationId xmlns:a16="http://schemas.microsoft.com/office/drawing/2014/main" id="{A26EA1E0-4448-8F44-B5D8-F2FCE85BD998}"/>
                </a:ext>
              </a:extLst>
            </p:cNvPr>
            <p:cNvGrpSpPr/>
            <p:nvPr/>
          </p:nvGrpSpPr>
          <p:grpSpPr>
            <a:xfrm>
              <a:off x="1106195" y="4339400"/>
              <a:ext cx="6931610" cy="390572"/>
              <a:chOff x="1106195" y="4339400"/>
              <a:chExt cx="6931610" cy="390572"/>
            </a:xfrm>
          </p:grpSpPr>
          <p:grpSp>
            <p:nvGrpSpPr>
              <p:cNvPr id="1127" name="グループ化 1126">
                <a:extLst>
                  <a:ext uri="{FF2B5EF4-FFF2-40B4-BE49-F238E27FC236}">
                    <a16:creationId xmlns:a16="http://schemas.microsoft.com/office/drawing/2014/main" id="{219B83CC-7691-7DF1-A6E2-F557C405357F}"/>
                  </a:ext>
                </a:extLst>
              </p:cNvPr>
              <p:cNvGrpSpPr/>
              <p:nvPr/>
            </p:nvGrpSpPr>
            <p:grpSpPr>
              <a:xfrm>
                <a:off x="1106195" y="4339400"/>
                <a:ext cx="3432951" cy="390572"/>
                <a:chOff x="1106195" y="4338245"/>
                <a:chExt cx="3432951" cy="416539"/>
              </a:xfrm>
            </p:grpSpPr>
            <p:sp>
              <p:nvSpPr>
                <p:cNvPr id="1131" name="正方形/長方形 1">
                  <a:extLst>
                    <a:ext uri="{FF2B5EF4-FFF2-40B4-BE49-F238E27FC236}">
                      <a16:creationId xmlns:a16="http://schemas.microsoft.com/office/drawing/2014/main" id="{916AE444-9501-1363-5134-B6BF52D290E1}"/>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32" name="正方形/長方形 1">
                  <a:extLst>
                    <a:ext uri="{FF2B5EF4-FFF2-40B4-BE49-F238E27FC236}">
                      <a16:creationId xmlns:a16="http://schemas.microsoft.com/office/drawing/2014/main" id="{2039B088-4D05-90A2-B8AD-0C5B97C04968}"/>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28" name="グループ化 1127">
                <a:extLst>
                  <a:ext uri="{FF2B5EF4-FFF2-40B4-BE49-F238E27FC236}">
                    <a16:creationId xmlns:a16="http://schemas.microsoft.com/office/drawing/2014/main" id="{F903BD77-89D6-345A-A059-C6EE057EBC81}"/>
                  </a:ext>
                </a:extLst>
              </p:cNvPr>
              <p:cNvGrpSpPr/>
              <p:nvPr/>
            </p:nvGrpSpPr>
            <p:grpSpPr>
              <a:xfrm>
                <a:off x="4604855" y="4339400"/>
                <a:ext cx="3432950" cy="390572"/>
                <a:chOff x="4757254" y="1002625"/>
                <a:chExt cx="3212890" cy="390572"/>
              </a:xfrm>
            </p:grpSpPr>
            <p:sp>
              <p:nvSpPr>
                <p:cNvPr id="1129" name="正方形/長方形 10">
                  <a:extLst>
                    <a:ext uri="{FF2B5EF4-FFF2-40B4-BE49-F238E27FC236}">
                      <a16:creationId xmlns:a16="http://schemas.microsoft.com/office/drawing/2014/main" id="{4718AFB1-A08F-9D51-D412-02814C09CEA0}"/>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30" name="正方形/長方形 10">
                  <a:extLst>
                    <a:ext uri="{FF2B5EF4-FFF2-40B4-BE49-F238E27FC236}">
                      <a16:creationId xmlns:a16="http://schemas.microsoft.com/office/drawing/2014/main" id="{F1A18BC8-D0D9-11FB-25F5-DE8F54B93F42}"/>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8" name="テキスト ボックス 7">
            <a:extLst>
              <a:ext uri="{FF2B5EF4-FFF2-40B4-BE49-F238E27FC236}">
                <a16:creationId xmlns:a16="http://schemas.microsoft.com/office/drawing/2014/main" id="{725A39CB-ECD1-214A-DC6B-9D738A3A4ADF}"/>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9" name="テキスト ボックス 8">
            <a:extLst>
              <a:ext uri="{FF2B5EF4-FFF2-40B4-BE49-F238E27FC236}">
                <a16:creationId xmlns:a16="http://schemas.microsoft.com/office/drawing/2014/main" id="{96B31C43-A92F-8556-0690-95326F9504B6}"/>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1143" name="スライド番号プレースホルダー 1142">
            <a:extLst>
              <a:ext uri="{FF2B5EF4-FFF2-40B4-BE49-F238E27FC236}">
                <a16:creationId xmlns:a16="http://schemas.microsoft.com/office/drawing/2014/main" id="{1FA81C22-8081-7F09-AED9-4CFC3897EABC}"/>
              </a:ext>
            </a:extLst>
          </p:cNvPr>
          <p:cNvSpPr>
            <a:spLocks noGrp="1"/>
          </p:cNvSpPr>
          <p:nvPr>
            <p:ph type="sldNum" sz="quarter" idx="11"/>
          </p:nvPr>
        </p:nvSpPr>
        <p:spPr>
          <a:xfrm>
            <a:off x="17776755" y="9786651"/>
            <a:ext cx="163506" cy="307777"/>
          </a:xfrm>
        </p:spPr>
        <p:txBody>
          <a:bodyPr/>
          <a:lstStyle/>
          <a:p>
            <a:r>
              <a:rPr lang="en-US" altLang="ja-JP"/>
              <a:t>5</a:t>
            </a:r>
            <a:endParaRPr lang="ja-JP" altLang="en-US" dirty="0"/>
          </a:p>
        </p:txBody>
      </p:sp>
      <p:sp>
        <p:nvSpPr>
          <p:cNvPr id="5" name="テキスト ボックス 4">
            <a:extLst>
              <a:ext uri="{FF2B5EF4-FFF2-40B4-BE49-F238E27FC236}">
                <a16:creationId xmlns:a16="http://schemas.microsoft.com/office/drawing/2014/main" id="{6217A46F-AFA4-5383-B3A8-1DE97B64D9D0}"/>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4" name="図 3">
            <a:extLst>
              <a:ext uri="{FF2B5EF4-FFF2-40B4-BE49-F238E27FC236}">
                <a16:creationId xmlns:a16="http://schemas.microsoft.com/office/drawing/2014/main" id="{86E6FFFC-8EFF-7D14-B2C3-3C1CCB3CBB5C}"/>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276428772"/>
      </p:ext>
    </p:extLst>
  </p:cSld>
  <p:clrMapOvr>
    <a:masterClrMapping/>
  </p:clrMapOvr>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E24D9239-BB49-2D53-534F-3D2022E94D3E}"/>
              </a:ext>
            </a:extLst>
          </p:cNvPr>
          <p:cNvGrpSpPr/>
          <p:nvPr/>
        </p:nvGrpSpPr>
        <p:grpSpPr>
          <a:xfrm>
            <a:off x="7945117" y="724103"/>
            <a:ext cx="9454429" cy="8979164"/>
            <a:chOff x="7945117" y="728997"/>
            <a:chExt cx="9454429" cy="8979164"/>
          </a:xfrm>
        </p:grpSpPr>
        <p:grpSp>
          <p:nvGrpSpPr>
            <p:cNvPr id="4" name="グループ化 3">
              <a:extLst>
                <a:ext uri="{FF2B5EF4-FFF2-40B4-BE49-F238E27FC236}">
                  <a16:creationId xmlns:a16="http://schemas.microsoft.com/office/drawing/2014/main" id="{3C784A7D-79B7-81A7-7077-4EC56363A721}"/>
                </a:ext>
              </a:extLst>
            </p:cNvPr>
            <p:cNvGrpSpPr/>
            <p:nvPr/>
          </p:nvGrpSpPr>
          <p:grpSpPr>
            <a:xfrm>
              <a:off x="7945117" y="728997"/>
              <a:ext cx="5972706" cy="1800000"/>
              <a:chOff x="7945117" y="1234999"/>
              <a:chExt cx="5972706" cy="1800000"/>
            </a:xfrm>
          </p:grpSpPr>
          <p:sp>
            <p:nvSpPr>
              <p:cNvPr id="14" name="テキスト ボックス 13">
                <a:extLst>
                  <a:ext uri="{FF2B5EF4-FFF2-40B4-BE49-F238E27FC236}">
                    <a16:creationId xmlns:a16="http://schemas.microsoft.com/office/drawing/2014/main" id="{3E260416-F877-7026-E185-D3BA5FF0218F}"/>
                  </a:ext>
                </a:extLst>
              </p:cNvPr>
              <p:cNvSpPr txBox="1"/>
              <p:nvPr userDrawn="1"/>
            </p:nvSpPr>
            <p:spPr>
              <a:xfrm>
                <a:off x="8916454" y="1875377"/>
                <a:ext cx="5001369"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知人のメールアドレス一覧</a:t>
                </a:r>
              </a:p>
            </p:txBody>
          </p:sp>
          <p:sp>
            <p:nvSpPr>
              <p:cNvPr id="15" name="テキスト ボックス 14">
                <a:extLst>
                  <a:ext uri="{FF2B5EF4-FFF2-40B4-BE49-F238E27FC236}">
                    <a16:creationId xmlns:a16="http://schemas.microsoft.com/office/drawing/2014/main" id="{2E0E0A13-7C29-BBF8-BC48-0CEA3AC9CBF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5" name="グループ化 4">
              <a:extLst>
                <a:ext uri="{FF2B5EF4-FFF2-40B4-BE49-F238E27FC236}">
                  <a16:creationId xmlns:a16="http://schemas.microsoft.com/office/drawing/2014/main" id="{BAEB5254-D151-97CB-F7B1-509923E9B6C2}"/>
                </a:ext>
              </a:extLst>
            </p:cNvPr>
            <p:cNvGrpSpPr/>
            <p:nvPr/>
          </p:nvGrpSpPr>
          <p:grpSpPr>
            <a:xfrm>
              <a:off x="7945117" y="3074733"/>
              <a:ext cx="4722364" cy="1800000"/>
              <a:chOff x="7945117" y="3367623"/>
              <a:chExt cx="4722364" cy="1800000"/>
            </a:xfrm>
          </p:grpSpPr>
          <p:sp>
            <p:nvSpPr>
              <p:cNvPr id="12" name="テキスト ボックス 11">
                <a:extLst>
                  <a:ext uri="{FF2B5EF4-FFF2-40B4-BE49-F238E27FC236}">
                    <a16:creationId xmlns:a16="http://schemas.microsoft.com/office/drawing/2014/main" id="{645EBB7B-6511-C451-A124-D8FA8D550CA5}"/>
                  </a:ext>
                </a:extLst>
              </p:cNvPr>
              <p:cNvSpPr txBox="1"/>
              <p:nvPr/>
            </p:nvSpPr>
            <p:spPr>
              <a:xfrm>
                <a:off x="8916454" y="4008001"/>
                <a:ext cx="3751027"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役員会議の発言メモ</a:t>
                </a:r>
              </a:p>
            </p:txBody>
          </p:sp>
          <p:sp>
            <p:nvSpPr>
              <p:cNvPr id="13" name="テキスト ボックス 12">
                <a:extLst>
                  <a:ext uri="{FF2B5EF4-FFF2-40B4-BE49-F238E27FC236}">
                    <a16:creationId xmlns:a16="http://schemas.microsoft.com/office/drawing/2014/main" id="{20223E2C-7887-C37B-7803-3A4F29361497}"/>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6" name="グループ化 5">
              <a:extLst>
                <a:ext uri="{FF2B5EF4-FFF2-40B4-BE49-F238E27FC236}">
                  <a16:creationId xmlns:a16="http://schemas.microsoft.com/office/drawing/2014/main" id="{95F6B668-239E-B936-3434-8260D195A9C8}"/>
                </a:ext>
              </a:extLst>
            </p:cNvPr>
            <p:cNvGrpSpPr/>
            <p:nvPr/>
          </p:nvGrpSpPr>
          <p:grpSpPr>
            <a:xfrm>
              <a:off x="7945117" y="5420469"/>
              <a:ext cx="5972706" cy="1800000"/>
              <a:chOff x="7945117" y="5500579"/>
              <a:chExt cx="5972706" cy="1800000"/>
            </a:xfrm>
          </p:grpSpPr>
          <p:sp>
            <p:nvSpPr>
              <p:cNvPr id="10" name="テキスト ボックス 9">
                <a:extLst>
                  <a:ext uri="{FF2B5EF4-FFF2-40B4-BE49-F238E27FC236}">
                    <a16:creationId xmlns:a16="http://schemas.microsoft.com/office/drawing/2014/main" id="{7C1C7F75-FC10-9CAA-84E0-045CB126D6B3}"/>
                  </a:ext>
                </a:extLst>
              </p:cNvPr>
              <p:cNvSpPr txBox="1"/>
              <p:nvPr/>
            </p:nvSpPr>
            <p:spPr>
              <a:xfrm>
                <a:off x="8916454" y="6140957"/>
                <a:ext cx="5001369" cy="519245"/>
              </a:xfrm>
              <a:prstGeom prst="rect">
                <a:avLst/>
              </a:prstGeom>
              <a:noFill/>
            </p:spPr>
            <p:txBody>
              <a:bodyPr wrap="none" lIns="0" tIns="0" rIns="0" bIns="0" rtlCol="0" anchor="ctr">
                <a:spAutoFit/>
              </a:bodyPr>
              <a:lstStyle/>
              <a:p>
                <a:pPr algn="l">
                  <a:lnSpc>
                    <a:spcPct val="110000"/>
                  </a:lnSpc>
                </a:pPr>
                <a:r>
                  <a:rPr kumimoji="1" lang="ja-JP" altLang="en-US" sz="3200" spc="50" dirty="0">
                    <a:latin typeface="+mn-ea"/>
                    <a:ea typeface="+mn-ea"/>
                  </a:rPr>
                  <a:t>クラス名簿を撮影した写真</a:t>
                </a:r>
              </a:p>
            </p:txBody>
          </p:sp>
          <p:sp>
            <p:nvSpPr>
              <p:cNvPr id="11" name="テキスト ボックス 10">
                <a:extLst>
                  <a:ext uri="{FF2B5EF4-FFF2-40B4-BE49-F238E27FC236}">
                    <a16:creationId xmlns:a16="http://schemas.microsoft.com/office/drawing/2014/main" id="{C55D20EE-664C-809B-F461-FDE5E708DB2C}"/>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7" name="グループ化 6">
              <a:extLst>
                <a:ext uri="{FF2B5EF4-FFF2-40B4-BE49-F238E27FC236}">
                  <a16:creationId xmlns:a16="http://schemas.microsoft.com/office/drawing/2014/main" id="{192597E0-700A-F8DC-09D1-4145591001C0}"/>
                </a:ext>
              </a:extLst>
            </p:cNvPr>
            <p:cNvGrpSpPr/>
            <p:nvPr/>
          </p:nvGrpSpPr>
          <p:grpSpPr>
            <a:xfrm>
              <a:off x="7945117" y="7693699"/>
              <a:ext cx="9454429" cy="2014462"/>
              <a:chOff x="7945117" y="7560865"/>
              <a:chExt cx="9454429" cy="2014462"/>
            </a:xfrm>
          </p:grpSpPr>
          <p:sp>
            <p:nvSpPr>
              <p:cNvPr id="8" name="テキスト ボックス 7">
                <a:extLst>
                  <a:ext uri="{FF2B5EF4-FFF2-40B4-BE49-F238E27FC236}">
                    <a16:creationId xmlns:a16="http://schemas.microsoft.com/office/drawing/2014/main" id="{3E54B3A2-7EDC-8582-6AFA-0F81B1802866}"/>
                  </a:ext>
                </a:extLst>
              </p:cNvPr>
              <p:cNvSpPr txBox="1"/>
              <p:nvPr/>
            </p:nvSpPr>
            <p:spPr>
              <a:xfrm>
                <a:off x="8916454" y="7560865"/>
                <a:ext cx="8483092" cy="2014462"/>
              </a:xfrm>
              <a:prstGeom prst="rect">
                <a:avLst/>
              </a:prstGeom>
              <a:noFill/>
            </p:spPr>
            <p:txBody>
              <a:bodyPr wrap="none" lIns="0" tIns="0" rIns="0" bIns="0" rtlCol="0" anchor="ctr">
                <a:spAutoFit/>
              </a:bodyPr>
              <a:lstStyle/>
              <a:p>
                <a:pPr algn="l">
                  <a:lnSpc>
                    <a:spcPct val="110000"/>
                  </a:lnSpc>
                </a:pPr>
                <a:r>
                  <a:rPr kumimoji="1" lang="en-US" altLang="ja-JP" sz="2400" spc="50" dirty="0">
                    <a:solidFill>
                      <a:schemeClr val="accent3"/>
                    </a:solidFill>
                    <a:latin typeface="+mn-ea"/>
                    <a:ea typeface="+mn-ea"/>
                  </a:rPr>
                  <a:t>【</a:t>
                </a:r>
                <a:r>
                  <a:rPr kumimoji="1" lang="ja-JP" altLang="en-US" sz="2400" spc="50" dirty="0">
                    <a:solidFill>
                      <a:schemeClr val="accent3"/>
                    </a:solidFill>
                    <a:latin typeface="+mn-ea"/>
                    <a:ea typeface="+mn-ea"/>
                  </a:rPr>
                  <a:t>解説</a:t>
                </a:r>
                <a:r>
                  <a:rPr kumimoji="1" lang="en-US" altLang="ja-JP" sz="2400" spc="50" dirty="0">
                    <a:solidFill>
                      <a:schemeClr val="accent3"/>
                    </a:solidFill>
                    <a:latin typeface="+mn-ea"/>
                    <a:ea typeface="+mn-ea"/>
                  </a:rPr>
                  <a:t>】</a:t>
                </a:r>
              </a:p>
              <a:p>
                <a:pPr algn="l">
                  <a:lnSpc>
                    <a:spcPct val="110000"/>
                  </a:lnSpc>
                </a:pPr>
                <a:r>
                  <a:rPr kumimoji="1" lang="ja-JP" altLang="en-US" sz="2400" spc="50" dirty="0">
                    <a:solidFill>
                      <a:schemeClr val="accent3"/>
                    </a:solidFill>
                    <a:latin typeface="+mn-ea"/>
                    <a:ea typeface="+mn-ea"/>
                  </a:rPr>
                  <a:t>趣味は、一般的には特定の個人を直接識別するものではない</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ので、個人情報には当てはまらない。ただし、このような</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情報の中にも特定の個人の識別につながる情報がないか</a:t>
                </a:r>
                <a:br>
                  <a:rPr kumimoji="1" lang="en-US" altLang="ja-JP" sz="2400" spc="50" dirty="0">
                    <a:solidFill>
                      <a:schemeClr val="accent3"/>
                    </a:solidFill>
                    <a:latin typeface="+mn-ea"/>
                    <a:ea typeface="+mn-ea"/>
                  </a:rPr>
                </a:br>
                <a:r>
                  <a:rPr kumimoji="1" lang="ja-JP" altLang="en-US" sz="2400" spc="50" dirty="0">
                    <a:solidFill>
                      <a:schemeClr val="accent3"/>
                    </a:solidFill>
                    <a:latin typeface="+mn-ea"/>
                    <a:ea typeface="+mn-ea"/>
                  </a:rPr>
                  <a:t>確認することが必要。</a:t>
                </a:r>
              </a:p>
            </p:txBody>
          </p:sp>
          <p:sp>
            <p:nvSpPr>
              <p:cNvPr id="9" name="テキスト ボックス 8">
                <a:extLst>
                  <a:ext uri="{FF2B5EF4-FFF2-40B4-BE49-F238E27FC236}">
                    <a16:creationId xmlns:a16="http://schemas.microsoft.com/office/drawing/2014/main" id="{378A3E65-3D77-6F80-5685-B18F18DE125A}"/>
                  </a:ext>
                </a:extLst>
              </p:cNvPr>
              <p:cNvSpPr txBox="1">
                <a:spLocks/>
              </p:cNvSpPr>
              <p:nvPr/>
            </p:nvSpPr>
            <p:spPr>
              <a:xfrm>
                <a:off x="7945117" y="763336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16" name="グループ化 15">
            <a:extLst>
              <a:ext uri="{FF2B5EF4-FFF2-40B4-BE49-F238E27FC236}">
                <a16:creationId xmlns:a16="http://schemas.microsoft.com/office/drawing/2014/main" id="{47D12E0D-FF9D-032C-338F-FFC7FA4460F5}"/>
              </a:ext>
            </a:extLst>
          </p:cNvPr>
          <p:cNvGrpSpPr/>
          <p:nvPr/>
        </p:nvGrpSpPr>
        <p:grpSpPr>
          <a:xfrm>
            <a:off x="1593860" y="2604635"/>
            <a:ext cx="4153758" cy="1170649"/>
            <a:chOff x="2073291" y="2604635"/>
            <a:chExt cx="4153758" cy="1170649"/>
          </a:xfrm>
        </p:grpSpPr>
        <p:sp>
          <p:nvSpPr>
            <p:cNvPr id="17" name="四角形: 角を丸くする 16">
              <a:extLst>
                <a:ext uri="{FF2B5EF4-FFF2-40B4-BE49-F238E27FC236}">
                  <a16:creationId xmlns:a16="http://schemas.microsoft.com/office/drawing/2014/main" id="{A8C794EA-5CED-9D22-722C-CC1B7B61F30F}"/>
                </a:ext>
              </a:extLst>
            </p:cNvPr>
            <p:cNvSpPr/>
            <p:nvPr/>
          </p:nvSpPr>
          <p:spPr>
            <a:xfrm>
              <a:off x="2073291" y="2604635"/>
              <a:ext cx="1170649" cy="1170649"/>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8" name="テキスト ボックス 17">
              <a:extLst>
                <a:ext uri="{FF2B5EF4-FFF2-40B4-BE49-F238E27FC236}">
                  <a16:creationId xmlns:a16="http://schemas.microsoft.com/office/drawing/2014/main" id="{1B098226-23C2-2417-7D0C-228CFBAEF536}"/>
                </a:ext>
              </a:extLst>
            </p:cNvPr>
            <p:cNvSpPr txBox="1">
              <a:spLocks/>
            </p:cNvSpPr>
            <p:nvPr/>
          </p:nvSpPr>
          <p:spPr>
            <a:xfrm>
              <a:off x="3607070"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19" name="テキスト ボックス 18">
              <a:extLst>
                <a:ext uri="{FF2B5EF4-FFF2-40B4-BE49-F238E27FC236}">
                  <a16:creationId xmlns:a16="http://schemas.microsoft.com/office/drawing/2014/main" id="{B08AE4FF-994C-4ED5-446A-63583547DF39}"/>
                </a:ext>
              </a:extLst>
            </p:cNvPr>
            <p:cNvSpPr txBox="1">
              <a:spLocks/>
            </p:cNvSpPr>
            <p:nvPr/>
          </p:nvSpPr>
          <p:spPr>
            <a:xfrm>
              <a:off x="4554112"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sp>
          <p:nvSpPr>
            <p:cNvPr id="20" name="テキスト ボックス 19">
              <a:extLst>
                <a:ext uri="{FF2B5EF4-FFF2-40B4-BE49-F238E27FC236}">
                  <a16:creationId xmlns:a16="http://schemas.microsoft.com/office/drawing/2014/main" id="{6738A3F6-3AA3-F27D-868D-16EF025729A4}"/>
                </a:ext>
              </a:extLst>
            </p:cNvPr>
            <p:cNvSpPr txBox="1">
              <a:spLocks/>
            </p:cNvSpPr>
            <p:nvPr/>
          </p:nvSpPr>
          <p:spPr>
            <a:xfrm>
              <a:off x="5501154"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sp>
        <p:nvSpPr>
          <p:cNvPr id="22" name="楕円 21">
            <a:extLst>
              <a:ext uri="{FF2B5EF4-FFF2-40B4-BE49-F238E27FC236}">
                <a16:creationId xmlns:a16="http://schemas.microsoft.com/office/drawing/2014/main" id="{E99C22E3-8319-4AE1-EB43-9DB6E2BAD494}"/>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楕円 22">
            <a:extLst>
              <a:ext uri="{FF2B5EF4-FFF2-40B4-BE49-F238E27FC236}">
                <a16:creationId xmlns:a16="http://schemas.microsoft.com/office/drawing/2014/main" id="{D3FAD1A2-7115-F2F4-E53F-982A6736B807}"/>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5" name="楕円 24">
            <a:extLst>
              <a:ext uri="{FF2B5EF4-FFF2-40B4-BE49-F238E27FC236}">
                <a16:creationId xmlns:a16="http://schemas.microsoft.com/office/drawing/2014/main" id="{77DC4792-DB22-03A6-BCFA-BCA52E638AEC}"/>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6" name="正方形/長方形 25">
            <a:extLst>
              <a:ext uri="{FF2B5EF4-FFF2-40B4-BE49-F238E27FC236}">
                <a16:creationId xmlns:a16="http://schemas.microsoft.com/office/drawing/2014/main" id="{199BB0F4-74FE-02CB-1D55-9E72765D6285}"/>
              </a:ext>
            </a:extLst>
          </p:cNvPr>
          <p:cNvSpPr/>
          <p:nvPr/>
        </p:nvSpPr>
        <p:spPr>
          <a:xfrm>
            <a:off x="499243" y="4052243"/>
            <a:ext cx="6342992" cy="34108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2ACC3FBC-81DA-C42C-427E-F0B8F3208F12}"/>
              </a:ext>
            </a:extLst>
          </p:cNvPr>
          <p:cNvSpPr>
            <a:spLocks noGrp="1"/>
          </p:cNvSpPr>
          <p:nvPr>
            <p:ph type="sldNum" sz="quarter" idx="11"/>
          </p:nvPr>
        </p:nvSpPr>
        <p:spPr>
          <a:xfrm>
            <a:off x="17695001" y="9786651"/>
            <a:ext cx="327013" cy="307777"/>
          </a:xfrm>
        </p:spPr>
        <p:txBody>
          <a:bodyPr/>
          <a:lstStyle/>
          <a:p>
            <a:r>
              <a:rPr lang="en-US" altLang="ja-JP"/>
              <a:t>50</a:t>
            </a:r>
            <a:endParaRPr lang="ja-JP" altLang="en-US" dirty="0"/>
          </a:p>
        </p:txBody>
      </p:sp>
    </p:spTree>
    <p:extLst>
      <p:ext uri="{BB962C8B-B14F-4D97-AF65-F5344CB8AC3E}">
        <p14:creationId xmlns:p14="http://schemas.microsoft.com/office/powerpoint/2010/main" val="144475035"/>
      </p:ext>
    </p:extLst>
  </p:cSld>
  <p:clrMapOvr>
    <a:masterClrMapping/>
  </p:clrMapOvr>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416F79DF-0D3C-D8C2-7EC4-DCB94B3CF18F}"/>
              </a:ext>
            </a:extLst>
          </p:cNvPr>
          <p:cNvSpPr txBox="1"/>
          <p:nvPr/>
        </p:nvSpPr>
        <p:spPr>
          <a:xfrm>
            <a:off x="754084" y="2365580"/>
            <a:ext cx="5845132" cy="2554930"/>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企業で面接を受けた後に送付するお礼メールを生成</a:t>
            </a:r>
            <a:r>
              <a:rPr kumimoji="1" lang="en-US" altLang="ja-JP" sz="2800" spc="50" dirty="0">
                <a:latin typeface="+mn-ea"/>
              </a:rPr>
              <a:t>AI</a:t>
            </a:r>
            <a:r>
              <a:rPr kumimoji="1" lang="ja-JP" altLang="en-US" sz="2800" spc="50" dirty="0">
                <a:latin typeface="+mn-ea"/>
              </a:rPr>
              <a:t>で作成する際に、気を付けるべきこととして、適切なものはどれか。</a:t>
            </a:r>
            <a:r>
              <a:rPr kumimoji="1" lang="ja-JP" altLang="en-US" sz="2800" spc="50" dirty="0">
                <a:solidFill>
                  <a:schemeClr val="accent3"/>
                </a:solidFill>
                <a:latin typeface="+mn-ea"/>
              </a:rPr>
              <a:t>全て</a:t>
            </a:r>
            <a:r>
              <a:rPr kumimoji="1" lang="ja-JP" altLang="en-US" sz="2800" spc="50" dirty="0">
                <a:latin typeface="+mn-ea"/>
              </a:rPr>
              <a:t>選んでください 。</a:t>
            </a:r>
          </a:p>
        </p:txBody>
      </p:sp>
      <p:grpSp>
        <p:nvGrpSpPr>
          <p:cNvPr id="17" name="グループ化 16">
            <a:extLst>
              <a:ext uri="{FF2B5EF4-FFF2-40B4-BE49-F238E27FC236}">
                <a16:creationId xmlns:a16="http://schemas.microsoft.com/office/drawing/2014/main" id="{D79156A0-110B-7D68-B22D-54DCF72009C7}"/>
              </a:ext>
            </a:extLst>
          </p:cNvPr>
          <p:cNvGrpSpPr/>
          <p:nvPr/>
        </p:nvGrpSpPr>
        <p:grpSpPr>
          <a:xfrm>
            <a:off x="7945117" y="724103"/>
            <a:ext cx="9398324" cy="8837206"/>
            <a:chOff x="7945117" y="728997"/>
            <a:chExt cx="9398324" cy="8837206"/>
          </a:xfrm>
        </p:grpSpPr>
        <p:grpSp>
          <p:nvGrpSpPr>
            <p:cNvPr id="18" name="グループ化 17">
              <a:extLst>
                <a:ext uri="{FF2B5EF4-FFF2-40B4-BE49-F238E27FC236}">
                  <a16:creationId xmlns:a16="http://schemas.microsoft.com/office/drawing/2014/main" id="{30626D55-186A-9A13-7D91-256E91C820C9}"/>
                </a:ext>
              </a:extLst>
            </p:cNvPr>
            <p:cNvGrpSpPr/>
            <p:nvPr/>
          </p:nvGrpSpPr>
          <p:grpSpPr>
            <a:xfrm>
              <a:off x="7945117" y="728997"/>
              <a:ext cx="6088122" cy="1800000"/>
              <a:chOff x="7945117" y="1234999"/>
              <a:chExt cx="6088122" cy="1800000"/>
            </a:xfrm>
          </p:grpSpPr>
          <p:sp>
            <p:nvSpPr>
              <p:cNvPr id="28" name="テキスト ボックス 27">
                <a:extLst>
                  <a:ext uri="{FF2B5EF4-FFF2-40B4-BE49-F238E27FC236}">
                    <a16:creationId xmlns:a16="http://schemas.microsoft.com/office/drawing/2014/main" id="{8AA19DFA-C0E3-02E0-AEC1-24842F0E467D}"/>
                  </a:ext>
                </a:extLst>
              </p:cNvPr>
              <p:cNvSpPr txBox="1"/>
              <p:nvPr userDrawn="1"/>
            </p:nvSpPr>
            <p:spPr>
              <a:xfrm>
                <a:off x="8916454" y="1670834"/>
                <a:ext cx="5116785"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お礼メール程度であれば、</a:t>
                </a:r>
                <a:br>
                  <a:rPr kumimoji="1" lang="en-US" altLang="ja-JP" sz="2800" spc="50" dirty="0">
                    <a:latin typeface="+mn-ea"/>
                    <a:ea typeface="+mn-ea"/>
                  </a:rPr>
                </a:br>
                <a:r>
                  <a:rPr kumimoji="1" lang="ja-JP" altLang="en-US" sz="2800" spc="50" dirty="0">
                    <a:latin typeface="+mn-ea"/>
                    <a:ea typeface="+mn-ea"/>
                  </a:rPr>
                  <a:t>特段気を付けるべきものはない</a:t>
                </a:r>
              </a:p>
            </p:txBody>
          </p:sp>
          <p:sp>
            <p:nvSpPr>
              <p:cNvPr id="29" name="テキスト ボックス 28">
                <a:extLst>
                  <a:ext uri="{FF2B5EF4-FFF2-40B4-BE49-F238E27FC236}">
                    <a16:creationId xmlns:a16="http://schemas.microsoft.com/office/drawing/2014/main" id="{3E183DFF-5F9A-504F-26DB-9F207087550B}"/>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19" name="グループ化 18">
              <a:extLst>
                <a:ext uri="{FF2B5EF4-FFF2-40B4-BE49-F238E27FC236}">
                  <a16:creationId xmlns:a16="http://schemas.microsoft.com/office/drawing/2014/main" id="{2A6C65D5-9AB8-C802-C88C-3AB1998D31F3}"/>
                </a:ext>
              </a:extLst>
            </p:cNvPr>
            <p:cNvGrpSpPr/>
            <p:nvPr/>
          </p:nvGrpSpPr>
          <p:grpSpPr>
            <a:xfrm>
              <a:off x="7945117" y="3074733"/>
              <a:ext cx="9398324" cy="1800000"/>
              <a:chOff x="7945117" y="3367623"/>
              <a:chExt cx="9398324" cy="1800000"/>
            </a:xfrm>
          </p:grpSpPr>
          <p:sp>
            <p:nvSpPr>
              <p:cNvPr id="26" name="テキスト ボックス 25">
                <a:extLst>
                  <a:ext uri="{FF2B5EF4-FFF2-40B4-BE49-F238E27FC236}">
                    <a16:creationId xmlns:a16="http://schemas.microsoft.com/office/drawing/2014/main" id="{08916283-DAB1-A013-493A-70A885346924}"/>
                  </a:ext>
                </a:extLst>
              </p:cNvPr>
              <p:cNvSpPr txBox="1"/>
              <p:nvPr/>
            </p:nvSpPr>
            <p:spPr>
              <a:xfrm>
                <a:off x="8916454" y="3803458"/>
                <a:ext cx="8426987"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自分自身の氏名や所属は、</a:t>
                </a:r>
                <a:br>
                  <a:rPr kumimoji="1" lang="en-US" altLang="ja-JP" sz="2800" spc="50" dirty="0">
                    <a:latin typeface="+mn-ea"/>
                    <a:ea typeface="+mn-ea"/>
                  </a:rPr>
                </a:br>
                <a:r>
                  <a:rPr kumimoji="1" lang="ja-JP" altLang="en-US" sz="2800" spc="50" dirty="0">
                    <a:latin typeface="+mn-ea"/>
                    <a:ea typeface="+mn-ea"/>
                  </a:rPr>
                  <a:t>個人情報には当たらないため生成</a:t>
                </a:r>
                <a:r>
                  <a:rPr kumimoji="1" lang="en-US" altLang="ja-JP" sz="2800" spc="50" dirty="0">
                    <a:latin typeface="+mn-ea"/>
                    <a:ea typeface="+mn-ea"/>
                  </a:rPr>
                  <a:t>AI</a:t>
                </a:r>
                <a:r>
                  <a:rPr kumimoji="1" lang="ja-JP" altLang="en-US" sz="2800" spc="50" dirty="0">
                    <a:latin typeface="+mn-ea"/>
                    <a:ea typeface="+mn-ea"/>
                  </a:rPr>
                  <a:t>に入力してよい</a:t>
                </a:r>
              </a:p>
            </p:txBody>
          </p:sp>
          <p:sp>
            <p:nvSpPr>
              <p:cNvPr id="27" name="テキスト ボックス 26">
                <a:extLst>
                  <a:ext uri="{FF2B5EF4-FFF2-40B4-BE49-F238E27FC236}">
                    <a16:creationId xmlns:a16="http://schemas.microsoft.com/office/drawing/2014/main" id="{EB4C2AAA-1E37-8F49-D192-221C45BF32C7}"/>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20" name="グループ化 19">
              <a:extLst>
                <a:ext uri="{FF2B5EF4-FFF2-40B4-BE49-F238E27FC236}">
                  <a16:creationId xmlns:a16="http://schemas.microsoft.com/office/drawing/2014/main" id="{B72DC91B-FC3C-DE71-497A-3ACA8C47526E}"/>
                </a:ext>
              </a:extLst>
            </p:cNvPr>
            <p:cNvGrpSpPr/>
            <p:nvPr/>
          </p:nvGrpSpPr>
          <p:grpSpPr>
            <a:xfrm>
              <a:off x="7945117" y="5420469"/>
              <a:ext cx="7184576" cy="1800000"/>
              <a:chOff x="7945117" y="5500579"/>
              <a:chExt cx="7184576" cy="1800000"/>
            </a:xfrm>
          </p:grpSpPr>
          <p:sp>
            <p:nvSpPr>
              <p:cNvPr id="24" name="テキスト ボックス 23">
                <a:extLst>
                  <a:ext uri="{FF2B5EF4-FFF2-40B4-BE49-F238E27FC236}">
                    <a16:creationId xmlns:a16="http://schemas.microsoft.com/office/drawing/2014/main" id="{58BBD741-E59A-6C6C-B4BC-6DD98EC78AE9}"/>
                  </a:ext>
                </a:extLst>
              </p:cNvPr>
              <p:cNvSpPr txBox="1"/>
              <p:nvPr/>
            </p:nvSpPr>
            <p:spPr>
              <a:xfrm>
                <a:off x="8916454" y="5699426"/>
                <a:ext cx="6213239"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面接中に聞いた相手方の業務情報は</a:t>
                </a:r>
                <a:br>
                  <a:rPr kumimoji="1" lang="en-US" altLang="ja-JP" sz="2800" spc="50" dirty="0">
                    <a:latin typeface="+mn-ea"/>
                    <a:ea typeface="+mn-ea"/>
                  </a:rPr>
                </a:br>
                <a:r>
                  <a:rPr kumimoji="1" lang="ja-JP" altLang="en-US" sz="2800" spc="50" dirty="0">
                    <a:latin typeface="+mn-ea"/>
                    <a:ea typeface="+mn-ea"/>
                  </a:rPr>
                  <a:t>機密情報に当たる可能性があるので、</a:t>
                </a:r>
                <a:br>
                  <a:rPr kumimoji="1" lang="en-US" altLang="ja-JP" sz="2800" spc="50" dirty="0">
                    <a:latin typeface="+mn-ea"/>
                    <a:ea typeface="+mn-ea"/>
                  </a:rPr>
                </a:b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には入力しない</a:t>
                </a:r>
              </a:p>
            </p:txBody>
          </p:sp>
          <p:sp>
            <p:nvSpPr>
              <p:cNvPr id="25" name="テキスト ボックス 24">
                <a:extLst>
                  <a:ext uri="{FF2B5EF4-FFF2-40B4-BE49-F238E27FC236}">
                    <a16:creationId xmlns:a16="http://schemas.microsoft.com/office/drawing/2014/main" id="{107CF8EF-D326-D644-9073-00FF7C7B9ABD}"/>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21" name="グループ化 20">
              <a:extLst>
                <a:ext uri="{FF2B5EF4-FFF2-40B4-BE49-F238E27FC236}">
                  <a16:creationId xmlns:a16="http://schemas.microsoft.com/office/drawing/2014/main" id="{C17BFDD5-ABB1-C8FB-07D5-54E060A1081E}"/>
                </a:ext>
              </a:extLst>
            </p:cNvPr>
            <p:cNvGrpSpPr/>
            <p:nvPr/>
          </p:nvGrpSpPr>
          <p:grpSpPr>
            <a:xfrm>
              <a:off x="7945117" y="7766203"/>
              <a:ext cx="7184576" cy="1800000"/>
              <a:chOff x="7945117" y="7633369"/>
              <a:chExt cx="7184576" cy="1800000"/>
            </a:xfrm>
          </p:grpSpPr>
          <p:sp>
            <p:nvSpPr>
              <p:cNvPr id="22" name="テキスト ボックス 21">
                <a:extLst>
                  <a:ext uri="{FF2B5EF4-FFF2-40B4-BE49-F238E27FC236}">
                    <a16:creationId xmlns:a16="http://schemas.microsoft.com/office/drawing/2014/main" id="{C0B69B5C-F093-8D8C-DDAC-503920C0ADD9}"/>
                  </a:ext>
                </a:extLst>
              </p:cNvPr>
              <p:cNvSpPr txBox="1"/>
              <p:nvPr/>
            </p:nvSpPr>
            <p:spPr>
              <a:xfrm>
                <a:off x="8916454" y="8069204"/>
                <a:ext cx="621323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されたメールは、</a:t>
                </a:r>
                <a:br>
                  <a:rPr kumimoji="1" lang="en-US" altLang="ja-JP" sz="2800" spc="50" dirty="0">
                    <a:latin typeface="+mn-ea"/>
                    <a:ea typeface="+mn-ea"/>
                  </a:rPr>
                </a:br>
                <a:r>
                  <a:rPr kumimoji="1" lang="ja-JP" altLang="en-US" sz="2800" spc="50" dirty="0">
                    <a:latin typeface="+mn-ea"/>
                    <a:ea typeface="+mn-ea"/>
                  </a:rPr>
                  <a:t>確認し、適宜修正したうえで送信する</a:t>
                </a:r>
              </a:p>
            </p:txBody>
          </p:sp>
          <p:sp>
            <p:nvSpPr>
              <p:cNvPr id="23" name="テキスト ボックス 22">
                <a:extLst>
                  <a:ext uri="{FF2B5EF4-FFF2-40B4-BE49-F238E27FC236}">
                    <a16:creationId xmlns:a16="http://schemas.microsoft.com/office/drawing/2014/main" id="{AF4BDF30-8540-D582-1FCD-D6F8783E8EFC}"/>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DC98EB3A-59DB-AE68-5321-9E232E1960DF}"/>
              </a:ext>
            </a:extLst>
          </p:cNvPr>
          <p:cNvSpPr>
            <a:spLocks noGrp="1"/>
          </p:cNvSpPr>
          <p:nvPr>
            <p:ph type="sldNum" sz="quarter" idx="11"/>
          </p:nvPr>
        </p:nvSpPr>
        <p:spPr>
          <a:xfrm>
            <a:off x="17695001" y="9786651"/>
            <a:ext cx="327013" cy="307777"/>
          </a:xfrm>
        </p:spPr>
        <p:txBody>
          <a:bodyPr/>
          <a:lstStyle/>
          <a:p>
            <a:r>
              <a:rPr lang="en-US" altLang="ja-JP"/>
              <a:t>51</a:t>
            </a:r>
            <a:endParaRPr lang="ja-JP" altLang="en-US" dirty="0"/>
          </a:p>
        </p:txBody>
      </p:sp>
    </p:spTree>
    <p:extLst>
      <p:ext uri="{BB962C8B-B14F-4D97-AF65-F5344CB8AC3E}">
        <p14:creationId xmlns:p14="http://schemas.microsoft.com/office/powerpoint/2010/main" val="1737184774"/>
      </p:ext>
    </p:extLst>
  </p:cSld>
  <p:clrMapOvr>
    <a:masterClrMapping/>
  </p:clrMapOvr>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1" name="グループ化 20">
            <a:extLst>
              <a:ext uri="{FF2B5EF4-FFF2-40B4-BE49-F238E27FC236}">
                <a16:creationId xmlns:a16="http://schemas.microsoft.com/office/drawing/2014/main" id="{F454DEAE-E9C3-8DCF-55B6-FE69B86C66A2}"/>
              </a:ext>
            </a:extLst>
          </p:cNvPr>
          <p:cNvGrpSpPr/>
          <p:nvPr/>
        </p:nvGrpSpPr>
        <p:grpSpPr>
          <a:xfrm>
            <a:off x="7945117" y="724103"/>
            <a:ext cx="7428233" cy="8837206"/>
            <a:chOff x="7945117" y="728997"/>
            <a:chExt cx="7428233" cy="8837206"/>
          </a:xfrm>
        </p:grpSpPr>
        <p:grpSp>
          <p:nvGrpSpPr>
            <p:cNvPr id="22" name="グループ化 21">
              <a:extLst>
                <a:ext uri="{FF2B5EF4-FFF2-40B4-BE49-F238E27FC236}">
                  <a16:creationId xmlns:a16="http://schemas.microsoft.com/office/drawing/2014/main" id="{4C2412EF-E7AF-7701-95E2-896474A82358}"/>
                </a:ext>
              </a:extLst>
            </p:cNvPr>
            <p:cNvGrpSpPr/>
            <p:nvPr/>
          </p:nvGrpSpPr>
          <p:grpSpPr>
            <a:xfrm>
              <a:off x="7945117" y="728997"/>
              <a:ext cx="7428233" cy="1800000"/>
              <a:chOff x="7945117" y="1234999"/>
              <a:chExt cx="7428233" cy="1800000"/>
            </a:xfrm>
          </p:grpSpPr>
          <p:sp>
            <p:nvSpPr>
              <p:cNvPr id="32" name="テキスト ボックス 31">
                <a:extLst>
                  <a:ext uri="{FF2B5EF4-FFF2-40B4-BE49-F238E27FC236}">
                    <a16:creationId xmlns:a16="http://schemas.microsoft.com/office/drawing/2014/main" id="{E1437BB7-523C-6792-DDEE-487C1A47431E}"/>
                  </a:ext>
                </a:extLst>
              </p:cNvPr>
              <p:cNvSpPr txBox="1"/>
              <p:nvPr userDrawn="1"/>
            </p:nvSpPr>
            <p:spPr>
              <a:xfrm>
                <a:off x="8916454" y="1263896"/>
                <a:ext cx="6456896" cy="174220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自身の尺度で重要度を判断するのは危険。</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個人情報や機密情報に当てはまらないか、</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確認をしながら入力することが必要</a:t>
                </a:r>
              </a:p>
            </p:txBody>
          </p:sp>
          <p:sp>
            <p:nvSpPr>
              <p:cNvPr id="33" name="テキスト ボックス 32">
                <a:extLst>
                  <a:ext uri="{FF2B5EF4-FFF2-40B4-BE49-F238E27FC236}">
                    <a16:creationId xmlns:a16="http://schemas.microsoft.com/office/drawing/2014/main" id="{FBA443E3-3D32-CBD8-D91A-82F534130385}"/>
                  </a:ext>
                </a:extLst>
              </p:cNvPr>
              <p:cNvSpPr txBox="1">
                <a:spLocks/>
              </p:cNvSpPr>
              <p:nvPr userDrawn="1"/>
            </p:nvSpPr>
            <p:spPr>
              <a:xfrm>
                <a:off x="7945117" y="123499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23" name="グループ化 22">
              <a:extLst>
                <a:ext uri="{FF2B5EF4-FFF2-40B4-BE49-F238E27FC236}">
                  <a16:creationId xmlns:a16="http://schemas.microsoft.com/office/drawing/2014/main" id="{273B2A8F-AA1D-C1E8-9527-EB40B7D85C20}"/>
                </a:ext>
              </a:extLst>
            </p:cNvPr>
            <p:cNvGrpSpPr/>
            <p:nvPr/>
          </p:nvGrpSpPr>
          <p:grpSpPr>
            <a:xfrm>
              <a:off x="7945117" y="3074733"/>
              <a:ext cx="7428233" cy="1800000"/>
              <a:chOff x="7945117" y="3367623"/>
              <a:chExt cx="7428233" cy="1800000"/>
            </a:xfrm>
          </p:grpSpPr>
          <p:sp>
            <p:nvSpPr>
              <p:cNvPr id="30" name="テキスト ボックス 29">
                <a:extLst>
                  <a:ext uri="{FF2B5EF4-FFF2-40B4-BE49-F238E27FC236}">
                    <a16:creationId xmlns:a16="http://schemas.microsoft.com/office/drawing/2014/main" id="{B56A8301-7F36-4E19-BF88-553C6BFDCDFC}"/>
                  </a:ext>
                </a:extLst>
              </p:cNvPr>
              <p:cNvSpPr txBox="1"/>
              <p:nvPr/>
            </p:nvSpPr>
            <p:spPr>
              <a:xfrm>
                <a:off x="8916454" y="3836639"/>
                <a:ext cx="6456896" cy="861967"/>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自分自身の氏名や所属も個人情報に当たる</a:t>
                </a:r>
              </a:p>
            </p:txBody>
          </p:sp>
          <p:sp>
            <p:nvSpPr>
              <p:cNvPr id="31" name="テキスト ボックス 30">
                <a:extLst>
                  <a:ext uri="{FF2B5EF4-FFF2-40B4-BE49-F238E27FC236}">
                    <a16:creationId xmlns:a16="http://schemas.microsoft.com/office/drawing/2014/main" id="{6F10B80C-00B4-5A7F-CEE2-650D92DB1741}"/>
                  </a:ext>
                </a:extLst>
              </p:cNvPr>
              <p:cNvSpPr txBox="1">
                <a:spLocks/>
              </p:cNvSpPr>
              <p:nvPr/>
            </p:nvSpPr>
            <p:spPr>
              <a:xfrm>
                <a:off x="7945117" y="3367623"/>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24" name="グループ化 23">
              <a:extLst>
                <a:ext uri="{FF2B5EF4-FFF2-40B4-BE49-F238E27FC236}">
                  <a16:creationId xmlns:a16="http://schemas.microsoft.com/office/drawing/2014/main" id="{49259213-A218-E9D9-D467-141D390BA3A6}"/>
                </a:ext>
              </a:extLst>
            </p:cNvPr>
            <p:cNvGrpSpPr/>
            <p:nvPr/>
          </p:nvGrpSpPr>
          <p:grpSpPr>
            <a:xfrm>
              <a:off x="7945117" y="5420469"/>
              <a:ext cx="7184576" cy="1800000"/>
              <a:chOff x="7945117" y="5500579"/>
              <a:chExt cx="7184576" cy="1800000"/>
            </a:xfrm>
          </p:grpSpPr>
          <p:sp>
            <p:nvSpPr>
              <p:cNvPr id="28" name="テキスト ボックス 27">
                <a:extLst>
                  <a:ext uri="{FF2B5EF4-FFF2-40B4-BE49-F238E27FC236}">
                    <a16:creationId xmlns:a16="http://schemas.microsoft.com/office/drawing/2014/main" id="{1E23DB1D-9553-5F60-51B7-4026840E18D8}"/>
                  </a:ext>
                </a:extLst>
              </p:cNvPr>
              <p:cNvSpPr txBox="1"/>
              <p:nvPr/>
            </p:nvSpPr>
            <p:spPr>
              <a:xfrm>
                <a:off x="8916454" y="5699426"/>
                <a:ext cx="6213239" cy="1402307"/>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面接中に聞いた相手方の業務情報は</a:t>
                </a:r>
                <a:br>
                  <a:rPr kumimoji="1" lang="en-US" altLang="ja-JP" sz="2800" spc="50" dirty="0">
                    <a:latin typeface="+mn-ea"/>
                    <a:ea typeface="+mn-ea"/>
                  </a:rPr>
                </a:br>
                <a:r>
                  <a:rPr kumimoji="1" lang="ja-JP" altLang="en-US" sz="2800" spc="50" dirty="0">
                    <a:latin typeface="+mn-ea"/>
                    <a:ea typeface="+mn-ea"/>
                  </a:rPr>
                  <a:t>機密情報に当たる可能性があるので、</a:t>
                </a:r>
                <a:br>
                  <a:rPr kumimoji="1" lang="en-US" altLang="ja-JP" sz="2800" spc="50" dirty="0">
                    <a:latin typeface="+mn-ea"/>
                    <a:ea typeface="+mn-ea"/>
                  </a:rPr>
                </a:b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には入力しない</a:t>
                </a:r>
              </a:p>
            </p:txBody>
          </p:sp>
          <p:sp>
            <p:nvSpPr>
              <p:cNvPr id="29" name="テキスト ボックス 28">
                <a:extLst>
                  <a:ext uri="{FF2B5EF4-FFF2-40B4-BE49-F238E27FC236}">
                    <a16:creationId xmlns:a16="http://schemas.microsoft.com/office/drawing/2014/main" id="{F163661A-D1CF-1632-7A83-E12A5A917DF5}"/>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25" name="グループ化 24">
              <a:extLst>
                <a:ext uri="{FF2B5EF4-FFF2-40B4-BE49-F238E27FC236}">
                  <a16:creationId xmlns:a16="http://schemas.microsoft.com/office/drawing/2014/main" id="{C79F9983-3CFE-3A3D-852A-FE9CF08720EB}"/>
                </a:ext>
              </a:extLst>
            </p:cNvPr>
            <p:cNvGrpSpPr/>
            <p:nvPr/>
          </p:nvGrpSpPr>
          <p:grpSpPr>
            <a:xfrm>
              <a:off x="7945117" y="7766203"/>
              <a:ext cx="7184576" cy="1800000"/>
              <a:chOff x="7945117" y="7633369"/>
              <a:chExt cx="7184576" cy="1800000"/>
            </a:xfrm>
          </p:grpSpPr>
          <p:sp>
            <p:nvSpPr>
              <p:cNvPr id="26" name="テキスト ボックス 25">
                <a:extLst>
                  <a:ext uri="{FF2B5EF4-FFF2-40B4-BE49-F238E27FC236}">
                    <a16:creationId xmlns:a16="http://schemas.microsoft.com/office/drawing/2014/main" id="{C21171BB-9CD4-8BA8-6126-8F7C538D3A09}"/>
                  </a:ext>
                </a:extLst>
              </p:cNvPr>
              <p:cNvSpPr txBox="1"/>
              <p:nvPr/>
            </p:nvSpPr>
            <p:spPr>
              <a:xfrm>
                <a:off x="8916454" y="8069204"/>
                <a:ext cx="621323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されたメールは、</a:t>
                </a:r>
                <a:br>
                  <a:rPr kumimoji="1" lang="en-US" altLang="ja-JP" sz="2800" spc="50" dirty="0">
                    <a:latin typeface="+mn-ea"/>
                    <a:ea typeface="+mn-ea"/>
                  </a:rPr>
                </a:br>
                <a:r>
                  <a:rPr kumimoji="1" lang="ja-JP" altLang="en-US" sz="2800" spc="50" dirty="0">
                    <a:latin typeface="+mn-ea"/>
                    <a:ea typeface="+mn-ea"/>
                  </a:rPr>
                  <a:t>確認し、適宜修正したうえで送信する</a:t>
                </a:r>
              </a:p>
            </p:txBody>
          </p:sp>
          <p:sp>
            <p:nvSpPr>
              <p:cNvPr id="27" name="テキスト ボックス 26">
                <a:extLst>
                  <a:ext uri="{FF2B5EF4-FFF2-40B4-BE49-F238E27FC236}">
                    <a16:creationId xmlns:a16="http://schemas.microsoft.com/office/drawing/2014/main" id="{34548697-8E49-CCE9-E1BE-EA0B48F14162}"/>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17" name="グループ化 16">
            <a:extLst>
              <a:ext uri="{FF2B5EF4-FFF2-40B4-BE49-F238E27FC236}">
                <a16:creationId xmlns:a16="http://schemas.microsoft.com/office/drawing/2014/main" id="{9377ED91-406A-8EC3-D0EB-742D19FC5EC1}"/>
              </a:ext>
            </a:extLst>
          </p:cNvPr>
          <p:cNvGrpSpPr/>
          <p:nvPr/>
        </p:nvGrpSpPr>
        <p:grpSpPr>
          <a:xfrm>
            <a:off x="2073291" y="2604635"/>
            <a:ext cx="3206716" cy="1170649"/>
            <a:chOff x="1991495" y="2670256"/>
            <a:chExt cx="2862607" cy="1045028"/>
          </a:xfrm>
        </p:grpSpPr>
        <p:sp>
          <p:nvSpPr>
            <p:cNvPr id="18" name="四角形: 角を丸くする 17">
              <a:extLst>
                <a:ext uri="{FF2B5EF4-FFF2-40B4-BE49-F238E27FC236}">
                  <a16:creationId xmlns:a16="http://schemas.microsoft.com/office/drawing/2014/main" id="{E0ECEDBA-8F41-D7C3-142C-7B96A0C97282}"/>
                </a:ext>
              </a:extLst>
            </p:cNvPr>
            <p:cNvSpPr/>
            <p:nvPr/>
          </p:nvSpPr>
          <p:spPr>
            <a:xfrm>
              <a:off x="1991495" y="2670256"/>
              <a:ext cx="1045028" cy="1045028"/>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9" name="テキスト ボックス 18">
              <a:extLst>
                <a:ext uri="{FF2B5EF4-FFF2-40B4-BE49-F238E27FC236}">
                  <a16:creationId xmlns:a16="http://schemas.microsoft.com/office/drawing/2014/main" id="{9E12DBE6-8CB1-4728-0D65-1D22D41595EF}"/>
                </a:ext>
              </a:extLst>
            </p:cNvPr>
            <p:cNvSpPr txBox="1">
              <a:spLocks/>
            </p:cNvSpPr>
            <p:nvPr/>
          </p:nvSpPr>
          <p:spPr>
            <a:xfrm>
              <a:off x="3360686"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sp>
          <p:nvSpPr>
            <p:cNvPr id="20" name="テキスト ボックス 19">
              <a:extLst>
                <a:ext uri="{FF2B5EF4-FFF2-40B4-BE49-F238E27FC236}">
                  <a16:creationId xmlns:a16="http://schemas.microsoft.com/office/drawing/2014/main" id="{58504013-B1A6-6A57-777B-2BA194D52835}"/>
                </a:ext>
              </a:extLst>
            </p:cNvPr>
            <p:cNvSpPr txBox="1">
              <a:spLocks/>
            </p:cNvSpPr>
            <p:nvPr/>
          </p:nvSpPr>
          <p:spPr>
            <a:xfrm>
              <a:off x="4206102"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エ</a:t>
              </a:r>
              <a:endParaRPr kumimoji="1" lang="ja-JP" altLang="en-US" sz="2800" b="1" spc="300" dirty="0">
                <a:solidFill>
                  <a:schemeClr val="bg1"/>
                </a:solidFill>
                <a:latin typeface="+mn-ea"/>
              </a:endParaRPr>
            </a:p>
          </p:txBody>
        </p:sp>
      </p:grpSp>
      <p:sp>
        <p:nvSpPr>
          <p:cNvPr id="34" name="楕円 33">
            <a:extLst>
              <a:ext uri="{FF2B5EF4-FFF2-40B4-BE49-F238E27FC236}">
                <a16:creationId xmlns:a16="http://schemas.microsoft.com/office/drawing/2014/main" id="{73EB3AC7-24A3-8076-8DDD-9E5894947107}"/>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5" name="楕円 34">
            <a:extLst>
              <a:ext uri="{FF2B5EF4-FFF2-40B4-BE49-F238E27FC236}">
                <a16:creationId xmlns:a16="http://schemas.microsoft.com/office/drawing/2014/main" id="{D4E71154-7E20-5996-DF99-D2B055299F82}"/>
              </a:ext>
            </a:extLst>
          </p:cNvPr>
          <p:cNvSpPr/>
          <p:nvPr/>
        </p:nvSpPr>
        <p:spPr>
          <a:xfrm>
            <a:off x="11855837" y="7823872"/>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6" name="テキスト ボックス 35">
            <a:extLst>
              <a:ext uri="{FF2B5EF4-FFF2-40B4-BE49-F238E27FC236}">
                <a16:creationId xmlns:a16="http://schemas.microsoft.com/office/drawing/2014/main" id="{3AE001FB-B04A-E2B7-72F5-7F3FCE16195A}"/>
              </a:ext>
            </a:extLst>
          </p:cNvPr>
          <p:cNvSpPr txBox="1"/>
          <p:nvPr/>
        </p:nvSpPr>
        <p:spPr>
          <a:xfrm>
            <a:off x="754084" y="4659559"/>
            <a:ext cx="5845132" cy="3781420"/>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ウ：機密情報は生成</a:t>
            </a:r>
            <a:r>
              <a:rPr kumimoji="1" lang="en-US" altLang="ja-JP" sz="2800" spc="50" dirty="0">
                <a:latin typeface="+mn-ea"/>
              </a:rPr>
              <a:t>AI</a:t>
            </a:r>
            <a:r>
              <a:rPr kumimoji="1" lang="ja-JP" altLang="en-US" sz="2800" spc="50" dirty="0">
                <a:latin typeface="+mn-ea"/>
              </a:rPr>
              <a:t>に入力するべきではない。</a:t>
            </a:r>
          </a:p>
          <a:p>
            <a:pPr algn="just">
              <a:lnSpc>
                <a:spcPct val="120000"/>
              </a:lnSpc>
              <a:spcAft>
                <a:spcPts val="1500"/>
              </a:spcAft>
            </a:pPr>
            <a:r>
              <a:rPr kumimoji="1" lang="ja-JP" altLang="en-US" sz="2800" spc="50" dirty="0">
                <a:latin typeface="+mn-ea"/>
              </a:rPr>
              <a:t>エ：生成されたメールドラフトを確認の上、入力できなかった個人情報や機密情報を補ったうえで、</a:t>
            </a:r>
            <a:br>
              <a:rPr kumimoji="1" lang="ja-JP" altLang="en-US" sz="2800" spc="50" dirty="0">
                <a:latin typeface="+mn-ea"/>
              </a:rPr>
            </a:br>
            <a:r>
              <a:rPr kumimoji="1" lang="ja-JP" altLang="en-US" sz="2800" spc="50" dirty="0">
                <a:latin typeface="+mn-ea"/>
              </a:rPr>
              <a:t>メール文章を完成させ、送信するべき。</a:t>
            </a:r>
          </a:p>
        </p:txBody>
      </p:sp>
      <p:sp>
        <p:nvSpPr>
          <p:cNvPr id="2" name="スライド番号プレースホルダー 1">
            <a:extLst>
              <a:ext uri="{FF2B5EF4-FFF2-40B4-BE49-F238E27FC236}">
                <a16:creationId xmlns:a16="http://schemas.microsoft.com/office/drawing/2014/main" id="{F98C98B8-44C6-461F-CBAF-08864CF7B5F7}"/>
              </a:ext>
            </a:extLst>
          </p:cNvPr>
          <p:cNvSpPr>
            <a:spLocks noGrp="1"/>
          </p:cNvSpPr>
          <p:nvPr>
            <p:ph type="sldNum" sz="quarter" idx="11"/>
          </p:nvPr>
        </p:nvSpPr>
        <p:spPr>
          <a:xfrm>
            <a:off x="17695001" y="9786651"/>
            <a:ext cx="327013" cy="307777"/>
          </a:xfrm>
        </p:spPr>
        <p:txBody>
          <a:bodyPr/>
          <a:lstStyle/>
          <a:p>
            <a:r>
              <a:rPr lang="en-US" altLang="ja-JP"/>
              <a:t>52</a:t>
            </a:r>
            <a:endParaRPr lang="ja-JP" altLang="en-US" dirty="0"/>
          </a:p>
        </p:txBody>
      </p:sp>
    </p:spTree>
    <p:extLst>
      <p:ext uri="{BB962C8B-B14F-4D97-AF65-F5344CB8AC3E}">
        <p14:creationId xmlns:p14="http://schemas.microsoft.com/office/powerpoint/2010/main" val="270453337"/>
      </p:ext>
    </p:extLst>
  </p:cSld>
  <p:clrMapOvr>
    <a:masterClrMapping/>
  </p:clrMapOvr>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FBD7EBFC-B387-263E-45B2-BC14C9FE1D94}"/>
              </a:ext>
            </a:extLst>
          </p:cNvPr>
          <p:cNvSpPr>
            <a:spLocks noGrp="1"/>
          </p:cNvSpPr>
          <p:nvPr>
            <p:ph type="sldNum" sz="quarter" idx="11"/>
          </p:nvPr>
        </p:nvSpPr>
        <p:spPr>
          <a:xfrm>
            <a:off x="17695001" y="9786651"/>
            <a:ext cx="327013" cy="307777"/>
          </a:xfrm>
        </p:spPr>
        <p:txBody>
          <a:bodyPr/>
          <a:lstStyle/>
          <a:p>
            <a:r>
              <a:rPr lang="en-US" altLang="ja-JP"/>
              <a:t>53</a:t>
            </a:r>
            <a:endParaRPr lang="ja-JP" altLang="en-US" dirty="0"/>
          </a:p>
        </p:txBody>
      </p:sp>
      <p:sp>
        <p:nvSpPr>
          <p:cNvPr id="2" name="テキスト ボックス 1">
            <a:extLst>
              <a:ext uri="{FF2B5EF4-FFF2-40B4-BE49-F238E27FC236}">
                <a16:creationId xmlns:a16="http://schemas.microsoft.com/office/drawing/2014/main" id="{777B4534-AA2D-B077-17F3-17D3F8835D1E}"/>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DCD42A36-BD1A-FAB4-DCFB-71D18FD2E60E}"/>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3184248400"/>
      </p:ext>
    </p:extLst>
  </p:cSld>
  <p:clrMapOvr>
    <a:masterClrMapping/>
  </p:clrMapOvr>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四角形: 角を丸くする 8">
            <a:extLst>
              <a:ext uri="{FF2B5EF4-FFF2-40B4-BE49-F238E27FC236}">
                <a16:creationId xmlns:a16="http://schemas.microsoft.com/office/drawing/2014/main" id="{E93FE5CF-6638-F2DC-338E-A57D9BDE3CF0}"/>
              </a:ext>
            </a:extLst>
          </p:cNvPr>
          <p:cNvSpPr/>
          <p:nvPr/>
        </p:nvSpPr>
        <p:spPr>
          <a:xfrm>
            <a:off x="892175" y="1924943"/>
            <a:ext cx="5168821" cy="3993266"/>
          </a:xfrm>
          <a:prstGeom prst="roundRect">
            <a:avLst>
              <a:gd name="adj" fmla="val 416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88726C72-B80F-87C4-281E-A6F5115689F5}"/>
              </a:ext>
            </a:extLst>
          </p:cNvPr>
          <p:cNvSpPr/>
          <p:nvPr/>
        </p:nvSpPr>
        <p:spPr>
          <a:xfrm>
            <a:off x="6559590" y="1924943"/>
            <a:ext cx="5168821" cy="3993266"/>
          </a:xfrm>
          <a:prstGeom prst="roundRect">
            <a:avLst>
              <a:gd name="adj" fmla="val 416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8" name="四角形: 角を丸くする 17">
            <a:extLst>
              <a:ext uri="{FF2B5EF4-FFF2-40B4-BE49-F238E27FC236}">
                <a16:creationId xmlns:a16="http://schemas.microsoft.com/office/drawing/2014/main" id="{6CC26E21-B6FC-6678-C092-9EE715A7FD51}"/>
              </a:ext>
            </a:extLst>
          </p:cNvPr>
          <p:cNvSpPr/>
          <p:nvPr/>
        </p:nvSpPr>
        <p:spPr>
          <a:xfrm>
            <a:off x="12227004" y="1924943"/>
            <a:ext cx="5168821" cy="3993266"/>
          </a:xfrm>
          <a:prstGeom prst="roundRect">
            <a:avLst>
              <a:gd name="adj" fmla="val 416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4" name="タイトル 3">
            <a:extLst>
              <a:ext uri="{FF2B5EF4-FFF2-40B4-BE49-F238E27FC236}">
                <a16:creationId xmlns:a16="http://schemas.microsoft.com/office/drawing/2014/main" id="{7752D4E0-3012-8FEA-5D12-A933506FA57F}"/>
              </a:ext>
            </a:extLst>
          </p:cNvPr>
          <p:cNvSpPr>
            <a:spLocks noGrp="1"/>
          </p:cNvSpPr>
          <p:nvPr>
            <p:ph type="title"/>
          </p:nvPr>
        </p:nvSpPr>
        <p:spPr>
          <a:xfrm>
            <a:off x="891741" y="506301"/>
            <a:ext cx="3385542" cy="492443"/>
          </a:xfrm>
        </p:spPr>
        <p:txBody>
          <a:bodyPr/>
          <a:lstStyle/>
          <a:p>
            <a:r>
              <a:rPr lang="ja-JP" altLang="en-US" dirty="0"/>
              <a:t>生成</a:t>
            </a:r>
            <a:r>
              <a:rPr lang="en-US" altLang="ja-JP" dirty="0"/>
              <a:t>AI</a:t>
            </a:r>
            <a:r>
              <a:rPr lang="ja-JP" altLang="en-US" dirty="0"/>
              <a:t>で作られたものを利用する時、他人の知的財産権等を侵害する可能性がある</a:t>
            </a:r>
          </a:p>
        </p:txBody>
      </p:sp>
      <p:sp>
        <p:nvSpPr>
          <p:cNvPr id="8" name="テキスト ボックス 7">
            <a:extLst>
              <a:ext uri="{FF2B5EF4-FFF2-40B4-BE49-F238E27FC236}">
                <a16:creationId xmlns:a16="http://schemas.microsoft.com/office/drawing/2014/main" id="{5C2E93C2-AC4D-C593-1199-76704DC8EEB0}"/>
              </a:ext>
            </a:extLst>
          </p:cNvPr>
          <p:cNvSpPr txBox="1"/>
          <p:nvPr/>
        </p:nvSpPr>
        <p:spPr>
          <a:xfrm>
            <a:off x="1332067" y="2757091"/>
            <a:ext cx="4584588" cy="2328971"/>
          </a:xfrm>
          <a:prstGeom prst="rect">
            <a:avLst/>
          </a:prstGeom>
          <a:noFill/>
        </p:spPr>
        <p:txBody>
          <a:bodyPr wrap="none" lIns="0" tIns="0" rIns="0" bIns="0" rtlCol="0" anchor="ctr">
            <a:spAutoFit/>
          </a:bodyPr>
          <a:lstStyle/>
          <a:p>
            <a:pPr>
              <a:lnSpc>
                <a:spcPct val="120000"/>
              </a:lnSpc>
              <a:spcAft>
                <a:spcPts val="1200"/>
              </a:spcAft>
            </a:pPr>
            <a:r>
              <a:rPr kumimoji="1" lang="ja-JP" altLang="en-US" sz="3200" spc="50" dirty="0">
                <a:latin typeface="+mn-ea"/>
              </a:rPr>
              <a:t>既存の</a:t>
            </a:r>
            <a:r>
              <a:rPr kumimoji="1" lang="ja-JP" altLang="en-US" sz="3200" spc="50" dirty="0">
                <a:solidFill>
                  <a:schemeClr val="accent3"/>
                </a:solidFill>
                <a:latin typeface="+mn-ea"/>
              </a:rPr>
              <a:t>著作物</a:t>
            </a:r>
            <a:r>
              <a:rPr kumimoji="1" lang="ja-JP" altLang="en-US" sz="3200" spc="50" dirty="0">
                <a:latin typeface="+mn-ea"/>
              </a:rPr>
              <a:t>と</a:t>
            </a:r>
            <a:br>
              <a:rPr kumimoji="1" lang="en-US" altLang="ja-JP" sz="3200" spc="50" dirty="0">
                <a:latin typeface="+mn-ea"/>
              </a:rPr>
            </a:br>
            <a:r>
              <a:rPr kumimoji="1" lang="ja-JP" altLang="en-US" sz="3200" spc="50" dirty="0">
                <a:latin typeface="+mn-ea"/>
              </a:rPr>
              <a:t>類似している生成物を、</a:t>
            </a:r>
            <a:br>
              <a:rPr kumimoji="1" lang="en-US" altLang="ja-JP" sz="3200" spc="50" dirty="0">
                <a:latin typeface="+mn-ea"/>
              </a:rPr>
            </a:br>
            <a:r>
              <a:rPr kumimoji="1" lang="ja-JP" altLang="en-US" sz="3200" spc="50" dirty="0">
                <a:latin typeface="+mn-ea"/>
              </a:rPr>
              <a:t>アップロードして</a:t>
            </a:r>
            <a:br>
              <a:rPr kumimoji="1" lang="en-US" altLang="ja-JP" sz="3200" spc="50" dirty="0">
                <a:latin typeface="+mn-ea"/>
              </a:rPr>
            </a:br>
            <a:r>
              <a:rPr kumimoji="1" lang="ja-JP" altLang="en-US" sz="3200" spc="50" dirty="0">
                <a:latin typeface="+mn-ea"/>
              </a:rPr>
              <a:t>公表</a:t>
            </a:r>
            <a:r>
              <a:rPr kumimoji="1" lang="en-US" altLang="ja-JP" sz="3200" spc="50" dirty="0">
                <a:latin typeface="+mn-ea"/>
              </a:rPr>
              <a:t>/</a:t>
            </a:r>
            <a:r>
              <a:rPr kumimoji="1" lang="ja-JP" altLang="en-US" sz="3200" spc="50" dirty="0">
                <a:latin typeface="+mn-ea"/>
              </a:rPr>
              <a:t>複製物を販売</a:t>
            </a:r>
          </a:p>
        </p:txBody>
      </p:sp>
      <p:sp>
        <p:nvSpPr>
          <p:cNvPr id="13" name="テキスト ボックス 12">
            <a:extLst>
              <a:ext uri="{FF2B5EF4-FFF2-40B4-BE49-F238E27FC236}">
                <a16:creationId xmlns:a16="http://schemas.microsoft.com/office/drawing/2014/main" id="{FD7E4BCF-03B6-54BD-3081-6F40EDB64EA9}"/>
              </a:ext>
            </a:extLst>
          </p:cNvPr>
          <p:cNvSpPr txBox="1"/>
          <p:nvPr/>
        </p:nvSpPr>
        <p:spPr>
          <a:xfrm>
            <a:off x="6888650" y="2461625"/>
            <a:ext cx="4584588" cy="2919902"/>
          </a:xfrm>
          <a:prstGeom prst="rect">
            <a:avLst/>
          </a:prstGeom>
          <a:noFill/>
        </p:spPr>
        <p:txBody>
          <a:bodyPr wrap="none" lIns="0" tIns="0" rIns="0" bIns="0" rtlCol="0" anchor="ctr">
            <a:spAutoFit/>
          </a:bodyPr>
          <a:lstStyle/>
          <a:p>
            <a:pPr>
              <a:lnSpc>
                <a:spcPct val="120000"/>
              </a:lnSpc>
              <a:spcAft>
                <a:spcPts val="1200"/>
              </a:spcAft>
            </a:pPr>
            <a:r>
              <a:rPr kumimoji="1" lang="ja-JP" altLang="en-US" sz="3200" spc="50" dirty="0">
                <a:latin typeface="+mn-ea"/>
              </a:rPr>
              <a:t>商標や意匠として</a:t>
            </a:r>
            <a:br>
              <a:rPr kumimoji="1" lang="en-US" altLang="ja-JP" sz="3200" spc="50" dirty="0">
                <a:latin typeface="+mn-ea"/>
              </a:rPr>
            </a:br>
            <a:r>
              <a:rPr kumimoji="1" lang="ja-JP" altLang="en-US" sz="3200" spc="50" dirty="0">
                <a:latin typeface="+mn-ea"/>
              </a:rPr>
              <a:t>登録されている</a:t>
            </a:r>
            <a:br>
              <a:rPr kumimoji="1" lang="en-US" altLang="ja-JP" sz="3200" spc="50" dirty="0">
                <a:latin typeface="+mn-ea"/>
              </a:rPr>
            </a:br>
            <a:r>
              <a:rPr kumimoji="1" lang="ja-JP" altLang="en-US" sz="3200" spc="50" dirty="0">
                <a:solidFill>
                  <a:schemeClr val="accent3"/>
                </a:solidFill>
                <a:latin typeface="+mn-ea"/>
              </a:rPr>
              <a:t>ロゴ・デザイン等</a:t>
            </a:r>
            <a:r>
              <a:rPr kumimoji="1" lang="ja-JP" altLang="en-US" sz="3200" spc="50" dirty="0">
                <a:latin typeface="+mn-ea"/>
              </a:rPr>
              <a:t>と</a:t>
            </a:r>
            <a:br>
              <a:rPr kumimoji="1" lang="en-US" altLang="ja-JP" sz="3200" spc="50" dirty="0">
                <a:latin typeface="+mn-ea"/>
              </a:rPr>
            </a:br>
            <a:r>
              <a:rPr kumimoji="1" lang="ja-JP" altLang="en-US" sz="3200" spc="50" dirty="0">
                <a:latin typeface="+mn-ea"/>
              </a:rPr>
              <a:t>同一または類似している</a:t>
            </a:r>
            <a:br>
              <a:rPr kumimoji="1" lang="en-US" altLang="ja-JP" sz="3200" spc="50" dirty="0">
                <a:latin typeface="+mn-ea"/>
              </a:rPr>
            </a:br>
            <a:r>
              <a:rPr kumimoji="1" lang="ja-JP" altLang="en-US" sz="3200" spc="50" dirty="0">
                <a:latin typeface="+mn-ea"/>
              </a:rPr>
              <a:t>生成物を商用利用</a:t>
            </a:r>
          </a:p>
        </p:txBody>
      </p:sp>
      <p:sp>
        <p:nvSpPr>
          <p:cNvPr id="14" name="テキスト ボックス 13">
            <a:extLst>
              <a:ext uri="{FF2B5EF4-FFF2-40B4-BE49-F238E27FC236}">
                <a16:creationId xmlns:a16="http://schemas.microsoft.com/office/drawing/2014/main" id="{20A0F88D-3272-73B1-D06C-FCEC8DD60DD7}"/>
              </a:ext>
            </a:extLst>
          </p:cNvPr>
          <p:cNvSpPr txBox="1"/>
          <p:nvPr/>
        </p:nvSpPr>
        <p:spPr>
          <a:xfrm>
            <a:off x="1093720" y="8360470"/>
            <a:ext cx="16100561" cy="695190"/>
          </a:xfrm>
          <a:prstGeom prst="rect">
            <a:avLst/>
          </a:prstGeom>
          <a:noFill/>
        </p:spPr>
        <p:txBody>
          <a:bodyPr wrap="none" lIns="0" tIns="0" rIns="0" bIns="0" rtlCol="0" anchor="t">
            <a:spAutoFit/>
          </a:bodyPr>
          <a:lstStyle/>
          <a:p>
            <a:pPr algn="ctr">
              <a:lnSpc>
                <a:spcPct val="120000"/>
              </a:lnSpc>
              <a:spcAft>
                <a:spcPts val="1200"/>
              </a:spcAft>
            </a:pPr>
            <a:r>
              <a:rPr kumimoji="1" lang="ja-JP" altLang="en-US" sz="4000" spc="50" dirty="0">
                <a:latin typeface="+mj-ea"/>
                <a:ea typeface="+mj-ea"/>
              </a:rPr>
              <a:t>差止請求・損害賠償請求等の民事訴訟や、刑事罰の対象となることも</a:t>
            </a:r>
          </a:p>
        </p:txBody>
      </p:sp>
      <p:sp>
        <p:nvSpPr>
          <p:cNvPr id="20" name="四角形: 角を丸くする 19">
            <a:extLst>
              <a:ext uri="{FF2B5EF4-FFF2-40B4-BE49-F238E27FC236}">
                <a16:creationId xmlns:a16="http://schemas.microsoft.com/office/drawing/2014/main" id="{A31F6472-171A-667D-F9BC-C79279E71479}"/>
              </a:ext>
            </a:extLst>
          </p:cNvPr>
          <p:cNvSpPr/>
          <p:nvPr/>
        </p:nvSpPr>
        <p:spPr>
          <a:xfrm>
            <a:off x="2461526" y="1596430"/>
            <a:ext cx="2030126" cy="657026"/>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利用例１</a:t>
            </a:r>
            <a:endParaRPr kumimoji="1" lang="ja-JP" altLang="en-US" sz="2800" spc="100" dirty="0">
              <a:solidFill>
                <a:schemeClr val="bg1"/>
              </a:solidFill>
              <a:latin typeface="+mj-ea"/>
              <a:ea typeface="+mj-ea"/>
            </a:endParaRPr>
          </a:p>
        </p:txBody>
      </p:sp>
      <p:sp>
        <p:nvSpPr>
          <p:cNvPr id="21" name="四角形: 角を丸くする 20">
            <a:extLst>
              <a:ext uri="{FF2B5EF4-FFF2-40B4-BE49-F238E27FC236}">
                <a16:creationId xmlns:a16="http://schemas.microsoft.com/office/drawing/2014/main" id="{03049DEF-E356-BCA7-F5E7-3FFEDA9A09EB}"/>
              </a:ext>
            </a:extLst>
          </p:cNvPr>
          <p:cNvSpPr/>
          <p:nvPr/>
        </p:nvSpPr>
        <p:spPr>
          <a:xfrm>
            <a:off x="8128936" y="1596430"/>
            <a:ext cx="2030126" cy="657026"/>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利用例２</a:t>
            </a:r>
            <a:endParaRPr kumimoji="1" lang="ja-JP" altLang="en-US" sz="2800" spc="100" dirty="0">
              <a:solidFill>
                <a:schemeClr val="bg1"/>
              </a:solidFill>
              <a:latin typeface="+mj-ea"/>
              <a:ea typeface="+mj-ea"/>
            </a:endParaRPr>
          </a:p>
        </p:txBody>
      </p:sp>
      <p:sp>
        <p:nvSpPr>
          <p:cNvPr id="22" name="四角形: 角を丸くする 21">
            <a:extLst>
              <a:ext uri="{FF2B5EF4-FFF2-40B4-BE49-F238E27FC236}">
                <a16:creationId xmlns:a16="http://schemas.microsoft.com/office/drawing/2014/main" id="{E5C28273-D3AE-A500-CD63-C1D32B674BDE}"/>
              </a:ext>
            </a:extLst>
          </p:cNvPr>
          <p:cNvSpPr/>
          <p:nvPr/>
        </p:nvSpPr>
        <p:spPr>
          <a:xfrm>
            <a:off x="13796351" y="1596430"/>
            <a:ext cx="2030126" cy="657026"/>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dirty="0">
                <a:solidFill>
                  <a:schemeClr val="bg1"/>
                </a:solidFill>
                <a:latin typeface="+mj-ea"/>
                <a:ea typeface="+mj-ea"/>
              </a:rPr>
              <a:t>利用例３</a:t>
            </a:r>
            <a:endParaRPr kumimoji="1" lang="ja-JP" altLang="en-US" sz="2800" spc="100" dirty="0">
              <a:solidFill>
                <a:schemeClr val="bg1"/>
              </a:solidFill>
              <a:latin typeface="+mj-ea"/>
              <a:ea typeface="+mj-ea"/>
            </a:endParaRPr>
          </a:p>
        </p:txBody>
      </p:sp>
      <p:sp>
        <p:nvSpPr>
          <p:cNvPr id="23" name="テキスト ボックス 22">
            <a:extLst>
              <a:ext uri="{FF2B5EF4-FFF2-40B4-BE49-F238E27FC236}">
                <a16:creationId xmlns:a16="http://schemas.microsoft.com/office/drawing/2014/main" id="{2C9593F4-796B-4C75-36F7-F2246C7AF1BB}"/>
              </a:ext>
            </a:extLst>
          </p:cNvPr>
          <p:cNvSpPr txBox="1"/>
          <p:nvPr/>
        </p:nvSpPr>
        <p:spPr>
          <a:xfrm>
            <a:off x="12519118" y="3052557"/>
            <a:ext cx="4584589" cy="1738040"/>
          </a:xfrm>
          <a:prstGeom prst="rect">
            <a:avLst/>
          </a:prstGeom>
          <a:noFill/>
        </p:spPr>
        <p:txBody>
          <a:bodyPr wrap="none" lIns="0" tIns="0" rIns="0" bIns="0" rtlCol="0" anchor="ctr">
            <a:spAutoFit/>
          </a:bodyPr>
          <a:lstStyle/>
          <a:p>
            <a:pPr>
              <a:lnSpc>
                <a:spcPct val="120000"/>
              </a:lnSpc>
              <a:spcAft>
                <a:spcPts val="1200"/>
              </a:spcAft>
            </a:pPr>
            <a:r>
              <a:rPr kumimoji="1" lang="ja-JP" altLang="en-US" sz="3200" spc="50" dirty="0">
                <a:latin typeface="+mn-ea"/>
              </a:rPr>
              <a:t>生成</a:t>
            </a:r>
            <a:r>
              <a:rPr kumimoji="1" lang="en-US" altLang="ja-JP" sz="3200" spc="50" dirty="0">
                <a:latin typeface="+mn-ea"/>
              </a:rPr>
              <a:t>AI</a:t>
            </a:r>
            <a:r>
              <a:rPr kumimoji="1" lang="ja-JP" altLang="en-US" sz="3200" spc="50" dirty="0">
                <a:latin typeface="+mn-ea"/>
              </a:rPr>
              <a:t>を利用して</a:t>
            </a:r>
            <a:br>
              <a:rPr kumimoji="1" lang="en-US" altLang="ja-JP" sz="3200" spc="50" dirty="0">
                <a:latin typeface="+mn-ea"/>
              </a:rPr>
            </a:br>
            <a:r>
              <a:rPr kumimoji="1" lang="ja-JP" altLang="en-US" sz="3200" spc="50" dirty="0">
                <a:latin typeface="+mn-ea"/>
              </a:rPr>
              <a:t>生成された</a:t>
            </a:r>
            <a:r>
              <a:rPr kumimoji="1" lang="ja-JP" altLang="en-US" sz="3200" spc="50" dirty="0">
                <a:solidFill>
                  <a:schemeClr val="accent3"/>
                </a:solidFill>
                <a:latin typeface="+mn-ea"/>
              </a:rPr>
              <a:t>著名人の</a:t>
            </a:r>
            <a:br>
              <a:rPr kumimoji="1" lang="en-US" altLang="ja-JP" sz="3200" spc="50" dirty="0">
                <a:solidFill>
                  <a:schemeClr val="accent3"/>
                </a:solidFill>
                <a:latin typeface="+mn-ea"/>
              </a:rPr>
            </a:br>
            <a:r>
              <a:rPr kumimoji="1" lang="ja-JP" altLang="en-US" sz="3200" spc="50" dirty="0">
                <a:solidFill>
                  <a:schemeClr val="accent3"/>
                </a:solidFill>
                <a:latin typeface="+mn-ea"/>
              </a:rPr>
              <a:t>氏名、肖像等</a:t>
            </a:r>
            <a:r>
              <a:rPr kumimoji="1" lang="ja-JP" altLang="en-US" sz="3200" spc="50" dirty="0">
                <a:latin typeface="+mn-ea"/>
              </a:rPr>
              <a:t>を商用利用</a:t>
            </a:r>
          </a:p>
        </p:txBody>
      </p:sp>
      <p:sp>
        <p:nvSpPr>
          <p:cNvPr id="25" name="テキスト ボックス 24">
            <a:extLst>
              <a:ext uri="{FF2B5EF4-FFF2-40B4-BE49-F238E27FC236}">
                <a16:creationId xmlns:a16="http://schemas.microsoft.com/office/drawing/2014/main" id="{1253369D-21D3-1F7E-87F9-4DCB01E2E6C3}"/>
              </a:ext>
            </a:extLst>
          </p:cNvPr>
          <p:cNvSpPr txBox="1"/>
          <p:nvPr/>
        </p:nvSpPr>
        <p:spPr>
          <a:xfrm>
            <a:off x="372103" y="9832817"/>
            <a:ext cx="8917506"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a:t>
            </a:r>
            <a:r>
              <a:rPr kumimoji="1" lang="ja-JP" altLang="en-US" sz="1400" spc="100" dirty="0">
                <a:solidFill>
                  <a:schemeClr val="tx2"/>
                </a:solidFill>
                <a:latin typeface="+mn-ea"/>
              </a:rPr>
              <a:t>一方、生成</a:t>
            </a:r>
            <a:r>
              <a:rPr kumimoji="1" lang="en-US" altLang="ja-JP" sz="1400" spc="100" dirty="0">
                <a:solidFill>
                  <a:schemeClr val="tx2"/>
                </a:solidFill>
                <a:latin typeface="+mn-ea"/>
              </a:rPr>
              <a:t>AI</a:t>
            </a:r>
            <a:r>
              <a:rPr kumimoji="1" lang="ja-JP" altLang="en-US" sz="1400" spc="100" dirty="0">
                <a:solidFill>
                  <a:schemeClr val="tx2"/>
                </a:solidFill>
                <a:latin typeface="+mn-ea"/>
              </a:rPr>
              <a:t>への入力段階では、著作物のデータは、原則として著作権者の許諾なく利用できる</a:t>
            </a:r>
          </a:p>
        </p:txBody>
      </p:sp>
      <p:grpSp>
        <p:nvGrpSpPr>
          <p:cNvPr id="37" name="グループ化 36">
            <a:extLst>
              <a:ext uri="{FF2B5EF4-FFF2-40B4-BE49-F238E27FC236}">
                <a16:creationId xmlns:a16="http://schemas.microsoft.com/office/drawing/2014/main" id="{C0235925-4C33-5A76-0903-60884804F543}"/>
              </a:ext>
            </a:extLst>
          </p:cNvPr>
          <p:cNvGrpSpPr/>
          <p:nvPr/>
        </p:nvGrpSpPr>
        <p:grpSpPr>
          <a:xfrm rot="5400000">
            <a:off x="3115060" y="6150179"/>
            <a:ext cx="723051" cy="647058"/>
            <a:chOff x="5293299" y="2670553"/>
            <a:chExt cx="1145111" cy="1024760"/>
          </a:xfrm>
          <a:solidFill>
            <a:schemeClr val="tx1"/>
          </a:solidFill>
        </p:grpSpPr>
        <p:grpSp>
          <p:nvGrpSpPr>
            <p:cNvPr id="38" name="グループ化 37">
              <a:extLst>
                <a:ext uri="{FF2B5EF4-FFF2-40B4-BE49-F238E27FC236}">
                  <a16:creationId xmlns:a16="http://schemas.microsoft.com/office/drawing/2014/main" id="{38F05370-87BA-CE94-BD20-FF4D0D4328D6}"/>
                </a:ext>
              </a:extLst>
            </p:cNvPr>
            <p:cNvGrpSpPr/>
            <p:nvPr/>
          </p:nvGrpSpPr>
          <p:grpSpPr>
            <a:xfrm>
              <a:off x="5293299" y="2883345"/>
              <a:ext cx="214078" cy="607582"/>
              <a:chOff x="5293299" y="2879141"/>
              <a:chExt cx="214078" cy="607582"/>
            </a:xfrm>
            <a:grpFill/>
          </p:grpSpPr>
          <p:sp>
            <p:nvSpPr>
              <p:cNvPr id="42" name="フリーフォーム: 図形 41">
                <a:extLst>
                  <a:ext uri="{FF2B5EF4-FFF2-40B4-BE49-F238E27FC236}">
                    <a16:creationId xmlns:a16="http://schemas.microsoft.com/office/drawing/2014/main" id="{0B4F4909-7B54-F12F-7847-863BDEEE460E}"/>
                  </a:ext>
                </a:extLst>
              </p:cNvPr>
              <p:cNvSpPr/>
              <p:nvPr/>
            </p:nvSpPr>
            <p:spPr>
              <a:xfrm>
                <a:off x="5404938" y="2879141"/>
                <a:ext cx="102439"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sp>
            <p:nvSpPr>
              <p:cNvPr id="43" name="フリーフォーム: 図形 42">
                <a:extLst>
                  <a:ext uri="{FF2B5EF4-FFF2-40B4-BE49-F238E27FC236}">
                    <a16:creationId xmlns:a16="http://schemas.microsoft.com/office/drawing/2014/main" id="{6A7CE002-E825-3EBF-E34E-FE62DB25FEAC}"/>
                  </a:ext>
                </a:extLst>
              </p:cNvPr>
              <p:cNvSpPr/>
              <p:nvPr/>
            </p:nvSpPr>
            <p:spPr>
              <a:xfrm rot="5400000">
                <a:off x="5017307" y="3155133"/>
                <a:ext cx="607582" cy="55598"/>
              </a:xfrm>
              <a:custGeom>
                <a:avLst/>
                <a:gdLst>
                  <a:gd name="connsiteX0" fmla="*/ 0 w 607582"/>
                  <a:gd name="connsiteY0" fmla="*/ 11157 h 55598"/>
                  <a:gd name="connsiteX1" fmla="*/ 0 w 607582"/>
                  <a:gd name="connsiteY1" fmla="*/ 0 h 55598"/>
                  <a:gd name="connsiteX2" fmla="*/ 607582 w 607582"/>
                  <a:gd name="connsiteY2" fmla="*/ 0 h 55598"/>
                  <a:gd name="connsiteX3" fmla="*/ 607582 w 607582"/>
                  <a:gd name="connsiteY3" fmla="*/ 11378 h 55598"/>
                  <a:gd name="connsiteX4" fmla="*/ 563362 w 607582"/>
                  <a:gd name="connsiteY4" fmla="*/ 55598 h 55598"/>
                  <a:gd name="connsiteX5" fmla="*/ 563583 w 607582"/>
                  <a:gd name="connsiteY5" fmla="*/ 55377 h 55598"/>
                  <a:gd name="connsiteX6" fmla="*/ 44220 w 607582"/>
                  <a:gd name="connsiteY6" fmla="*/ 55377 h 55598"/>
                  <a:gd name="connsiteX7" fmla="*/ 0 w 607582"/>
                  <a:gd name="connsiteY7" fmla="*/ 11157 h 5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582" h="55598">
                    <a:moveTo>
                      <a:pt x="0" y="11157"/>
                    </a:moveTo>
                    <a:lnTo>
                      <a:pt x="0" y="0"/>
                    </a:lnTo>
                    <a:lnTo>
                      <a:pt x="607582" y="0"/>
                    </a:lnTo>
                    <a:lnTo>
                      <a:pt x="607582" y="11378"/>
                    </a:lnTo>
                    <a:cubicBezTo>
                      <a:pt x="607582" y="35699"/>
                      <a:pt x="587683" y="55598"/>
                      <a:pt x="563362" y="55598"/>
                    </a:cubicBezTo>
                    <a:lnTo>
                      <a:pt x="563583" y="55377"/>
                    </a:lnTo>
                    <a:lnTo>
                      <a:pt x="44220" y="55377"/>
                    </a:lnTo>
                    <a:cubicBezTo>
                      <a:pt x="19899" y="55377"/>
                      <a:pt x="0" y="35478"/>
                      <a:pt x="0" y="11157"/>
                    </a:cubicBezTo>
                    <a:close/>
                  </a:path>
                </a:pathLst>
              </a:custGeom>
              <a:grpFill/>
              <a:ln w="21949" cap="flat">
                <a:noFill/>
                <a:prstDash val="solid"/>
                <a:miter/>
              </a:ln>
            </p:spPr>
            <p:txBody>
              <a:bodyPr rtlCol="0" anchor="ctr"/>
              <a:lstStyle/>
              <a:p>
                <a:endParaRPr lang="ja-JP" altLang="en-US"/>
              </a:p>
            </p:txBody>
          </p:sp>
        </p:grpSp>
        <p:grpSp>
          <p:nvGrpSpPr>
            <p:cNvPr id="39" name="グループ化 38">
              <a:extLst>
                <a:ext uri="{FF2B5EF4-FFF2-40B4-BE49-F238E27FC236}">
                  <a16:creationId xmlns:a16="http://schemas.microsoft.com/office/drawing/2014/main" id="{AF7899B5-A9B0-63E7-5A09-B22133274D44}"/>
                </a:ext>
              </a:extLst>
            </p:cNvPr>
            <p:cNvGrpSpPr/>
            <p:nvPr/>
          </p:nvGrpSpPr>
          <p:grpSpPr>
            <a:xfrm>
              <a:off x="5563419" y="2670553"/>
              <a:ext cx="874991" cy="1024760"/>
              <a:chOff x="5563419" y="2670553"/>
              <a:chExt cx="874991" cy="1024760"/>
            </a:xfrm>
            <a:grpFill/>
          </p:grpSpPr>
          <p:sp>
            <p:nvSpPr>
              <p:cNvPr id="40" name="フリーフォーム: 図形 39">
                <a:extLst>
                  <a:ext uri="{FF2B5EF4-FFF2-40B4-BE49-F238E27FC236}">
                    <a16:creationId xmlns:a16="http://schemas.microsoft.com/office/drawing/2014/main" id="{95F8FCFC-8F2F-CE1C-7462-5E0B577CE37F}"/>
                  </a:ext>
                </a:extLst>
              </p:cNvPr>
              <p:cNvSpPr/>
              <p:nvPr/>
            </p:nvSpPr>
            <p:spPr>
              <a:xfrm rot="5400000">
                <a:off x="5679200" y="2936103"/>
                <a:ext cx="1024760" cy="493660"/>
              </a:xfrm>
              <a:custGeom>
                <a:avLst/>
                <a:gdLst>
                  <a:gd name="connsiteX0" fmla="*/ 483416 w 1024760"/>
                  <a:gd name="connsiteY0" fmla="*/ 10779 h 493660"/>
                  <a:gd name="connsiteX1" fmla="*/ 15348 w 1024760"/>
                  <a:gd name="connsiteY1" fmla="*/ 416054 h 493660"/>
                  <a:gd name="connsiteX2" fmla="*/ 44313 w 1024760"/>
                  <a:gd name="connsiteY2" fmla="*/ 493660 h 493660"/>
                  <a:gd name="connsiteX3" fmla="*/ 980448 w 1024760"/>
                  <a:gd name="connsiteY3" fmla="*/ 493660 h 493660"/>
                  <a:gd name="connsiteX4" fmla="*/ 1009412 w 1024760"/>
                  <a:gd name="connsiteY4" fmla="*/ 416054 h 493660"/>
                  <a:gd name="connsiteX5" fmla="*/ 541344 w 1024760"/>
                  <a:gd name="connsiteY5" fmla="*/ 10779 h 493660"/>
                  <a:gd name="connsiteX6" fmla="*/ 483416 w 1024760"/>
                  <a:gd name="connsiteY6" fmla="*/ 10779 h 49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760" h="493660">
                    <a:moveTo>
                      <a:pt x="483416" y="10779"/>
                    </a:moveTo>
                    <a:lnTo>
                      <a:pt x="15348" y="416054"/>
                    </a:lnTo>
                    <a:cubicBezTo>
                      <a:pt x="-15605" y="442807"/>
                      <a:pt x="3409" y="493660"/>
                      <a:pt x="44313" y="493660"/>
                    </a:cubicBezTo>
                    <a:lnTo>
                      <a:pt x="980448" y="493660"/>
                    </a:lnTo>
                    <a:cubicBezTo>
                      <a:pt x="1021352" y="493660"/>
                      <a:pt x="1040366" y="442807"/>
                      <a:pt x="1009412" y="416054"/>
                    </a:cubicBezTo>
                    <a:lnTo>
                      <a:pt x="541344" y="10779"/>
                    </a:lnTo>
                    <a:cubicBezTo>
                      <a:pt x="524762" y="-3593"/>
                      <a:pt x="499999" y="-3593"/>
                      <a:pt x="483416" y="10779"/>
                    </a:cubicBezTo>
                    <a:close/>
                  </a:path>
                </a:pathLst>
              </a:custGeom>
              <a:grpFill/>
              <a:ln w="21949" cap="flat">
                <a:noFill/>
                <a:prstDash val="solid"/>
                <a:miter/>
              </a:ln>
            </p:spPr>
            <p:txBody>
              <a:bodyPr rtlCol="0" anchor="ctr"/>
              <a:lstStyle/>
              <a:p>
                <a:endParaRPr lang="ja-JP" altLang="en-US"/>
              </a:p>
            </p:txBody>
          </p:sp>
          <p:sp>
            <p:nvSpPr>
              <p:cNvPr id="41" name="フリーフォーム: 図形 40">
                <a:extLst>
                  <a:ext uri="{FF2B5EF4-FFF2-40B4-BE49-F238E27FC236}">
                    <a16:creationId xmlns:a16="http://schemas.microsoft.com/office/drawing/2014/main" id="{C82D145A-CD36-07CE-B46C-E12779197A10}"/>
                  </a:ext>
                </a:extLst>
              </p:cNvPr>
              <p:cNvSpPr/>
              <p:nvPr/>
            </p:nvSpPr>
            <p:spPr>
              <a:xfrm>
                <a:off x="5563419" y="2883344"/>
                <a:ext cx="419870"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grpSp>
      </p:grpSp>
      <p:grpSp>
        <p:nvGrpSpPr>
          <p:cNvPr id="44" name="グループ化 43">
            <a:extLst>
              <a:ext uri="{FF2B5EF4-FFF2-40B4-BE49-F238E27FC236}">
                <a16:creationId xmlns:a16="http://schemas.microsoft.com/office/drawing/2014/main" id="{CCFD2908-B07A-4975-4EFD-D5D144B3EA6D}"/>
              </a:ext>
            </a:extLst>
          </p:cNvPr>
          <p:cNvGrpSpPr/>
          <p:nvPr/>
        </p:nvGrpSpPr>
        <p:grpSpPr>
          <a:xfrm rot="5400000">
            <a:off x="8782475" y="6150179"/>
            <a:ext cx="723051" cy="647058"/>
            <a:chOff x="5293299" y="2670553"/>
            <a:chExt cx="1145111" cy="1024760"/>
          </a:xfrm>
          <a:solidFill>
            <a:schemeClr val="tx1"/>
          </a:solidFill>
        </p:grpSpPr>
        <p:grpSp>
          <p:nvGrpSpPr>
            <p:cNvPr id="45" name="グループ化 44">
              <a:extLst>
                <a:ext uri="{FF2B5EF4-FFF2-40B4-BE49-F238E27FC236}">
                  <a16:creationId xmlns:a16="http://schemas.microsoft.com/office/drawing/2014/main" id="{5807A683-ADAE-2746-636D-90C929848733}"/>
                </a:ext>
              </a:extLst>
            </p:cNvPr>
            <p:cNvGrpSpPr/>
            <p:nvPr/>
          </p:nvGrpSpPr>
          <p:grpSpPr>
            <a:xfrm>
              <a:off x="5293299" y="2883345"/>
              <a:ext cx="214078" cy="607582"/>
              <a:chOff x="5293299" y="2879141"/>
              <a:chExt cx="214078" cy="607582"/>
            </a:xfrm>
            <a:grpFill/>
          </p:grpSpPr>
          <p:sp>
            <p:nvSpPr>
              <p:cNvPr id="49" name="フリーフォーム: 図形 48">
                <a:extLst>
                  <a:ext uri="{FF2B5EF4-FFF2-40B4-BE49-F238E27FC236}">
                    <a16:creationId xmlns:a16="http://schemas.microsoft.com/office/drawing/2014/main" id="{4483CF3D-8B16-5A64-627B-0666D3228EF8}"/>
                  </a:ext>
                </a:extLst>
              </p:cNvPr>
              <p:cNvSpPr/>
              <p:nvPr/>
            </p:nvSpPr>
            <p:spPr>
              <a:xfrm>
                <a:off x="5404938" y="2879141"/>
                <a:ext cx="102439"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sp>
            <p:nvSpPr>
              <p:cNvPr id="50" name="フリーフォーム: 図形 49">
                <a:extLst>
                  <a:ext uri="{FF2B5EF4-FFF2-40B4-BE49-F238E27FC236}">
                    <a16:creationId xmlns:a16="http://schemas.microsoft.com/office/drawing/2014/main" id="{0935A68C-6C02-87AC-BB39-0BB4227B2F60}"/>
                  </a:ext>
                </a:extLst>
              </p:cNvPr>
              <p:cNvSpPr/>
              <p:nvPr/>
            </p:nvSpPr>
            <p:spPr>
              <a:xfrm rot="5400000">
                <a:off x="5017307" y="3155133"/>
                <a:ext cx="607582" cy="55598"/>
              </a:xfrm>
              <a:custGeom>
                <a:avLst/>
                <a:gdLst>
                  <a:gd name="connsiteX0" fmla="*/ 0 w 607582"/>
                  <a:gd name="connsiteY0" fmla="*/ 11157 h 55598"/>
                  <a:gd name="connsiteX1" fmla="*/ 0 w 607582"/>
                  <a:gd name="connsiteY1" fmla="*/ 0 h 55598"/>
                  <a:gd name="connsiteX2" fmla="*/ 607582 w 607582"/>
                  <a:gd name="connsiteY2" fmla="*/ 0 h 55598"/>
                  <a:gd name="connsiteX3" fmla="*/ 607582 w 607582"/>
                  <a:gd name="connsiteY3" fmla="*/ 11378 h 55598"/>
                  <a:gd name="connsiteX4" fmla="*/ 563362 w 607582"/>
                  <a:gd name="connsiteY4" fmla="*/ 55598 h 55598"/>
                  <a:gd name="connsiteX5" fmla="*/ 563583 w 607582"/>
                  <a:gd name="connsiteY5" fmla="*/ 55377 h 55598"/>
                  <a:gd name="connsiteX6" fmla="*/ 44220 w 607582"/>
                  <a:gd name="connsiteY6" fmla="*/ 55377 h 55598"/>
                  <a:gd name="connsiteX7" fmla="*/ 0 w 607582"/>
                  <a:gd name="connsiteY7" fmla="*/ 11157 h 5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582" h="55598">
                    <a:moveTo>
                      <a:pt x="0" y="11157"/>
                    </a:moveTo>
                    <a:lnTo>
                      <a:pt x="0" y="0"/>
                    </a:lnTo>
                    <a:lnTo>
                      <a:pt x="607582" y="0"/>
                    </a:lnTo>
                    <a:lnTo>
                      <a:pt x="607582" y="11378"/>
                    </a:lnTo>
                    <a:cubicBezTo>
                      <a:pt x="607582" y="35699"/>
                      <a:pt x="587683" y="55598"/>
                      <a:pt x="563362" y="55598"/>
                    </a:cubicBezTo>
                    <a:lnTo>
                      <a:pt x="563583" y="55377"/>
                    </a:lnTo>
                    <a:lnTo>
                      <a:pt x="44220" y="55377"/>
                    </a:lnTo>
                    <a:cubicBezTo>
                      <a:pt x="19899" y="55377"/>
                      <a:pt x="0" y="35478"/>
                      <a:pt x="0" y="11157"/>
                    </a:cubicBezTo>
                    <a:close/>
                  </a:path>
                </a:pathLst>
              </a:custGeom>
              <a:grpFill/>
              <a:ln w="21949" cap="flat">
                <a:noFill/>
                <a:prstDash val="solid"/>
                <a:miter/>
              </a:ln>
            </p:spPr>
            <p:txBody>
              <a:bodyPr rtlCol="0" anchor="ctr"/>
              <a:lstStyle/>
              <a:p>
                <a:endParaRPr lang="ja-JP" altLang="en-US"/>
              </a:p>
            </p:txBody>
          </p:sp>
        </p:grpSp>
        <p:grpSp>
          <p:nvGrpSpPr>
            <p:cNvPr id="46" name="グループ化 45">
              <a:extLst>
                <a:ext uri="{FF2B5EF4-FFF2-40B4-BE49-F238E27FC236}">
                  <a16:creationId xmlns:a16="http://schemas.microsoft.com/office/drawing/2014/main" id="{B86D11EF-813C-D1DA-B036-BDC9DE02082A}"/>
                </a:ext>
              </a:extLst>
            </p:cNvPr>
            <p:cNvGrpSpPr/>
            <p:nvPr/>
          </p:nvGrpSpPr>
          <p:grpSpPr>
            <a:xfrm>
              <a:off x="5563419" y="2670553"/>
              <a:ext cx="874991" cy="1024760"/>
              <a:chOff x="5563419" y="2670553"/>
              <a:chExt cx="874991" cy="1024760"/>
            </a:xfrm>
            <a:grpFill/>
          </p:grpSpPr>
          <p:sp>
            <p:nvSpPr>
              <p:cNvPr id="47" name="フリーフォーム: 図形 46">
                <a:extLst>
                  <a:ext uri="{FF2B5EF4-FFF2-40B4-BE49-F238E27FC236}">
                    <a16:creationId xmlns:a16="http://schemas.microsoft.com/office/drawing/2014/main" id="{C88BD0BE-02ED-D217-8553-965A48CD6DFE}"/>
                  </a:ext>
                </a:extLst>
              </p:cNvPr>
              <p:cNvSpPr/>
              <p:nvPr/>
            </p:nvSpPr>
            <p:spPr>
              <a:xfrm rot="5400000">
                <a:off x="5679200" y="2936103"/>
                <a:ext cx="1024760" cy="493660"/>
              </a:xfrm>
              <a:custGeom>
                <a:avLst/>
                <a:gdLst>
                  <a:gd name="connsiteX0" fmla="*/ 483416 w 1024760"/>
                  <a:gd name="connsiteY0" fmla="*/ 10779 h 493660"/>
                  <a:gd name="connsiteX1" fmla="*/ 15348 w 1024760"/>
                  <a:gd name="connsiteY1" fmla="*/ 416054 h 493660"/>
                  <a:gd name="connsiteX2" fmla="*/ 44313 w 1024760"/>
                  <a:gd name="connsiteY2" fmla="*/ 493660 h 493660"/>
                  <a:gd name="connsiteX3" fmla="*/ 980448 w 1024760"/>
                  <a:gd name="connsiteY3" fmla="*/ 493660 h 493660"/>
                  <a:gd name="connsiteX4" fmla="*/ 1009412 w 1024760"/>
                  <a:gd name="connsiteY4" fmla="*/ 416054 h 493660"/>
                  <a:gd name="connsiteX5" fmla="*/ 541344 w 1024760"/>
                  <a:gd name="connsiteY5" fmla="*/ 10779 h 493660"/>
                  <a:gd name="connsiteX6" fmla="*/ 483416 w 1024760"/>
                  <a:gd name="connsiteY6" fmla="*/ 10779 h 49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760" h="493660">
                    <a:moveTo>
                      <a:pt x="483416" y="10779"/>
                    </a:moveTo>
                    <a:lnTo>
                      <a:pt x="15348" y="416054"/>
                    </a:lnTo>
                    <a:cubicBezTo>
                      <a:pt x="-15605" y="442807"/>
                      <a:pt x="3409" y="493660"/>
                      <a:pt x="44313" y="493660"/>
                    </a:cubicBezTo>
                    <a:lnTo>
                      <a:pt x="980448" y="493660"/>
                    </a:lnTo>
                    <a:cubicBezTo>
                      <a:pt x="1021352" y="493660"/>
                      <a:pt x="1040366" y="442807"/>
                      <a:pt x="1009412" y="416054"/>
                    </a:cubicBezTo>
                    <a:lnTo>
                      <a:pt x="541344" y="10779"/>
                    </a:lnTo>
                    <a:cubicBezTo>
                      <a:pt x="524762" y="-3593"/>
                      <a:pt x="499999" y="-3593"/>
                      <a:pt x="483416" y="10779"/>
                    </a:cubicBezTo>
                    <a:close/>
                  </a:path>
                </a:pathLst>
              </a:custGeom>
              <a:grpFill/>
              <a:ln w="21949" cap="flat">
                <a:noFill/>
                <a:prstDash val="solid"/>
                <a:miter/>
              </a:ln>
            </p:spPr>
            <p:txBody>
              <a:bodyPr rtlCol="0" anchor="ctr"/>
              <a:lstStyle/>
              <a:p>
                <a:endParaRPr lang="ja-JP" altLang="en-US"/>
              </a:p>
            </p:txBody>
          </p:sp>
          <p:sp>
            <p:nvSpPr>
              <p:cNvPr id="48" name="フリーフォーム: 図形 47">
                <a:extLst>
                  <a:ext uri="{FF2B5EF4-FFF2-40B4-BE49-F238E27FC236}">
                    <a16:creationId xmlns:a16="http://schemas.microsoft.com/office/drawing/2014/main" id="{309524C4-7946-1DD7-6116-636678B0874E}"/>
                  </a:ext>
                </a:extLst>
              </p:cNvPr>
              <p:cNvSpPr/>
              <p:nvPr/>
            </p:nvSpPr>
            <p:spPr>
              <a:xfrm>
                <a:off x="5563419" y="2883344"/>
                <a:ext cx="419870"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grpSp>
      </p:grpSp>
      <p:grpSp>
        <p:nvGrpSpPr>
          <p:cNvPr id="51" name="グループ化 50">
            <a:extLst>
              <a:ext uri="{FF2B5EF4-FFF2-40B4-BE49-F238E27FC236}">
                <a16:creationId xmlns:a16="http://schemas.microsoft.com/office/drawing/2014/main" id="{722FEC82-2329-9909-7767-0DE0EC688314}"/>
              </a:ext>
            </a:extLst>
          </p:cNvPr>
          <p:cNvGrpSpPr/>
          <p:nvPr/>
        </p:nvGrpSpPr>
        <p:grpSpPr>
          <a:xfrm rot="5400000">
            <a:off x="14449889" y="6150179"/>
            <a:ext cx="723050" cy="647057"/>
            <a:chOff x="5293299" y="2670553"/>
            <a:chExt cx="1145111" cy="1024760"/>
          </a:xfrm>
          <a:solidFill>
            <a:schemeClr val="tx1"/>
          </a:solidFill>
        </p:grpSpPr>
        <p:grpSp>
          <p:nvGrpSpPr>
            <p:cNvPr id="52" name="グループ化 51">
              <a:extLst>
                <a:ext uri="{FF2B5EF4-FFF2-40B4-BE49-F238E27FC236}">
                  <a16:creationId xmlns:a16="http://schemas.microsoft.com/office/drawing/2014/main" id="{0E3DFF0B-0A6D-550D-0674-71FB092F1028}"/>
                </a:ext>
              </a:extLst>
            </p:cNvPr>
            <p:cNvGrpSpPr/>
            <p:nvPr/>
          </p:nvGrpSpPr>
          <p:grpSpPr>
            <a:xfrm>
              <a:off x="5293299" y="2883345"/>
              <a:ext cx="214078" cy="607582"/>
              <a:chOff x="5293299" y="2879141"/>
              <a:chExt cx="214078" cy="607582"/>
            </a:xfrm>
            <a:grpFill/>
          </p:grpSpPr>
          <p:sp>
            <p:nvSpPr>
              <p:cNvPr id="56" name="フリーフォーム: 図形 55">
                <a:extLst>
                  <a:ext uri="{FF2B5EF4-FFF2-40B4-BE49-F238E27FC236}">
                    <a16:creationId xmlns:a16="http://schemas.microsoft.com/office/drawing/2014/main" id="{2437B496-CFBF-94AD-C9FA-0E291FA4C6DB}"/>
                  </a:ext>
                </a:extLst>
              </p:cNvPr>
              <p:cNvSpPr/>
              <p:nvPr/>
            </p:nvSpPr>
            <p:spPr>
              <a:xfrm>
                <a:off x="5404938" y="2879141"/>
                <a:ext cx="102439"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sp>
            <p:nvSpPr>
              <p:cNvPr id="57" name="フリーフォーム: 図形 56">
                <a:extLst>
                  <a:ext uri="{FF2B5EF4-FFF2-40B4-BE49-F238E27FC236}">
                    <a16:creationId xmlns:a16="http://schemas.microsoft.com/office/drawing/2014/main" id="{7C743314-3311-DC6E-685E-75DEA5354559}"/>
                  </a:ext>
                </a:extLst>
              </p:cNvPr>
              <p:cNvSpPr/>
              <p:nvPr/>
            </p:nvSpPr>
            <p:spPr>
              <a:xfrm rot="5400000">
                <a:off x="5017307" y="3155133"/>
                <a:ext cx="607582" cy="55598"/>
              </a:xfrm>
              <a:custGeom>
                <a:avLst/>
                <a:gdLst>
                  <a:gd name="connsiteX0" fmla="*/ 0 w 607582"/>
                  <a:gd name="connsiteY0" fmla="*/ 11157 h 55598"/>
                  <a:gd name="connsiteX1" fmla="*/ 0 w 607582"/>
                  <a:gd name="connsiteY1" fmla="*/ 0 h 55598"/>
                  <a:gd name="connsiteX2" fmla="*/ 607582 w 607582"/>
                  <a:gd name="connsiteY2" fmla="*/ 0 h 55598"/>
                  <a:gd name="connsiteX3" fmla="*/ 607582 w 607582"/>
                  <a:gd name="connsiteY3" fmla="*/ 11378 h 55598"/>
                  <a:gd name="connsiteX4" fmla="*/ 563362 w 607582"/>
                  <a:gd name="connsiteY4" fmla="*/ 55598 h 55598"/>
                  <a:gd name="connsiteX5" fmla="*/ 563583 w 607582"/>
                  <a:gd name="connsiteY5" fmla="*/ 55377 h 55598"/>
                  <a:gd name="connsiteX6" fmla="*/ 44220 w 607582"/>
                  <a:gd name="connsiteY6" fmla="*/ 55377 h 55598"/>
                  <a:gd name="connsiteX7" fmla="*/ 0 w 607582"/>
                  <a:gd name="connsiteY7" fmla="*/ 11157 h 5559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607582" h="55598">
                    <a:moveTo>
                      <a:pt x="0" y="11157"/>
                    </a:moveTo>
                    <a:lnTo>
                      <a:pt x="0" y="0"/>
                    </a:lnTo>
                    <a:lnTo>
                      <a:pt x="607582" y="0"/>
                    </a:lnTo>
                    <a:lnTo>
                      <a:pt x="607582" y="11378"/>
                    </a:lnTo>
                    <a:cubicBezTo>
                      <a:pt x="607582" y="35699"/>
                      <a:pt x="587683" y="55598"/>
                      <a:pt x="563362" y="55598"/>
                    </a:cubicBezTo>
                    <a:lnTo>
                      <a:pt x="563583" y="55377"/>
                    </a:lnTo>
                    <a:lnTo>
                      <a:pt x="44220" y="55377"/>
                    </a:lnTo>
                    <a:cubicBezTo>
                      <a:pt x="19899" y="55377"/>
                      <a:pt x="0" y="35478"/>
                      <a:pt x="0" y="11157"/>
                    </a:cubicBezTo>
                    <a:close/>
                  </a:path>
                </a:pathLst>
              </a:custGeom>
              <a:grpFill/>
              <a:ln w="21949" cap="flat">
                <a:noFill/>
                <a:prstDash val="solid"/>
                <a:miter/>
              </a:ln>
            </p:spPr>
            <p:txBody>
              <a:bodyPr rtlCol="0" anchor="ctr"/>
              <a:lstStyle/>
              <a:p>
                <a:endParaRPr lang="ja-JP" altLang="en-US"/>
              </a:p>
            </p:txBody>
          </p:sp>
        </p:grpSp>
        <p:grpSp>
          <p:nvGrpSpPr>
            <p:cNvPr id="53" name="グループ化 52">
              <a:extLst>
                <a:ext uri="{FF2B5EF4-FFF2-40B4-BE49-F238E27FC236}">
                  <a16:creationId xmlns:a16="http://schemas.microsoft.com/office/drawing/2014/main" id="{901D3E5B-64BA-EC0E-3017-4E0D725DFAD3}"/>
                </a:ext>
              </a:extLst>
            </p:cNvPr>
            <p:cNvGrpSpPr/>
            <p:nvPr/>
          </p:nvGrpSpPr>
          <p:grpSpPr>
            <a:xfrm>
              <a:off x="5563419" y="2670553"/>
              <a:ext cx="874991" cy="1024760"/>
              <a:chOff x="5563419" y="2670553"/>
              <a:chExt cx="874991" cy="1024760"/>
            </a:xfrm>
            <a:grpFill/>
          </p:grpSpPr>
          <p:sp>
            <p:nvSpPr>
              <p:cNvPr id="54" name="フリーフォーム: 図形 53">
                <a:extLst>
                  <a:ext uri="{FF2B5EF4-FFF2-40B4-BE49-F238E27FC236}">
                    <a16:creationId xmlns:a16="http://schemas.microsoft.com/office/drawing/2014/main" id="{7F92FC3B-2286-466B-5B2E-2690B9535164}"/>
                  </a:ext>
                </a:extLst>
              </p:cNvPr>
              <p:cNvSpPr/>
              <p:nvPr/>
            </p:nvSpPr>
            <p:spPr>
              <a:xfrm rot="5400000">
                <a:off x="5679200" y="2936103"/>
                <a:ext cx="1024760" cy="493660"/>
              </a:xfrm>
              <a:custGeom>
                <a:avLst/>
                <a:gdLst>
                  <a:gd name="connsiteX0" fmla="*/ 483416 w 1024760"/>
                  <a:gd name="connsiteY0" fmla="*/ 10779 h 493660"/>
                  <a:gd name="connsiteX1" fmla="*/ 15348 w 1024760"/>
                  <a:gd name="connsiteY1" fmla="*/ 416054 h 493660"/>
                  <a:gd name="connsiteX2" fmla="*/ 44313 w 1024760"/>
                  <a:gd name="connsiteY2" fmla="*/ 493660 h 493660"/>
                  <a:gd name="connsiteX3" fmla="*/ 980448 w 1024760"/>
                  <a:gd name="connsiteY3" fmla="*/ 493660 h 493660"/>
                  <a:gd name="connsiteX4" fmla="*/ 1009412 w 1024760"/>
                  <a:gd name="connsiteY4" fmla="*/ 416054 h 493660"/>
                  <a:gd name="connsiteX5" fmla="*/ 541344 w 1024760"/>
                  <a:gd name="connsiteY5" fmla="*/ 10779 h 493660"/>
                  <a:gd name="connsiteX6" fmla="*/ 483416 w 1024760"/>
                  <a:gd name="connsiteY6" fmla="*/ 10779 h 49366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24760" h="493660">
                    <a:moveTo>
                      <a:pt x="483416" y="10779"/>
                    </a:moveTo>
                    <a:lnTo>
                      <a:pt x="15348" y="416054"/>
                    </a:lnTo>
                    <a:cubicBezTo>
                      <a:pt x="-15605" y="442807"/>
                      <a:pt x="3409" y="493660"/>
                      <a:pt x="44313" y="493660"/>
                    </a:cubicBezTo>
                    <a:lnTo>
                      <a:pt x="980448" y="493660"/>
                    </a:lnTo>
                    <a:cubicBezTo>
                      <a:pt x="1021352" y="493660"/>
                      <a:pt x="1040366" y="442807"/>
                      <a:pt x="1009412" y="416054"/>
                    </a:cubicBezTo>
                    <a:lnTo>
                      <a:pt x="541344" y="10779"/>
                    </a:lnTo>
                    <a:cubicBezTo>
                      <a:pt x="524762" y="-3593"/>
                      <a:pt x="499999" y="-3593"/>
                      <a:pt x="483416" y="10779"/>
                    </a:cubicBezTo>
                    <a:close/>
                  </a:path>
                </a:pathLst>
              </a:custGeom>
              <a:grpFill/>
              <a:ln w="21949" cap="flat">
                <a:noFill/>
                <a:prstDash val="solid"/>
                <a:miter/>
              </a:ln>
            </p:spPr>
            <p:txBody>
              <a:bodyPr rtlCol="0" anchor="ctr"/>
              <a:lstStyle/>
              <a:p>
                <a:endParaRPr lang="ja-JP" altLang="en-US"/>
              </a:p>
            </p:txBody>
          </p:sp>
          <p:sp>
            <p:nvSpPr>
              <p:cNvPr id="55" name="フリーフォーム: 図形 54">
                <a:extLst>
                  <a:ext uri="{FF2B5EF4-FFF2-40B4-BE49-F238E27FC236}">
                    <a16:creationId xmlns:a16="http://schemas.microsoft.com/office/drawing/2014/main" id="{3CB849A6-4B21-52C1-693C-AD076BE5B5A0}"/>
                  </a:ext>
                </a:extLst>
              </p:cNvPr>
              <p:cNvSpPr/>
              <p:nvPr/>
            </p:nvSpPr>
            <p:spPr>
              <a:xfrm>
                <a:off x="5563419" y="2883344"/>
                <a:ext cx="419870" cy="607581"/>
              </a:xfrm>
              <a:custGeom>
                <a:avLst/>
                <a:gdLst>
                  <a:gd name="connsiteX0" fmla="*/ 0 w 35099"/>
                  <a:gd name="connsiteY0" fmla="*/ 0 h 196176"/>
                  <a:gd name="connsiteX1" fmla="*/ 35100 w 35099"/>
                  <a:gd name="connsiteY1" fmla="*/ 0 h 196176"/>
                  <a:gd name="connsiteX2" fmla="*/ 35100 w 35099"/>
                  <a:gd name="connsiteY2" fmla="*/ 196177 h 196176"/>
                  <a:gd name="connsiteX3" fmla="*/ 0 w 35099"/>
                  <a:gd name="connsiteY3" fmla="*/ 196177 h 196176"/>
                </a:gdLst>
                <a:ahLst/>
                <a:cxnLst>
                  <a:cxn ang="0">
                    <a:pos x="connsiteX0" y="connsiteY0"/>
                  </a:cxn>
                  <a:cxn ang="0">
                    <a:pos x="connsiteX1" y="connsiteY1"/>
                  </a:cxn>
                  <a:cxn ang="0">
                    <a:pos x="connsiteX2" y="connsiteY2"/>
                  </a:cxn>
                  <a:cxn ang="0">
                    <a:pos x="connsiteX3" y="connsiteY3"/>
                  </a:cxn>
                </a:cxnLst>
                <a:rect l="l" t="t" r="r" b="b"/>
                <a:pathLst>
                  <a:path w="35099" h="196176">
                    <a:moveTo>
                      <a:pt x="0" y="0"/>
                    </a:moveTo>
                    <a:lnTo>
                      <a:pt x="35100" y="0"/>
                    </a:lnTo>
                    <a:lnTo>
                      <a:pt x="35100" y="196177"/>
                    </a:lnTo>
                    <a:lnTo>
                      <a:pt x="0" y="196177"/>
                    </a:lnTo>
                    <a:close/>
                  </a:path>
                </a:pathLst>
              </a:custGeom>
              <a:grpFill/>
              <a:ln w="9525" cap="flat">
                <a:noFill/>
                <a:prstDash val="solid"/>
                <a:miter/>
              </a:ln>
            </p:spPr>
            <p:txBody>
              <a:bodyPr lIns="0" tIns="0" rIns="0" bIns="0" rtlCol="0" anchor="ctr"/>
              <a:lstStyle/>
              <a:p>
                <a:endParaRPr lang="ja-JP" altLang="en-US" sz="2201"/>
              </a:p>
            </p:txBody>
          </p:sp>
        </p:grpSp>
      </p:grpSp>
      <p:grpSp>
        <p:nvGrpSpPr>
          <p:cNvPr id="67" name="グループ化 66">
            <a:extLst>
              <a:ext uri="{FF2B5EF4-FFF2-40B4-BE49-F238E27FC236}">
                <a16:creationId xmlns:a16="http://schemas.microsoft.com/office/drawing/2014/main" id="{ECB4EF31-CF00-EA30-834A-4B2463C8B703}"/>
              </a:ext>
            </a:extLst>
          </p:cNvPr>
          <p:cNvGrpSpPr/>
          <p:nvPr/>
        </p:nvGrpSpPr>
        <p:grpSpPr>
          <a:xfrm>
            <a:off x="1065325" y="7052025"/>
            <a:ext cx="4822520" cy="1045350"/>
            <a:chOff x="1093721" y="7075175"/>
            <a:chExt cx="4675158" cy="1045350"/>
          </a:xfrm>
        </p:grpSpPr>
        <p:sp>
          <p:nvSpPr>
            <p:cNvPr id="24" name="四角形: 角を丸くする 23">
              <a:extLst>
                <a:ext uri="{FF2B5EF4-FFF2-40B4-BE49-F238E27FC236}">
                  <a16:creationId xmlns:a16="http://schemas.microsoft.com/office/drawing/2014/main" id="{A7398A5F-83BA-EB13-2707-A3C8150A7B59}"/>
                </a:ext>
              </a:extLst>
            </p:cNvPr>
            <p:cNvSpPr/>
            <p:nvPr/>
          </p:nvSpPr>
          <p:spPr>
            <a:xfrm>
              <a:off x="1093721" y="7075175"/>
              <a:ext cx="4675158" cy="1045350"/>
            </a:xfrm>
            <a:prstGeom prst="roundRect">
              <a:avLst>
                <a:gd name="adj" fmla="val 10960"/>
              </a:avLst>
            </a:prstGeom>
            <a:solidFill>
              <a:schemeClr val="accent3"/>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1008000" tIns="180000" rIns="360000" bIns="180000" rtlCol="0" anchor="ctr">
              <a:noAutofit/>
            </a:bodyPr>
            <a:lstStyle/>
            <a:p>
              <a:pPr algn="ctr"/>
              <a:r>
                <a:rPr lang="ja-JP" altLang="en-US" sz="4000" spc="100" dirty="0">
                  <a:solidFill>
                    <a:schemeClr val="bg1"/>
                  </a:solidFill>
                  <a:latin typeface="+mj-ea"/>
                  <a:ea typeface="+mj-ea"/>
                </a:rPr>
                <a:t>著作権</a:t>
              </a:r>
              <a:endParaRPr kumimoji="1" lang="ja-JP" altLang="en-US" sz="4000" spc="100" dirty="0">
                <a:solidFill>
                  <a:schemeClr val="bg1"/>
                </a:solidFill>
                <a:latin typeface="+mj-ea"/>
                <a:ea typeface="+mj-ea"/>
              </a:endParaRPr>
            </a:p>
          </p:txBody>
        </p:sp>
        <p:sp>
          <p:nvSpPr>
            <p:cNvPr id="64" name="グラフィックス 143">
              <a:extLst>
                <a:ext uri="{FF2B5EF4-FFF2-40B4-BE49-F238E27FC236}">
                  <a16:creationId xmlns:a16="http://schemas.microsoft.com/office/drawing/2014/main" id="{A00F6C95-5A60-AF13-2B2A-31EC13959378}"/>
                </a:ext>
              </a:extLst>
            </p:cNvPr>
            <p:cNvSpPr/>
            <p:nvPr/>
          </p:nvSpPr>
          <p:spPr>
            <a:xfrm>
              <a:off x="2283137" y="7318726"/>
              <a:ext cx="579301" cy="511949"/>
            </a:xfrm>
            <a:custGeom>
              <a:avLst/>
              <a:gdLst>
                <a:gd name="connsiteX0" fmla="*/ 621479 w 627150"/>
                <a:gd name="connsiteY0" fmla="*/ 491510 h 554234"/>
                <a:gd name="connsiteX1" fmla="*/ 349792 w 627150"/>
                <a:gd name="connsiteY1" fmla="*/ 20912 h 554234"/>
                <a:gd name="connsiteX2" fmla="*/ 277366 w 627150"/>
                <a:gd name="connsiteY2" fmla="*/ 20912 h 554234"/>
                <a:gd name="connsiteX3" fmla="*/ 5662 w 627150"/>
                <a:gd name="connsiteY3" fmla="*/ 491510 h 554234"/>
                <a:gd name="connsiteX4" fmla="*/ 41875 w 627150"/>
                <a:gd name="connsiteY4" fmla="*/ 554234 h 554234"/>
                <a:gd name="connsiteX5" fmla="*/ 585283 w 627150"/>
                <a:gd name="connsiteY5" fmla="*/ 554234 h 554234"/>
                <a:gd name="connsiteX6" fmla="*/ 621479 w 627150"/>
                <a:gd name="connsiteY6" fmla="*/ 491510 h 554234"/>
                <a:gd name="connsiteX7" fmla="*/ 281146 w 627150"/>
                <a:gd name="connsiteY7" fmla="*/ 188528 h 554234"/>
                <a:gd name="connsiteX8" fmla="*/ 314014 w 627150"/>
                <a:gd name="connsiteY8" fmla="*/ 158387 h 554234"/>
                <a:gd name="connsiteX9" fmla="*/ 345978 w 627150"/>
                <a:gd name="connsiteY9" fmla="*/ 188528 h 554234"/>
                <a:gd name="connsiteX10" fmla="*/ 345978 w 627150"/>
                <a:gd name="connsiteY10" fmla="*/ 193094 h 554234"/>
                <a:gd name="connsiteX11" fmla="*/ 334554 w 627150"/>
                <a:gd name="connsiteY11" fmla="*/ 380999 h 554234"/>
                <a:gd name="connsiteX12" fmla="*/ 313094 w 627150"/>
                <a:gd name="connsiteY12" fmla="*/ 399716 h 554234"/>
                <a:gd name="connsiteX13" fmla="*/ 292554 w 627150"/>
                <a:gd name="connsiteY13" fmla="*/ 380999 h 554234"/>
                <a:gd name="connsiteX14" fmla="*/ 281130 w 627150"/>
                <a:gd name="connsiteY14" fmla="*/ 193094 h 554234"/>
                <a:gd name="connsiteX15" fmla="*/ 281130 w 627150"/>
                <a:gd name="connsiteY15" fmla="*/ 188528 h 554234"/>
                <a:gd name="connsiteX16" fmla="*/ 313345 w 627150"/>
                <a:gd name="connsiteY16" fmla="*/ 494237 h 554234"/>
                <a:gd name="connsiteX17" fmla="*/ 279106 w 627150"/>
                <a:gd name="connsiteY17" fmla="*/ 459998 h 554234"/>
                <a:gd name="connsiteX18" fmla="*/ 313345 w 627150"/>
                <a:gd name="connsiteY18" fmla="*/ 425290 h 554234"/>
                <a:gd name="connsiteX19" fmla="*/ 348052 w 627150"/>
                <a:gd name="connsiteY19" fmla="*/ 459998 h 554234"/>
                <a:gd name="connsiteX20" fmla="*/ 313345 w 627150"/>
                <a:gd name="connsiteY20" fmla="*/ 494237 h 55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7150" h="554234">
                  <a:moveTo>
                    <a:pt x="621479" y="491510"/>
                  </a:moveTo>
                  <a:lnTo>
                    <a:pt x="349792" y="20912"/>
                  </a:lnTo>
                  <a:cubicBezTo>
                    <a:pt x="333701" y="-6971"/>
                    <a:pt x="293457" y="-6971"/>
                    <a:pt x="277366" y="20912"/>
                  </a:cubicBezTo>
                  <a:lnTo>
                    <a:pt x="5662" y="491510"/>
                  </a:lnTo>
                  <a:cubicBezTo>
                    <a:pt x="-10429" y="519393"/>
                    <a:pt x="9693" y="554234"/>
                    <a:pt x="41875" y="554234"/>
                  </a:cubicBezTo>
                  <a:lnTo>
                    <a:pt x="585283" y="554234"/>
                  </a:lnTo>
                  <a:cubicBezTo>
                    <a:pt x="617465" y="554234"/>
                    <a:pt x="637587" y="519393"/>
                    <a:pt x="621479" y="491510"/>
                  </a:cubicBezTo>
                  <a:close/>
                  <a:moveTo>
                    <a:pt x="281146" y="188528"/>
                  </a:moveTo>
                  <a:cubicBezTo>
                    <a:pt x="281146" y="169343"/>
                    <a:pt x="295765" y="158387"/>
                    <a:pt x="314014" y="158387"/>
                  </a:cubicBezTo>
                  <a:cubicBezTo>
                    <a:pt x="331844" y="158387"/>
                    <a:pt x="345978" y="169811"/>
                    <a:pt x="345978" y="188528"/>
                  </a:cubicBezTo>
                  <a:lnTo>
                    <a:pt x="345978" y="193094"/>
                  </a:lnTo>
                  <a:cubicBezTo>
                    <a:pt x="340492" y="257926"/>
                    <a:pt x="336845" y="305663"/>
                    <a:pt x="334554" y="380999"/>
                  </a:cubicBezTo>
                  <a:cubicBezTo>
                    <a:pt x="334102" y="392406"/>
                    <a:pt x="325421" y="399716"/>
                    <a:pt x="313094" y="399716"/>
                  </a:cubicBezTo>
                  <a:cubicBezTo>
                    <a:pt x="300766" y="399716"/>
                    <a:pt x="293005" y="392406"/>
                    <a:pt x="292554" y="380999"/>
                  </a:cubicBezTo>
                  <a:cubicBezTo>
                    <a:pt x="290262" y="305663"/>
                    <a:pt x="286616" y="257926"/>
                    <a:pt x="281130" y="193094"/>
                  </a:cubicBezTo>
                  <a:lnTo>
                    <a:pt x="281130" y="188528"/>
                  </a:lnTo>
                  <a:close/>
                  <a:moveTo>
                    <a:pt x="313345" y="494237"/>
                  </a:moveTo>
                  <a:cubicBezTo>
                    <a:pt x="294159" y="494237"/>
                    <a:pt x="279106" y="479618"/>
                    <a:pt x="279106" y="459998"/>
                  </a:cubicBezTo>
                  <a:cubicBezTo>
                    <a:pt x="279106" y="440812"/>
                    <a:pt x="294159" y="425290"/>
                    <a:pt x="313345" y="425290"/>
                  </a:cubicBezTo>
                  <a:cubicBezTo>
                    <a:pt x="332982" y="425290"/>
                    <a:pt x="348052" y="440812"/>
                    <a:pt x="348052" y="459998"/>
                  </a:cubicBezTo>
                  <a:cubicBezTo>
                    <a:pt x="348035" y="479634"/>
                    <a:pt x="332982" y="494237"/>
                    <a:pt x="313345" y="494237"/>
                  </a:cubicBezTo>
                  <a:close/>
                </a:path>
              </a:pathLst>
            </a:custGeom>
            <a:solidFill>
              <a:schemeClr val="bg1"/>
            </a:solidFill>
            <a:ln w="16476" cap="flat">
              <a:noFill/>
              <a:prstDash val="solid"/>
              <a:miter/>
            </a:ln>
          </p:spPr>
          <p:txBody>
            <a:bodyPr wrap="none" rtlCol="0" anchor="ctr">
              <a:noAutofit/>
            </a:bodyPr>
            <a:lstStyle/>
            <a:p>
              <a:endParaRPr lang="ja-JP" altLang="en-US" sz="1200"/>
            </a:p>
          </p:txBody>
        </p:sp>
      </p:grpSp>
      <p:grpSp>
        <p:nvGrpSpPr>
          <p:cNvPr id="68" name="グループ化 67">
            <a:extLst>
              <a:ext uri="{FF2B5EF4-FFF2-40B4-BE49-F238E27FC236}">
                <a16:creationId xmlns:a16="http://schemas.microsoft.com/office/drawing/2014/main" id="{B4EC6041-5F31-0AFC-712C-595BC87D9486}"/>
              </a:ext>
            </a:extLst>
          </p:cNvPr>
          <p:cNvGrpSpPr/>
          <p:nvPr/>
        </p:nvGrpSpPr>
        <p:grpSpPr>
          <a:xfrm>
            <a:off x="6588596" y="7052025"/>
            <a:ext cx="5110808" cy="1045350"/>
            <a:chOff x="6530722" y="7075175"/>
            <a:chExt cx="5110808" cy="1045350"/>
          </a:xfrm>
        </p:grpSpPr>
        <p:sp>
          <p:nvSpPr>
            <p:cNvPr id="26" name="四角形: 角を丸くする 25">
              <a:extLst>
                <a:ext uri="{FF2B5EF4-FFF2-40B4-BE49-F238E27FC236}">
                  <a16:creationId xmlns:a16="http://schemas.microsoft.com/office/drawing/2014/main" id="{1C392A50-2A1E-F536-70C0-F8C6A63EF6A5}"/>
                </a:ext>
              </a:extLst>
            </p:cNvPr>
            <p:cNvSpPr/>
            <p:nvPr/>
          </p:nvSpPr>
          <p:spPr>
            <a:xfrm>
              <a:off x="6530722" y="7075175"/>
              <a:ext cx="5110808" cy="1045350"/>
            </a:xfrm>
            <a:prstGeom prst="roundRect">
              <a:avLst>
                <a:gd name="adj" fmla="val 10960"/>
              </a:avLst>
            </a:prstGeom>
            <a:solidFill>
              <a:schemeClr val="accent3"/>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1008000" tIns="180000" rIns="360000" bIns="180000" rtlCol="0" anchor="ctr">
              <a:noAutofit/>
            </a:bodyPr>
            <a:lstStyle/>
            <a:p>
              <a:pPr algn="ctr"/>
              <a:r>
                <a:rPr lang="ja-JP" altLang="en-US" sz="4000" spc="100" dirty="0">
                  <a:solidFill>
                    <a:schemeClr val="bg1"/>
                  </a:solidFill>
                  <a:latin typeface="+mj-ea"/>
                  <a:ea typeface="+mj-ea"/>
                </a:rPr>
                <a:t>商標権・意匠権</a:t>
              </a:r>
              <a:endParaRPr lang="en-US" altLang="ja-JP" sz="4000" spc="100" dirty="0">
                <a:solidFill>
                  <a:schemeClr val="bg1"/>
                </a:solidFill>
                <a:latin typeface="+mj-ea"/>
                <a:ea typeface="+mj-ea"/>
              </a:endParaRPr>
            </a:p>
          </p:txBody>
        </p:sp>
        <p:sp>
          <p:nvSpPr>
            <p:cNvPr id="65" name="グラフィックス 143">
              <a:extLst>
                <a:ext uri="{FF2B5EF4-FFF2-40B4-BE49-F238E27FC236}">
                  <a16:creationId xmlns:a16="http://schemas.microsoft.com/office/drawing/2014/main" id="{70AC7484-AFE2-A1A0-C981-4058599071E8}"/>
                </a:ext>
              </a:extLst>
            </p:cNvPr>
            <p:cNvSpPr/>
            <p:nvPr/>
          </p:nvSpPr>
          <p:spPr>
            <a:xfrm>
              <a:off x="6884093" y="7318726"/>
              <a:ext cx="579301" cy="511949"/>
            </a:xfrm>
            <a:custGeom>
              <a:avLst/>
              <a:gdLst>
                <a:gd name="connsiteX0" fmla="*/ 621479 w 627150"/>
                <a:gd name="connsiteY0" fmla="*/ 491510 h 554234"/>
                <a:gd name="connsiteX1" fmla="*/ 349792 w 627150"/>
                <a:gd name="connsiteY1" fmla="*/ 20912 h 554234"/>
                <a:gd name="connsiteX2" fmla="*/ 277366 w 627150"/>
                <a:gd name="connsiteY2" fmla="*/ 20912 h 554234"/>
                <a:gd name="connsiteX3" fmla="*/ 5662 w 627150"/>
                <a:gd name="connsiteY3" fmla="*/ 491510 h 554234"/>
                <a:gd name="connsiteX4" fmla="*/ 41875 w 627150"/>
                <a:gd name="connsiteY4" fmla="*/ 554234 h 554234"/>
                <a:gd name="connsiteX5" fmla="*/ 585283 w 627150"/>
                <a:gd name="connsiteY5" fmla="*/ 554234 h 554234"/>
                <a:gd name="connsiteX6" fmla="*/ 621479 w 627150"/>
                <a:gd name="connsiteY6" fmla="*/ 491510 h 554234"/>
                <a:gd name="connsiteX7" fmla="*/ 281146 w 627150"/>
                <a:gd name="connsiteY7" fmla="*/ 188528 h 554234"/>
                <a:gd name="connsiteX8" fmla="*/ 314014 w 627150"/>
                <a:gd name="connsiteY8" fmla="*/ 158387 h 554234"/>
                <a:gd name="connsiteX9" fmla="*/ 345978 w 627150"/>
                <a:gd name="connsiteY9" fmla="*/ 188528 h 554234"/>
                <a:gd name="connsiteX10" fmla="*/ 345978 w 627150"/>
                <a:gd name="connsiteY10" fmla="*/ 193094 h 554234"/>
                <a:gd name="connsiteX11" fmla="*/ 334554 w 627150"/>
                <a:gd name="connsiteY11" fmla="*/ 380999 h 554234"/>
                <a:gd name="connsiteX12" fmla="*/ 313094 w 627150"/>
                <a:gd name="connsiteY12" fmla="*/ 399716 h 554234"/>
                <a:gd name="connsiteX13" fmla="*/ 292554 w 627150"/>
                <a:gd name="connsiteY13" fmla="*/ 380999 h 554234"/>
                <a:gd name="connsiteX14" fmla="*/ 281130 w 627150"/>
                <a:gd name="connsiteY14" fmla="*/ 193094 h 554234"/>
                <a:gd name="connsiteX15" fmla="*/ 281130 w 627150"/>
                <a:gd name="connsiteY15" fmla="*/ 188528 h 554234"/>
                <a:gd name="connsiteX16" fmla="*/ 313345 w 627150"/>
                <a:gd name="connsiteY16" fmla="*/ 494237 h 554234"/>
                <a:gd name="connsiteX17" fmla="*/ 279106 w 627150"/>
                <a:gd name="connsiteY17" fmla="*/ 459998 h 554234"/>
                <a:gd name="connsiteX18" fmla="*/ 313345 w 627150"/>
                <a:gd name="connsiteY18" fmla="*/ 425290 h 554234"/>
                <a:gd name="connsiteX19" fmla="*/ 348052 w 627150"/>
                <a:gd name="connsiteY19" fmla="*/ 459998 h 554234"/>
                <a:gd name="connsiteX20" fmla="*/ 313345 w 627150"/>
                <a:gd name="connsiteY20" fmla="*/ 494237 h 55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7150" h="554234">
                  <a:moveTo>
                    <a:pt x="621479" y="491510"/>
                  </a:moveTo>
                  <a:lnTo>
                    <a:pt x="349792" y="20912"/>
                  </a:lnTo>
                  <a:cubicBezTo>
                    <a:pt x="333701" y="-6971"/>
                    <a:pt x="293457" y="-6971"/>
                    <a:pt x="277366" y="20912"/>
                  </a:cubicBezTo>
                  <a:lnTo>
                    <a:pt x="5662" y="491510"/>
                  </a:lnTo>
                  <a:cubicBezTo>
                    <a:pt x="-10429" y="519393"/>
                    <a:pt x="9693" y="554234"/>
                    <a:pt x="41875" y="554234"/>
                  </a:cubicBezTo>
                  <a:lnTo>
                    <a:pt x="585283" y="554234"/>
                  </a:lnTo>
                  <a:cubicBezTo>
                    <a:pt x="617465" y="554234"/>
                    <a:pt x="637587" y="519393"/>
                    <a:pt x="621479" y="491510"/>
                  </a:cubicBezTo>
                  <a:close/>
                  <a:moveTo>
                    <a:pt x="281146" y="188528"/>
                  </a:moveTo>
                  <a:cubicBezTo>
                    <a:pt x="281146" y="169343"/>
                    <a:pt x="295765" y="158387"/>
                    <a:pt x="314014" y="158387"/>
                  </a:cubicBezTo>
                  <a:cubicBezTo>
                    <a:pt x="331844" y="158387"/>
                    <a:pt x="345978" y="169811"/>
                    <a:pt x="345978" y="188528"/>
                  </a:cubicBezTo>
                  <a:lnTo>
                    <a:pt x="345978" y="193094"/>
                  </a:lnTo>
                  <a:cubicBezTo>
                    <a:pt x="340492" y="257926"/>
                    <a:pt x="336845" y="305663"/>
                    <a:pt x="334554" y="380999"/>
                  </a:cubicBezTo>
                  <a:cubicBezTo>
                    <a:pt x="334102" y="392406"/>
                    <a:pt x="325421" y="399716"/>
                    <a:pt x="313094" y="399716"/>
                  </a:cubicBezTo>
                  <a:cubicBezTo>
                    <a:pt x="300766" y="399716"/>
                    <a:pt x="293005" y="392406"/>
                    <a:pt x="292554" y="380999"/>
                  </a:cubicBezTo>
                  <a:cubicBezTo>
                    <a:pt x="290262" y="305663"/>
                    <a:pt x="286616" y="257926"/>
                    <a:pt x="281130" y="193094"/>
                  </a:cubicBezTo>
                  <a:lnTo>
                    <a:pt x="281130" y="188528"/>
                  </a:lnTo>
                  <a:close/>
                  <a:moveTo>
                    <a:pt x="313345" y="494237"/>
                  </a:moveTo>
                  <a:cubicBezTo>
                    <a:pt x="294159" y="494237"/>
                    <a:pt x="279106" y="479618"/>
                    <a:pt x="279106" y="459998"/>
                  </a:cubicBezTo>
                  <a:cubicBezTo>
                    <a:pt x="279106" y="440812"/>
                    <a:pt x="294159" y="425290"/>
                    <a:pt x="313345" y="425290"/>
                  </a:cubicBezTo>
                  <a:cubicBezTo>
                    <a:pt x="332982" y="425290"/>
                    <a:pt x="348052" y="440812"/>
                    <a:pt x="348052" y="459998"/>
                  </a:cubicBezTo>
                  <a:cubicBezTo>
                    <a:pt x="348035" y="479634"/>
                    <a:pt x="332982" y="494237"/>
                    <a:pt x="313345" y="494237"/>
                  </a:cubicBezTo>
                  <a:close/>
                </a:path>
              </a:pathLst>
            </a:custGeom>
            <a:solidFill>
              <a:schemeClr val="bg1"/>
            </a:solidFill>
            <a:ln w="16476" cap="flat">
              <a:noFill/>
              <a:prstDash val="solid"/>
              <a:miter/>
            </a:ln>
          </p:spPr>
          <p:txBody>
            <a:bodyPr wrap="none" rtlCol="0" anchor="ctr">
              <a:noAutofit/>
            </a:bodyPr>
            <a:lstStyle/>
            <a:p>
              <a:endParaRPr lang="ja-JP" altLang="en-US" sz="1200"/>
            </a:p>
          </p:txBody>
        </p:sp>
      </p:grpSp>
      <p:grpSp>
        <p:nvGrpSpPr>
          <p:cNvPr id="69" name="グループ化 68">
            <a:extLst>
              <a:ext uri="{FF2B5EF4-FFF2-40B4-BE49-F238E27FC236}">
                <a16:creationId xmlns:a16="http://schemas.microsoft.com/office/drawing/2014/main" id="{FBF34FCB-AFF0-ED90-104C-98CC9D0C8CA8}"/>
              </a:ext>
            </a:extLst>
          </p:cNvPr>
          <p:cNvGrpSpPr/>
          <p:nvPr/>
        </p:nvGrpSpPr>
        <p:grpSpPr>
          <a:xfrm>
            <a:off x="12256010" y="7052025"/>
            <a:ext cx="5110808" cy="1045350"/>
            <a:chOff x="12256011" y="7075175"/>
            <a:chExt cx="5110808" cy="1045350"/>
          </a:xfrm>
        </p:grpSpPr>
        <p:sp>
          <p:nvSpPr>
            <p:cNvPr id="27" name="四角形: 角を丸くする 26">
              <a:extLst>
                <a:ext uri="{FF2B5EF4-FFF2-40B4-BE49-F238E27FC236}">
                  <a16:creationId xmlns:a16="http://schemas.microsoft.com/office/drawing/2014/main" id="{5ADB8523-E44A-BD2D-D61A-EB164F6433DF}"/>
                </a:ext>
              </a:extLst>
            </p:cNvPr>
            <p:cNvSpPr/>
            <p:nvPr/>
          </p:nvSpPr>
          <p:spPr>
            <a:xfrm>
              <a:off x="12256011" y="7075175"/>
              <a:ext cx="5110808" cy="1045350"/>
            </a:xfrm>
            <a:prstGeom prst="roundRect">
              <a:avLst>
                <a:gd name="adj" fmla="val 10960"/>
              </a:avLst>
            </a:prstGeom>
            <a:solidFill>
              <a:schemeClr val="accent3"/>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1008000" tIns="180000" rIns="360000" bIns="180000" rtlCol="0" anchor="ctr">
              <a:noAutofit/>
            </a:bodyPr>
            <a:lstStyle/>
            <a:p>
              <a:pPr algn="ctr"/>
              <a:r>
                <a:rPr lang="ja-JP" altLang="en-US" sz="4000" spc="100" dirty="0">
                  <a:solidFill>
                    <a:schemeClr val="bg1"/>
                  </a:solidFill>
                  <a:latin typeface="+mj-ea"/>
                  <a:ea typeface="+mj-ea"/>
                </a:rPr>
                <a:t>パブリシティ権</a:t>
              </a:r>
            </a:p>
          </p:txBody>
        </p:sp>
        <p:sp>
          <p:nvSpPr>
            <p:cNvPr id="66" name="グラフィックス 143">
              <a:extLst>
                <a:ext uri="{FF2B5EF4-FFF2-40B4-BE49-F238E27FC236}">
                  <a16:creationId xmlns:a16="http://schemas.microsoft.com/office/drawing/2014/main" id="{9F62B39F-9A8E-8C07-D3A9-51FA6AD37ECF}"/>
                </a:ext>
              </a:extLst>
            </p:cNvPr>
            <p:cNvSpPr/>
            <p:nvPr/>
          </p:nvSpPr>
          <p:spPr>
            <a:xfrm>
              <a:off x="12598194" y="7318726"/>
              <a:ext cx="579301" cy="511949"/>
            </a:xfrm>
            <a:custGeom>
              <a:avLst/>
              <a:gdLst>
                <a:gd name="connsiteX0" fmla="*/ 621479 w 627150"/>
                <a:gd name="connsiteY0" fmla="*/ 491510 h 554234"/>
                <a:gd name="connsiteX1" fmla="*/ 349792 w 627150"/>
                <a:gd name="connsiteY1" fmla="*/ 20912 h 554234"/>
                <a:gd name="connsiteX2" fmla="*/ 277366 w 627150"/>
                <a:gd name="connsiteY2" fmla="*/ 20912 h 554234"/>
                <a:gd name="connsiteX3" fmla="*/ 5662 w 627150"/>
                <a:gd name="connsiteY3" fmla="*/ 491510 h 554234"/>
                <a:gd name="connsiteX4" fmla="*/ 41875 w 627150"/>
                <a:gd name="connsiteY4" fmla="*/ 554234 h 554234"/>
                <a:gd name="connsiteX5" fmla="*/ 585283 w 627150"/>
                <a:gd name="connsiteY5" fmla="*/ 554234 h 554234"/>
                <a:gd name="connsiteX6" fmla="*/ 621479 w 627150"/>
                <a:gd name="connsiteY6" fmla="*/ 491510 h 554234"/>
                <a:gd name="connsiteX7" fmla="*/ 281146 w 627150"/>
                <a:gd name="connsiteY7" fmla="*/ 188528 h 554234"/>
                <a:gd name="connsiteX8" fmla="*/ 314014 w 627150"/>
                <a:gd name="connsiteY8" fmla="*/ 158387 h 554234"/>
                <a:gd name="connsiteX9" fmla="*/ 345978 w 627150"/>
                <a:gd name="connsiteY9" fmla="*/ 188528 h 554234"/>
                <a:gd name="connsiteX10" fmla="*/ 345978 w 627150"/>
                <a:gd name="connsiteY10" fmla="*/ 193094 h 554234"/>
                <a:gd name="connsiteX11" fmla="*/ 334554 w 627150"/>
                <a:gd name="connsiteY11" fmla="*/ 380999 h 554234"/>
                <a:gd name="connsiteX12" fmla="*/ 313094 w 627150"/>
                <a:gd name="connsiteY12" fmla="*/ 399716 h 554234"/>
                <a:gd name="connsiteX13" fmla="*/ 292554 w 627150"/>
                <a:gd name="connsiteY13" fmla="*/ 380999 h 554234"/>
                <a:gd name="connsiteX14" fmla="*/ 281130 w 627150"/>
                <a:gd name="connsiteY14" fmla="*/ 193094 h 554234"/>
                <a:gd name="connsiteX15" fmla="*/ 281130 w 627150"/>
                <a:gd name="connsiteY15" fmla="*/ 188528 h 554234"/>
                <a:gd name="connsiteX16" fmla="*/ 313345 w 627150"/>
                <a:gd name="connsiteY16" fmla="*/ 494237 h 554234"/>
                <a:gd name="connsiteX17" fmla="*/ 279106 w 627150"/>
                <a:gd name="connsiteY17" fmla="*/ 459998 h 554234"/>
                <a:gd name="connsiteX18" fmla="*/ 313345 w 627150"/>
                <a:gd name="connsiteY18" fmla="*/ 425290 h 554234"/>
                <a:gd name="connsiteX19" fmla="*/ 348052 w 627150"/>
                <a:gd name="connsiteY19" fmla="*/ 459998 h 554234"/>
                <a:gd name="connsiteX20" fmla="*/ 313345 w 627150"/>
                <a:gd name="connsiteY20" fmla="*/ 494237 h 5542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627150" h="554234">
                  <a:moveTo>
                    <a:pt x="621479" y="491510"/>
                  </a:moveTo>
                  <a:lnTo>
                    <a:pt x="349792" y="20912"/>
                  </a:lnTo>
                  <a:cubicBezTo>
                    <a:pt x="333701" y="-6971"/>
                    <a:pt x="293457" y="-6971"/>
                    <a:pt x="277366" y="20912"/>
                  </a:cubicBezTo>
                  <a:lnTo>
                    <a:pt x="5662" y="491510"/>
                  </a:lnTo>
                  <a:cubicBezTo>
                    <a:pt x="-10429" y="519393"/>
                    <a:pt x="9693" y="554234"/>
                    <a:pt x="41875" y="554234"/>
                  </a:cubicBezTo>
                  <a:lnTo>
                    <a:pt x="585283" y="554234"/>
                  </a:lnTo>
                  <a:cubicBezTo>
                    <a:pt x="617465" y="554234"/>
                    <a:pt x="637587" y="519393"/>
                    <a:pt x="621479" y="491510"/>
                  </a:cubicBezTo>
                  <a:close/>
                  <a:moveTo>
                    <a:pt x="281146" y="188528"/>
                  </a:moveTo>
                  <a:cubicBezTo>
                    <a:pt x="281146" y="169343"/>
                    <a:pt x="295765" y="158387"/>
                    <a:pt x="314014" y="158387"/>
                  </a:cubicBezTo>
                  <a:cubicBezTo>
                    <a:pt x="331844" y="158387"/>
                    <a:pt x="345978" y="169811"/>
                    <a:pt x="345978" y="188528"/>
                  </a:cubicBezTo>
                  <a:lnTo>
                    <a:pt x="345978" y="193094"/>
                  </a:lnTo>
                  <a:cubicBezTo>
                    <a:pt x="340492" y="257926"/>
                    <a:pt x="336845" y="305663"/>
                    <a:pt x="334554" y="380999"/>
                  </a:cubicBezTo>
                  <a:cubicBezTo>
                    <a:pt x="334102" y="392406"/>
                    <a:pt x="325421" y="399716"/>
                    <a:pt x="313094" y="399716"/>
                  </a:cubicBezTo>
                  <a:cubicBezTo>
                    <a:pt x="300766" y="399716"/>
                    <a:pt x="293005" y="392406"/>
                    <a:pt x="292554" y="380999"/>
                  </a:cubicBezTo>
                  <a:cubicBezTo>
                    <a:pt x="290262" y="305663"/>
                    <a:pt x="286616" y="257926"/>
                    <a:pt x="281130" y="193094"/>
                  </a:cubicBezTo>
                  <a:lnTo>
                    <a:pt x="281130" y="188528"/>
                  </a:lnTo>
                  <a:close/>
                  <a:moveTo>
                    <a:pt x="313345" y="494237"/>
                  </a:moveTo>
                  <a:cubicBezTo>
                    <a:pt x="294159" y="494237"/>
                    <a:pt x="279106" y="479618"/>
                    <a:pt x="279106" y="459998"/>
                  </a:cubicBezTo>
                  <a:cubicBezTo>
                    <a:pt x="279106" y="440812"/>
                    <a:pt x="294159" y="425290"/>
                    <a:pt x="313345" y="425290"/>
                  </a:cubicBezTo>
                  <a:cubicBezTo>
                    <a:pt x="332982" y="425290"/>
                    <a:pt x="348052" y="440812"/>
                    <a:pt x="348052" y="459998"/>
                  </a:cubicBezTo>
                  <a:cubicBezTo>
                    <a:pt x="348035" y="479634"/>
                    <a:pt x="332982" y="494237"/>
                    <a:pt x="313345" y="494237"/>
                  </a:cubicBezTo>
                  <a:close/>
                </a:path>
              </a:pathLst>
            </a:custGeom>
            <a:solidFill>
              <a:schemeClr val="bg1"/>
            </a:solidFill>
            <a:ln w="16476" cap="flat">
              <a:noFill/>
              <a:prstDash val="solid"/>
              <a:miter/>
            </a:ln>
          </p:spPr>
          <p:txBody>
            <a:bodyPr wrap="none" rtlCol="0" anchor="ctr">
              <a:noAutofit/>
            </a:bodyPr>
            <a:lstStyle/>
            <a:p>
              <a:endParaRPr lang="ja-JP" altLang="en-US" sz="1200"/>
            </a:p>
          </p:txBody>
        </p:sp>
      </p:grpSp>
      <p:sp>
        <p:nvSpPr>
          <p:cNvPr id="3" name="スライド番号プレースホルダー 2">
            <a:extLst>
              <a:ext uri="{FF2B5EF4-FFF2-40B4-BE49-F238E27FC236}">
                <a16:creationId xmlns:a16="http://schemas.microsoft.com/office/drawing/2014/main" id="{F61B6606-12F2-1E97-6A04-42870B8558B0}"/>
              </a:ext>
            </a:extLst>
          </p:cNvPr>
          <p:cNvSpPr>
            <a:spLocks noGrp="1"/>
          </p:cNvSpPr>
          <p:nvPr>
            <p:ph type="sldNum" sz="quarter" idx="11"/>
          </p:nvPr>
        </p:nvSpPr>
        <p:spPr>
          <a:xfrm>
            <a:off x="17695001" y="9786651"/>
            <a:ext cx="327013" cy="307777"/>
          </a:xfrm>
        </p:spPr>
        <p:txBody>
          <a:bodyPr/>
          <a:lstStyle/>
          <a:p>
            <a:r>
              <a:rPr lang="en-US" altLang="ja-JP"/>
              <a:t>54</a:t>
            </a:r>
            <a:endParaRPr lang="ja-JP" altLang="en-US" dirty="0"/>
          </a:p>
        </p:txBody>
      </p:sp>
    </p:spTree>
    <p:extLst>
      <p:ext uri="{BB962C8B-B14F-4D97-AF65-F5344CB8AC3E}">
        <p14:creationId xmlns:p14="http://schemas.microsoft.com/office/powerpoint/2010/main" val="249947924"/>
      </p:ext>
    </p:extLst>
  </p:cSld>
  <p:clrMapOvr>
    <a:masterClrMapping/>
  </p:clrMapOvr>
</p:sld>
</file>

<file path=ppt/slides/slide55.xml><?xml version="1.0" encoding="utf-8"?>
<p:sld xmlns:a="http://schemas.openxmlformats.org/drawingml/2006/main" xmlns:r="http://schemas.openxmlformats.org/officeDocument/2006/relationships" xmlns:p="http://schemas.openxmlformats.org/presentationml/2006/main">
  <p:cSld>
    <p:spTree>
      <p:nvGrpSpPr>
        <p:cNvPr id="1" name="">
          <a:extLst>
            <a:ext uri="{FF2B5EF4-FFF2-40B4-BE49-F238E27FC236}">
              <a16:creationId xmlns:a16="http://schemas.microsoft.com/office/drawing/2014/main" id="{FCB1547F-4CCA-5E2E-9606-F2770850BCD2}"/>
            </a:ext>
          </a:extLst>
        </p:cNvPr>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37F3446A-EF6E-F614-6D88-2129FE502FAE}"/>
              </a:ext>
            </a:extLst>
          </p:cNvPr>
          <p:cNvSpPr txBox="1"/>
          <p:nvPr/>
        </p:nvSpPr>
        <p:spPr>
          <a:xfrm>
            <a:off x="3906836" y="756014"/>
            <a:ext cx="11889473" cy="984885"/>
          </a:xfrm>
          <a:prstGeom prst="rect">
            <a:avLst/>
          </a:prstGeom>
          <a:noFill/>
        </p:spPr>
        <p:txBody>
          <a:bodyPr wrap="none" lIns="0" tIns="0" rIns="0" bIns="0" rtlCol="0" anchor="ctr">
            <a:spAutoFit/>
          </a:bodyPr>
          <a:lstStyle/>
          <a:p>
            <a:r>
              <a:rPr kumimoji="1" lang="en-US" altLang="ja-JP" sz="3200" spc="100" dirty="0">
                <a:latin typeface="+mj-ea"/>
                <a:ea typeface="+mj-ea"/>
              </a:rPr>
              <a:t>AI</a:t>
            </a:r>
            <a:r>
              <a:rPr kumimoji="1" lang="ja-JP" altLang="en-US" sz="3200" spc="100" dirty="0">
                <a:latin typeface="+mj-ea"/>
                <a:ea typeface="+mj-ea"/>
              </a:rPr>
              <a:t>が学習した作品に似た画像が生成される場合があるとして、</a:t>
            </a:r>
            <a:br>
              <a:rPr kumimoji="1" lang="en-US" altLang="ja-JP" sz="3200" spc="100" dirty="0">
                <a:latin typeface="+mj-ea"/>
                <a:ea typeface="+mj-ea"/>
              </a:rPr>
            </a:br>
            <a:r>
              <a:rPr kumimoji="1" lang="ja-JP" altLang="en-US" sz="3200" spc="100" dirty="0">
                <a:latin typeface="+mj-ea"/>
                <a:ea typeface="+mj-ea"/>
              </a:rPr>
              <a:t>著作権上の論争を呼んでいる</a:t>
            </a:r>
            <a:endParaRPr kumimoji="1" lang="en-US" altLang="ja-JP" sz="3200" spc="100" dirty="0">
              <a:latin typeface="+mj-ea"/>
              <a:ea typeface="+mj-ea"/>
            </a:endParaRPr>
          </a:p>
        </p:txBody>
      </p:sp>
      <p:sp>
        <p:nvSpPr>
          <p:cNvPr id="4" name="テキスト ボックス 3">
            <a:extLst>
              <a:ext uri="{FF2B5EF4-FFF2-40B4-BE49-F238E27FC236}">
                <a16:creationId xmlns:a16="http://schemas.microsoft.com/office/drawing/2014/main" id="{17AAF867-D148-5CD3-C4BE-CD590C6B8A73}"/>
              </a:ext>
            </a:extLst>
          </p:cNvPr>
          <p:cNvSpPr txBox="1"/>
          <p:nvPr/>
        </p:nvSpPr>
        <p:spPr>
          <a:xfrm>
            <a:off x="3103083" y="2213614"/>
            <a:ext cx="12081834" cy="1003736"/>
          </a:xfrm>
          <a:prstGeom prst="rect">
            <a:avLst/>
          </a:prstGeom>
          <a:noFill/>
        </p:spPr>
        <p:txBody>
          <a:bodyPr wrap="none" lIns="0" tIns="0" rIns="0" bIns="0" rtlCol="0" anchor="t">
            <a:spAutoFit/>
          </a:bodyPr>
          <a:lstStyle/>
          <a:p>
            <a:pPr>
              <a:lnSpc>
                <a:spcPct val="120000"/>
              </a:lnSpc>
              <a:spcAft>
                <a:spcPts val="1500"/>
              </a:spcAft>
            </a:pPr>
            <a:r>
              <a:rPr kumimoji="1" lang="ja-JP" altLang="en-US" sz="2800" spc="50" dirty="0">
                <a:latin typeface="+mn-ea"/>
              </a:rPr>
              <a:t>海外では、アーティストが自分たちの作品が画像生成</a:t>
            </a:r>
            <a:r>
              <a:rPr kumimoji="1" lang="en-US" altLang="ja-JP" sz="2800" spc="50" dirty="0">
                <a:latin typeface="+mn-ea"/>
              </a:rPr>
              <a:t>AI</a:t>
            </a:r>
            <a:r>
              <a:rPr kumimoji="1" lang="ja-JP" altLang="en-US" sz="2800" spc="50" dirty="0">
                <a:latin typeface="+mn-ea"/>
              </a:rPr>
              <a:t>の学習に使われ、</a:t>
            </a:r>
            <a:br>
              <a:rPr kumimoji="1" lang="en-US" altLang="ja-JP" sz="2800" spc="50" dirty="0">
                <a:latin typeface="+mn-ea"/>
              </a:rPr>
            </a:br>
            <a:r>
              <a:rPr kumimoji="1" lang="ja-JP" altLang="en-US" sz="2800" spc="50" dirty="0">
                <a:latin typeface="+mn-ea"/>
              </a:rPr>
              <a:t>著作権が侵害されたとして、画像生成</a:t>
            </a:r>
            <a:r>
              <a:rPr kumimoji="1" lang="en-US" altLang="ja-JP" sz="2800" spc="50" dirty="0">
                <a:latin typeface="+mn-ea"/>
              </a:rPr>
              <a:t>AI</a:t>
            </a:r>
            <a:r>
              <a:rPr kumimoji="1" lang="ja-JP" altLang="en-US" sz="2800" spc="50" dirty="0">
                <a:latin typeface="+mn-ea"/>
              </a:rPr>
              <a:t>の開発元に対して訴訟を起こした</a:t>
            </a:r>
          </a:p>
        </p:txBody>
      </p:sp>
      <p:sp>
        <p:nvSpPr>
          <p:cNvPr id="7" name="テキスト ボックス 6">
            <a:extLst>
              <a:ext uri="{FF2B5EF4-FFF2-40B4-BE49-F238E27FC236}">
                <a16:creationId xmlns:a16="http://schemas.microsoft.com/office/drawing/2014/main" id="{E3242427-A848-01C8-B26E-1D3149A8C57D}"/>
              </a:ext>
            </a:extLst>
          </p:cNvPr>
          <p:cNvSpPr txBox="1"/>
          <p:nvPr/>
        </p:nvSpPr>
        <p:spPr>
          <a:xfrm>
            <a:off x="372103" y="9832817"/>
            <a:ext cx="10637527"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Source: </a:t>
            </a:r>
            <a:r>
              <a:rPr kumimoji="1" lang="en-US" altLang="ja-JP" sz="1400" spc="100" dirty="0">
                <a:solidFill>
                  <a:schemeClr val="tx2"/>
                </a:solidFill>
                <a:latin typeface="+mn-ea"/>
                <a:hlinkClick r:id="rId3">
                  <a:extLst>
                    <a:ext uri="{A12FA001-AC4F-418D-AE19-62706E023703}">
                      <ahyp:hlinkClr xmlns:ahyp="http://schemas.microsoft.com/office/drawing/2018/hyperlinkcolor" val="tx"/>
                    </a:ext>
                  </a:extLst>
                </a:hlinkClick>
              </a:rPr>
              <a:t>New York Times, This Tool Could Protect Artists From A.I.-Generated Art That Steals Their Style</a:t>
            </a:r>
            <a:endParaRPr kumimoji="1" lang="en-US" altLang="ja-JP" sz="1400" spc="100" dirty="0">
              <a:solidFill>
                <a:schemeClr val="tx2"/>
              </a:solidFill>
              <a:latin typeface="+mn-ea"/>
            </a:endParaRPr>
          </a:p>
        </p:txBody>
      </p:sp>
      <p:grpSp>
        <p:nvGrpSpPr>
          <p:cNvPr id="37" name="グループ化 36">
            <a:extLst>
              <a:ext uri="{FF2B5EF4-FFF2-40B4-BE49-F238E27FC236}">
                <a16:creationId xmlns:a16="http://schemas.microsoft.com/office/drawing/2014/main" id="{32658A7B-D188-CCDB-4AC2-F02B6E6276CC}"/>
              </a:ext>
            </a:extLst>
          </p:cNvPr>
          <p:cNvGrpSpPr/>
          <p:nvPr/>
        </p:nvGrpSpPr>
        <p:grpSpPr>
          <a:xfrm>
            <a:off x="754083" y="5870069"/>
            <a:ext cx="5193083" cy="3597757"/>
            <a:chOff x="1393156" y="6998876"/>
            <a:chExt cx="5193083" cy="3597757"/>
          </a:xfrm>
        </p:grpSpPr>
        <p:sp>
          <p:nvSpPr>
            <p:cNvPr id="38" name="四角形: 上の 2 つの角を丸める 37">
              <a:extLst>
                <a:ext uri="{FF2B5EF4-FFF2-40B4-BE49-F238E27FC236}">
                  <a16:creationId xmlns:a16="http://schemas.microsoft.com/office/drawing/2014/main" id="{C039D6AB-F33D-0588-2E65-921AD238EFEE}"/>
                </a:ext>
              </a:extLst>
            </p:cNvPr>
            <p:cNvSpPr/>
            <p:nvPr/>
          </p:nvSpPr>
          <p:spPr>
            <a:xfrm>
              <a:off x="1393157" y="6998876"/>
              <a:ext cx="1395440" cy="452554"/>
            </a:xfrm>
            <a:prstGeom prst="round2SameRect">
              <a:avLst>
                <a:gd name="adj1" fmla="val 17546"/>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Bad</a:t>
              </a:r>
              <a:endParaRPr kumimoji="1" lang="ja-JP" altLang="en-US" sz="2400" spc="300" dirty="0">
                <a:solidFill>
                  <a:schemeClr val="bg1"/>
                </a:solidFill>
                <a:latin typeface="+mj-ea"/>
                <a:ea typeface="+mj-ea"/>
              </a:endParaRPr>
            </a:p>
          </p:txBody>
        </p:sp>
        <p:sp>
          <p:nvSpPr>
            <p:cNvPr id="39" name="四角形: 上の 2 つの角を丸める 38">
              <a:extLst>
                <a:ext uri="{FF2B5EF4-FFF2-40B4-BE49-F238E27FC236}">
                  <a16:creationId xmlns:a16="http://schemas.microsoft.com/office/drawing/2014/main" id="{7BB3D122-D216-F921-6DC7-4910937FAB58}"/>
                </a:ext>
              </a:extLst>
            </p:cNvPr>
            <p:cNvSpPr/>
            <p:nvPr/>
          </p:nvSpPr>
          <p:spPr>
            <a:xfrm>
              <a:off x="1393156" y="7460078"/>
              <a:ext cx="5193083" cy="3136555"/>
            </a:xfrm>
            <a:prstGeom prst="round2SameRect">
              <a:avLst>
                <a:gd name="adj1" fmla="val 0"/>
                <a:gd name="adj2" fmla="val 3042"/>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88000" rIns="216000" bIns="288000" rtlCol="0" anchor="t">
              <a:spAutoFit/>
            </a:bodyPr>
            <a:lstStyle/>
            <a:p>
              <a:pPr algn="just">
                <a:lnSpc>
                  <a:spcPct val="120000"/>
                </a:lnSpc>
                <a:spcAft>
                  <a:spcPts val="1000"/>
                </a:spcAft>
                <a:buClr>
                  <a:schemeClr val="accent3"/>
                </a:buClr>
              </a:pPr>
              <a:r>
                <a:rPr kumimoji="1" lang="ja-JP" altLang="en-US" sz="2800" spc="100" dirty="0">
                  <a:solidFill>
                    <a:schemeClr val="tx1"/>
                  </a:solidFill>
                  <a:latin typeface="+mn-ea"/>
                </a:rPr>
                <a:t>著作権侵害の知識がないユーザーが生成した画像を外部に発信することで、</a:t>
              </a:r>
              <a:br>
                <a:rPr kumimoji="1" lang="en-US" altLang="ja-JP" sz="2800" spc="100" dirty="0">
                  <a:solidFill>
                    <a:schemeClr val="tx1"/>
                  </a:solidFill>
                  <a:latin typeface="+mn-ea"/>
                </a:rPr>
              </a:br>
              <a:r>
                <a:rPr kumimoji="1" lang="ja-JP" altLang="en-US" sz="2800" spc="100" dirty="0">
                  <a:solidFill>
                    <a:schemeClr val="tx1"/>
                  </a:solidFill>
                  <a:latin typeface="+mn-ea"/>
                </a:rPr>
                <a:t>著作権を侵害し、訴訟等に発展する可能性</a:t>
              </a:r>
            </a:p>
          </p:txBody>
        </p:sp>
      </p:grpSp>
      <p:grpSp>
        <p:nvGrpSpPr>
          <p:cNvPr id="41" name="グループ化 40">
            <a:extLst>
              <a:ext uri="{FF2B5EF4-FFF2-40B4-BE49-F238E27FC236}">
                <a16:creationId xmlns:a16="http://schemas.microsoft.com/office/drawing/2014/main" id="{16A15B73-D9C2-4095-A01E-BF6304F256B6}"/>
              </a:ext>
            </a:extLst>
          </p:cNvPr>
          <p:cNvGrpSpPr/>
          <p:nvPr/>
        </p:nvGrpSpPr>
        <p:grpSpPr>
          <a:xfrm rot="16200000">
            <a:off x="6083792" y="4752292"/>
            <a:ext cx="582619" cy="402082"/>
            <a:chOff x="3235771" y="4141076"/>
            <a:chExt cx="615260" cy="424608"/>
          </a:xfrm>
        </p:grpSpPr>
        <p:grpSp>
          <p:nvGrpSpPr>
            <p:cNvPr id="42" name="グループ化 41">
              <a:extLst>
                <a:ext uri="{FF2B5EF4-FFF2-40B4-BE49-F238E27FC236}">
                  <a16:creationId xmlns:a16="http://schemas.microsoft.com/office/drawing/2014/main" id="{43F9BDB6-F341-28FE-FD5B-A94EB26A8533}"/>
                </a:ext>
              </a:extLst>
            </p:cNvPr>
            <p:cNvGrpSpPr/>
            <p:nvPr/>
          </p:nvGrpSpPr>
          <p:grpSpPr>
            <a:xfrm>
              <a:off x="3235771" y="4141076"/>
              <a:ext cx="615260" cy="231227"/>
              <a:chOff x="3223846" y="4141076"/>
              <a:chExt cx="615260" cy="231227"/>
            </a:xfrm>
          </p:grpSpPr>
          <p:cxnSp>
            <p:nvCxnSpPr>
              <p:cNvPr id="46" name="直線コネクタ 45">
                <a:extLst>
                  <a:ext uri="{FF2B5EF4-FFF2-40B4-BE49-F238E27FC236}">
                    <a16:creationId xmlns:a16="http://schemas.microsoft.com/office/drawing/2014/main" id="{0E734C5D-C6DC-CC80-9A67-9ADF2D871B79}"/>
                  </a:ext>
                </a:extLst>
              </p:cNvPr>
              <p:cNvCxnSpPr>
                <a:cxnSpLocks/>
              </p:cNvCxnSpPr>
              <p:nvPr/>
            </p:nvCxnSpPr>
            <p:spPr>
              <a:xfrm>
                <a:off x="3223846" y="4141076"/>
                <a:ext cx="307630" cy="231227"/>
              </a:xfrm>
              <a:prstGeom prst="line">
                <a:avLst/>
              </a:prstGeom>
              <a:ln w="635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47" name="直線コネクタ 46">
                <a:extLst>
                  <a:ext uri="{FF2B5EF4-FFF2-40B4-BE49-F238E27FC236}">
                    <a16:creationId xmlns:a16="http://schemas.microsoft.com/office/drawing/2014/main" id="{491FD5E8-EE5E-E42F-BF16-8F22741A08CC}"/>
                  </a:ext>
                </a:extLst>
              </p:cNvPr>
              <p:cNvCxnSpPr>
                <a:cxnSpLocks/>
              </p:cNvCxnSpPr>
              <p:nvPr/>
            </p:nvCxnSpPr>
            <p:spPr>
              <a:xfrm flipH="1">
                <a:off x="3531476" y="4141076"/>
                <a:ext cx="307630" cy="231227"/>
              </a:xfrm>
              <a:prstGeom prst="line">
                <a:avLst/>
              </a:prstGeom>
              <a:ln w="635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43" name="グループ化 42">
              <a:extLst>
                <a:ext uri="{FF2B5EF4-FFF2-40B4-BE49-F238E27FC236}">
                  <a16:creationId xmlns:a16="http://schemas.microsoft.com/office/drawing/2014/main" id="{E85E66F2-193E-66AD-1262-8235FFF6D55E}"/>
                </a:ext>
              </a:extLst>
            </p:cNvPr>
            <p:cNvGrpSpPr/>
            <p:nvPr/>
          </p:nvGrpSpPr>
          <p:grpSpPr>
            <a:xfrm>
              <a:off x="3235771" y="4334457"/>
              <a:ext cx="615260" cy="231227"/>
              <a:chOff x="3223846" y="4141076"/>
              <a:chExt cx="615260" cy="231227"/>
            </a:xfrm>
          </p:grpSpPr>
          <p:cxnSp>
            <p:nvCxnSpPr>
              <p:cNvPr id="44" name="直線コネクタ 43">
                <a:extLst>
                  <a:ext uri="{FF2B5EF4-FFF2-40B4-BE49-F238E27FC236}">
                    <a16:creationId xmlns:a16="http://schemas.microsoft.com/office/drawing/2014/main" id="{9B46FFD6-C9D4-DFB1-FC0F-3222CC49CD19}"/>
                  </a:ext>
                </a:extLst>
              </p:cNvPr>
              <p:cNvCxnSpPr>
                <a:cxnSpLocks/>
              </p:cNvCxnSpPr>
              <p:nvPr/>
            </p:nvCxnSpPr>
            <p:spPr>
              <a:xfrm>
                <a:off x="3223846" y="4141076"/>
                <a:ext cx="307630" cy="231227"/>
              </a:xfrm>
              <a:prstGeom prst="line">
                <a:avLst/>
              </a:prstGeom>
              <a:ln w="635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45" name="直線コネクタ 44">
                <a:extLst>
                  <a:ext uri="{FF2B5EF4-FFF2-40B4-BE49-F238E27FC236}">
                    <a16:creationId xmlns:a16="http://schemas.microsoft.com/office/drawing/2014/main" id="{A39E7FDF-D732-024C-6851-91C30A2D89C8}"/>
                  </a:ext>
                </a:extLst>
              </p:cNvPr>
              <p:cNvCxnSpPr>
                <a:cxnSpLocks/>
              </p:cNvCxnSpPr>
              <p:nvPr/>
            </p:nvCxnSpPr>
            <p:spPr>
              <a:xfrm flipH="1">
                <a:off x="3531476" y="4141076"/>
                <a:ext cx="307630" cy="231227"/>
              </a:xfrm>
              <a:prstGeom prst="line">
                <a:avLst/>
              </a:prstGeom>
              <a:ln w="635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sp>
        <p:nvSpPr>
          <p:cNvPr id="6" name="スライド番号プレースホルダー 5">
            <a:extLst>
              <a:ext uri="{FF2B5EF4-FFF2-40B4-BE49-F238E27FC236}">
                <a16:creationId xmlns:a16="http://schemas.microsoft.com/office/drawing/2014/main" id="{D9DE892A-05AC-0B43-69F9-766DC3ACC299}"/>
              </a:ext>
            </a:extLst>
          </p:cNvPr>
          <p:cNvSpPr>
            <a:spLocks noGrp="1"/>
          </p:cNvSpPr>
          <p:nvPr>
            <p:ph type="sldNum" sz="quarter" idx="11"/>
          </p:nvPr>
        </p:nvSpPr>
        <p:spPr>
          <a:xfrm>
            <a:off x="17695001" y="9786651"/>
            <a:ext cx="327013" cy="307777"/>
          </a:xfrm>
        </p:spPr>
        <p:txBody>
          <a:bodyPr/>
          <a:lstStyle/>
          <a:p>
            <a:r>
              <a:rPr lang="en-US" altLang="ja-JP"/>
              <a:t>55</a:t>
            </a:r>
            <a:endParaRPr lang="ja-JP" altLang="en-US" dirty="0"/>
          </a:p>
        </p:txBody>
      </p:sp>
      <p:grpSp>
        <p:nvGrpSpPr>
          <p:cNvPr id="13" name="グループ化 12">
            <a:extLst>
              <a:ext uri="{FF2B5EF4-FFF2-40B4-BE49-F238E27FC236}">
                <a16:creationId xmlns:a16="http://schemas.microsoft.com/office/drawing/2014/main" id="{0690D089-C689-DA61-A282-7A06E2D99839}"/>
              </a:ext>
            </a:extLst>
          </p:cNvPr>
          <p:cNvGrpSpPr/>
          <p:nvPr/>
        </p:nvGrpSpPr>
        <p:grpSpPr>
          <a:xfrm>
            <a:off x="754084" y="3611513"/>
            <a:ext cx="5193083" cy="2513580"/>
            <a:chOff x="754084" y="3611513"/>
            <a:chExt cx="5193083" cy="2513580"/>
          </a:xfrm>
        </p:grpSpPr>
        <p:grpSp>
          <p:nvGrpSpPr>
            <p:cNvPr id="48" name="グループ化 47">
              <a:extLst>
                <a:ext uri="{FF2B5EF4-FFF2-40B4-BE49-F238E27FC236}">
                  <a16:creationId xmlns:a16="http://schemas.microsoft.com/office/drawing/2014/main" id="{F7C06608-3B67-9370-2614-D60E4F35CB21}"/>
                </a:ext>
              </a:extLst>
            </p:cNvPr>
            <p:cNvGrpSpPr/>
            <p:nvPr/>
          </p:nvGrpSpPr>
          <p:grpSpPr>
            <a:xfrm>
              <a:off x="754084" y="3611513"/>
              <a:ext cx="5193083" cy="1895509"/>
              <a:chOff x="754084" y="3611513"/>
              <a:chExt cx="5193083" cy="1895509"/>
            </a:xfrm>
          </p:grpSpPr>
          <p:grpSp>
            <p:nvGrpSpPr>
              <p:cNvPr id="33" name="グループ化 32">
                <a:extLst>
                  <a:ext uri="{FF2B5EF4-FFF2-40B4-BE49-F238E27FC236}">
                    <a16:creationId xmlns:a16="http://schemas.microsoft.com/office/drawing/2014/main" id="{D0B705C2-4667-D7E9-395D-21855F3EE3D3}"/>
                  </a:ext>
                </a:extLst>
              </p:cNvPr>
              <p:cNvGrpSpPr/>
              <p:nvPr/>
            </p:nvGrpSpPr>
            <p:grpSpPr>
              <a:xfrm>
                <a:off x="754084" y="3611513"/>
                <a:ext cx="5193083" cy="1581372"/>
                <a:chOff x="6283028" y="2113119"/>
                <a:chExt cx="5193083" cy="1581372"/>
              </a:xfrm>
            </p:grpSpPr>
            <p:sp>
              <p:nvSpPr>
                <p:cNvPr id="36" name="フリーフォーム: 図形 35">
                  <a:extLst>
                    <a:ext uri="{FF2B5EF4-FFF2-40B4-BE49-F238E27FC236}">
                      <a16:creationId xmlns:a16="http://schemas.microsoft.com/office/drawing/2014/main" id="{8DD10F41-6D44-6262-C427-6A583F041E66}"/>
                    </a:ext>
                  </a:extLst>
                </p:cNvPr>
                <p:cNvSpPr/>
                <p:nvPr/>
              </p:nvSpPr>
              <p:spPr>
                <a:xfrm rot="12253047" flipV="1">
                  <a:off x="9817470" y="314660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noAutofit/>
                </a:bodyPr>
                <a:lstStyle/>
                <a:p>
                  <a:pPr algn="ctr">
                    <a:lnSpc>
                      <a:spcPct val="130000"/>
                    </a:lnSpc>
                  </a:pPr>
                  <a:endParaRPr lang="ja-JP" altLang="en-US" sz="2900" dirty="0">
                    <a:latin typeface="+mj-ea"/>
                    <a:ea typeface="+mj-ea"/>
                  </a:endParaRPr>
                </a:p>
              </p:txBody>
            </p:sp>
            <p:sp>
              <p:nvSpPr>
                <p:cNvPr id="34" name="四角形: 角を丸くする 33">
                  <a:extLst>
                    <a:ext uri="{FF2B5EF4-FFF2-40B4-BE49-F238E27FC236}">
                      <a16:creationId xmlns:a16="http://schemas.microsoft.com/office/drawing/2014/main" id="{CBCE1180-F678-0F2B-7BC8-0D54A68307C1}"/>
                    </a:ext>
                  </a:extLst>
                </p:cNvPr>
                <p:cNvSpPr/>
                <p:nvPr/>
              </p:nvSpPr>
              <p:spPr>
                <a:xfrm>
                  <a:off x="6283028" y="2113119"/>
                  <a:ext cx="5193083" cy="1341821"/>
                </a:xfrm>
                <a:prstGeom prst="roundRect">
                  <a:avLst>
                    <a:gd name="adj" fmla="val 6557"/>
                  </a:avLst>
                </a:prstGeom>
                <a:solidFill>
                  <a:schemeClr val="bg1"/>
                </a:solidFill>
                <a:ln w="20168" cap="flat">
                  <a:noFill/>
                  <a:prstDash val="solid"/>
                  <a:miter/>
                </a:ln>
              </p:spPr>
              <p:txBody>
                <a:bodyPr wrap="square" lIns="252000" tIns="180000" rIns="216000" bIns="180000" rtlCol="0" anchor="t">
                  <a:spAutoFit/>
                </a:bodyPr>
                <a:lstStyle/>
                <a:p>
                  <a:pPr>
                    <a:lnSpc>
                      <a:spcPct val="110000"/>
                    </a:lnSpc>
                    <a:spcAft>
                      <a:spcPts val="1100"/>
                    </a:spcAft>
                  </a:pPr>
                  <a:r>
                    <a:rPr lang="ja-JP" altLang="en-US" sz="2800" dirty="0">
                      <a:latin typeface="+mj-ea"/>
                      <a:ea typeface="+mj-ea"/>
                    </a:rPr>
                    <a:t>ハンバーガーを持つロボットを、◯◯氏の画風で</a:t>
                  </a:r>
                </a:p>
              </p:txBody>
            </p:sp>
          </p:grpSp>
          <p:sp>
            <p:nvSpPr>
              <p:cNvPr id="40" name="テキスト ボックス 39">
                <a:extLst>
                  <a:ext uri="{FF2B5EF4-FFF2-40B4-BE49-F238E27FC236}">
                    <a16:creationId xmlns:a16="http://schemas.microsoft.com/office/drawing/2014/main" id="{DF3BD11E-DAB5-1045-7951-CEF58B40DE64}"/>
                  </a:ext>
                </a:extLst>
              </p:cNvPr>
              <p:cNvSpPr txBox="1"/>
              <p:nvPr/>
            </p:nvSpPr>
            <p:spPr>
              <a:xfrm>
                <a:off x="1135488" y="5137690"/>
                <a:ext cx="3097002" cy="369332"/>
              </a:xfrm>
              <a:prstGeom prst="rect">
                <a:avLst/>
              </a:prstGeom>
              <a:noFill/>
            </p:spPr>
            <p:txBody>
              <a:bodyPr wrap="none" lIns="0" tIns="0" rIns="0" bIns="0">
                <a:spAutoFit/>
              </a:bodyPr>
              <a:lstStyle/>
              <a:p>
                <a:r>
                  <a:rPr lang="ja-JP" altLang="en-US" sz="2400" dirty="0">
                    <a:latin typeface="+mj-ea"/>
                    <a:ea typeface="+mj-ea"/>
                  </a:rPr>
                  <a:t>等を画像生成</a:t>
                </a:r>
                <a:r>
                  <a:rPr lang="en-US" altLang="ja-JP" sz="2400" dirty="0">
                    <a:latin typeface="+mj-ea"/>
                    <a:ea typeface="+mj-ea"/>
                  </a:rPr>
                  <a:t>AI</a:t>
                </a:r>
                <a:r>
                  <a:rPr lang="ja-JP" altLang="en-US" sz="2400" dirty="0">
                    <a:latin typeface="+mj-ea"/>
                    <a:ea typeface="+mj-ea"/>
                  </a:rPr>
                  <a:t>に入力</a:t>
                </a:r>
                <a:endParaRPr lang="ja-JP" altLang="en-US" sz="2400" dirty="0"/>
              </a:p>
            </p:txBody>
          </p:sp>
        </p:grpSp>
        <p:pic>
          <p:nvPicPr>
            <p:cNvPr id="11" name="グラフィックス 10">
              <a:extLst>
                <a:ext uri="{FF2B5EF4-FFF2-40B4-BE49-F238E27FC236}">
                  <a16:creationId xmlns:a16="http://schemas.microsoft.com/office/drawing/2014/main" id="{324B1992-80FB-8A51-008A-BD872C691CCC}"/>
                </a:ext>
              </a:extLst>
            </p:cNvPr>
            <p:cNvPicPr>
              <a:picLocks noChangeAspect="1"/>
            </p:cNvPicPr>
            <p:nvPr/>
          </p:nvPicPr>
          <p:blipFill>
            <a:blip r:embed="rId4">
              <a:extLst>
                <a:ext uri="{96DAC541-7B7A-43D3-8B79-37D633B846F1}">
                  <asvg:svgBlip xmlns:asvg="http://schemas.microsoft.com/office/drawing/2016/SVG/main" r:embed="rId5"/>
                </a:ext>
              </a:extLst>
            </a:blip>
            <a:stretch>
              <a:fillRect/>
            </a:stretch>
          </p:blipFill>
          <p:spPr>
            <a:xfrm>
              <a:off x="4648483" y="5012539"/>
              <a:ext cx="971782" cy="1112554"/>
            </a:xfrm>
            <a:prstGeom prst="rect">
              <a:avLst/>
            </a:prstGeom>
          </p:spPr>
        </p:pic>
      </p:grpSp>
      <p:sp>
        <p:nvSpPr>
          <p:cNvPr id="8" name="テキスト ボックス 7">
            <a:extLst>
              <a:ext uri="{FF2B5EF4-FFF2-40B4-BE49-F238E27FC236}">
                <a16:creationId xmlns:a16="http://schemas.microsoft.com/office/drawing/2014/main" id="{DBEE128C-A255-AF88-A0D3-850B740F3804}"/>
              </a:ext>
            </a:extLst>
          </p:cNvPr>
          <p:cNvSpPr txBox="1"/>
          <p:nvPr/>
        </p:nvSpPr>
        <p:spPr>
          <a:xfrm>
            <a:off x="11261775" y="9832817"/>
            <a:ext cx="4358565" cy="215444"/>
          </a:xfrm>
          <a:prstGeom prst="rect">
            <a:avLst/>
          </a:prstGeom>
          <a:noFill/>
        </p:spPr>
        <p:txBody>
          <a:bodyPr wrap="none" lIns="0" tIns="0" rIns="0" bIns="0" rtlCol="0">
            <a:spAutoFit/>
          </a:bodyPr>
          <a:lstStyle/>
          <a:p>
            <a:pPr algn="l"/>
            <a:r>
              <a:rPr lang="en-US" altLang="ja-JP" sz="1400" spc="100" dirty="0">
                <a:solidFill>
                  <a:schemeClr val="tx2"/>
                </a:solidFill>
                <a:latin typeface="+mn-ea"/>
              </a:rPr>
              <a:t>※1</a:t>
            </a:r>
            <a:r>
              <a:rPr lang="ja-JP" altLang="en-US" sz="1400" spc="100" dirty="0">
                <a:solidFill>
                  <a:schemeClr val="tx2"/>
                </a:solidFill>
                <a:latin typeface="+mn-ea"/>
              </a:rPr>
              <a:t>：画像はすべて</a:t>
            </a:r>
            <a:r>
              <a:rPr kumimoji="1" lang="ja-JP" altLang="en-US" sz="1400" spc="100" dirty="0">
                <a:solidFill>
                  <a:schemeClr val="tx2"/>
                </a:solidFill>
                <a:latin typeface="+mn-ea"/>
              </a:rPr>
              <a:t>架空の作品であり実例ではない</a:t>
            </a:r>
          </a:p>
        </p:txBody>
      </p:sp>
      <p:grpSp>
        <p:nvGrpSpPr>
          <p:cNvPr id="24" name="グループ化 23">
            <a:extLst>
              <a:ext uri="{FF2B5EF4-FFF2-40B4-BE49-F238E27FC236}">
                <a16:creationId xmlns:a16="http://schemas.microsoft.com/office/drawing/2014/main" id="{90C0B58A-1BC8-F18D-4D1E-02CC3EEA5F23}"/>
              </a:ext>
            </a:extLst>
          </p:cNvPr>
          <p:cNvGrpSpPr/>
          <p:nvPr/>
        </p:nvGrpSpPr>
        <p:grpSpPr>
          <a:xfrm>
            <a:off x="6803036" y="3611513"/>
            <a:ext cx="4960712" cy="5856313"/>
            <a:chOff x="6803036" y="3611513"/>
            <a:chExt cx="4960712" cy="5856313"/>
          </a:xfrm>
        </p:grpSpPr>
        <p:grpSp>
          <p:nvGrpSpPr>
            <p:cNvPr id="14" name="グループ化 13">
              <a:extLst>
                <a:ext uri="{FF2B5EF4-FFF2-40B4-BE49-F238E27FC236}">
                  <a16:creationId xmlns:a16="http://schemas.microsoft.com/office/drawing/2014/main" id="{98D5A149-148D-0988-1C5C-129F4792FC6C}"/>
                </a:ext>
              </a:extLst>
            </p:cNvPr>
            <p:cNvGrpSpPr/>
            <p:nvPr/>
          </p:nvGrpSpPr>
          <p:grpSpPr>
            <a:xfrm>
              <a:off x="6803036" y="3611513"/>
              <a:ext cx="4960712" cy="5856313"/>
              <a:chOff x="6803036" y="3611513"/>
              <a:chExt cx="4960712" cy="5856313"/>
            </a:xfrm>
          </p:grpSpPr>
          <p:sp>
            <p:nvSpPr>
              <p:cNvPr id="2" name="四角形: 角を丸くする 1">
                <a:extLst>
                  <a:ext uri="{FF2B5EF4-FFF2-40B4-BE49-F238E27FC236}">
                    <a16:creationId xmlns:a16="http://schemas.microsoft.com/office/drawing/2014/main" id="{98BA41E3-6667-E4FA-E429-4CD4CBB62819}"/>
                  </a:ext>
                </a:extLst>
              </p:cNvPr>
              <p:cNvSpPr/>
              <p:nvPr/>
            </p:nvSpPr>
            <p:spPr>
              <a:xfrm>
                <a:off x="6803036" y="3611513"/>
                <a:ext cx="4960712" cy="5856313"/>
              </a:xfrm>
              <a:prstGeom prst="roundRect">
                <a:avLst>
                  <a:gd name="adj" fmla="val 192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0" name="四角形: 上の 2 つの角を丸める 19">
                <a:extLst>
                  <a:ext uri="{FF2B5EF4-FFF2-40B4-BE49-F238E27FC236}">
                    <a16:creationId xmlns:a16="http://schemas.microsoft.com/office/drawing/2014/main" id="{E34AE3A9-89DC-1FC7-484F-0EFD96927A44}"/>
                  </a:ext>
                </a:extLst>
              </p:cNvPr>
              <p:cNvSpPr/>
              <p:nvPr/>
            </p:nvSpPr>
            <p:spPr>
              <a:xfrm>
                <a:off x="6803036" y="3611513"/>
                <a:ext cx="4960712" cy="743585"/>
              </a:xfrm>
              <a:prstGeom prst="round2SameRect">
                <a:avLst>
                  <a:gd name="adj1" fmla="val 12810"/>
                  <a:gd name="adj2" fmla="val 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2600" spc="300" dirty="0">
                    <a:solidFill>
                      <a:schemeClr val="bg1"/>
                    </a:solidFill>
                    <a:latin typeface="+mj-ea"/>
                    <a:ea typeface="+mj-ea"/>
                  </a:rPr>
                  <a:t>画像生成</a:t>
                </a:r>
                <a:r>
                  <a:rPr lang="en-US" altLang="ja-JP" sz="2600" spc="300" dirty="0">
                    <a:solidFill>
                      <a:schemeClr val="bg1"/>
                    </a:solidFill>
                    <a:latin typeface="+mj-ea"/>
                    <a:ea typeface="+mj-ea"/>
                  </a:rPr>
                  <a:t>AI</a:t>
                </a:r>
                <a:r>
                  <a:rPr lang="ja-JP" altLang="en-US" sz="2600" spc="300" dirty="0">
                    <a:solidFill>
                      <a:schemeClr val="bg1"/>
                    </a:solidFill>
                    <a:latin typeface="+mj-ea"/>
                    <a:ea typeface="+mj-ea"/>
                  </a:rPr>
                  <a:t>の出力</a:t>
                </a:r>
                <a:r>
                  <a:rPr lang="ja-JP" altLang="en-US" sz="2600" spc="300" baseline="30000" dirty="0">
                    <a:solidFill>
                      <a:schemeClr val="bg1"/>
                    </a:solidFill>
                    <a:latin typeface="+mj-ea"/>
                    <a:ea typeface="+mj-ea"/>
                  </a:rPr>
                  <a:t> </a:t>
                </a:r>
                <a:r>
                  <a:rPr lang="en-US" altLang="ja-JP" sz="2600" spc="300" baseline="30000" dirty="0">
                    <a:solidFill>
                      <a:schemeClr val="bg1"/>
                    </a:solidFill>
                    <a:latin typeface="+mj-ea"/>
                    <a:ea typeface="+mj-ea"/>
                  </a:rPr>
                  <a:t>※1</a:t>
                </a:r>
                <a:endParaRPr lang="ja-JP" altLang="en-US" sz="2600" spc="300" baseline="30000" dirty="0">
                  <a:solidFill>
                    <a:schemeClr val="bg1"/>
                  </a:solidFill>
                  <a:latin typeface="+mj-ea"/>
                  <a:ea typeface="+mj-ea"/>
                </a:endParaRPr>
              </a:p>
            </p:txBody>
          </p:sp>
        </p:grpSp>
        <p:pic>
          <p:nvPicPr>
            <p:cNvPr id="18" name="図 17">
              <a:extLst>
                <a:ext uri="{FF2B5EF4-FFF2-40B4-BE49-F238E27FC236}">
                  <a16:creationId xmlns:a16="http://schemas.microsoft.com/office/drawing/2014/main" id="{4FD86F04-8D36-CA91-547C-272035E9DEDD}"/>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7014242" y="4582338"/>
              <a:ext cx="4598588" cy="4592707"/>
            </a:xfrm>
            <a:prstGeom prst="rect">
              <a:avLst/>
            </a:prstGeom>
          </p:spPr>
        </p:pic>
      </p:grpSp>
      <p:grpSp>
        <p:nvGrpSpPr>
          <p:cNvPr id="22" name="グループ化 21">
            <a:extLst>
              <a:ext uri="{FF2B5EF4-FFF2-40B4-BE49-F238E27FC236}">
                <a16:creationId xmlns:a16="http://schemas.microsoft.com/office/drawing/2014/main" id="{DDE3C80D-B136-CFFC-D538-63E4C65564D0}"/>
              </a:ext>
            </a:extLst>
          </p:cNvPr>
          <p:cNvGrpSpPr/>
          <p:nvPr/>
        </p:nvGrpSpPr>
        <p:grpSpPr>
          <a:xfrm>
            <a:off x="12021964" y="3611513"/>
            <a:ext cx="4960712" cy="5856313"/>
            <a:chOff x="12021964" y="3611513"/>
            <a:chExt cx="4960712" cy="5856313"/>
          </a:xfrm>
        </p:grpSpPr>
        <p:grpSp>
          <p:nvGrpSpPr>
            <p:cNvPr id="21" name="グループ化 20">
              <a:extLst>
                <a:ext uri="{FF2B5EF4-FFF2-40B4-BE49-F238E27FC236}">
                  <a16:creationId xmlns:a16="http://schemas.microsoft.com/office/drawing/2014/main" id="{1466E0EC-2B9D-2FF8-41EF-B9C5343BDA6C}"/>
                </a:ext>
              </a:extLst>
            </p:cNvPr>
            <p:cNvGrpSpPr/>
            <p:nvPr/>
          </p:nvGrpSpPr>
          <p:grpSpPr>
            <a:xfrm>
              <a:off x="12021964" y="3611513"/>
              <a:ext cx="4960712" cy="5856313"/>
              <a:chOff x="12021964" y="3611513"/>
              <a:chExt cx="4960712" cy="5856313"/>
            </a:xfrm>
          </p:grpSpPr>
          <p:sp>
            <p:nvSpPr>
              <p:cNvPr id="10" name="四角形: 角を丸くする 9">
                <a:extLst>
                  <a:ext uri="{FF2B5EF4-FFF2-40B4-BE49-F238E27FC236}">
                    <a16:creationId xmlns:a16="http://schemas.microsoft.com/office/drawing/2014/main" id="{99E561FE-5C77-8C84-19C4-DE7FA7DFE65A}"/>
                  </a:ext>
                </a:extLst>
              </p:cNvPr>
              <p:cNvSpPr/>
              <p:nvPr/>
            </p:nvSpPr>
            <p:spPr>
              <a:xfrm>
                <a:off x="12021964" y="3611513"/>
                <a:ext cx="4960712" cy="5856313"/>
              </a:xfrm>
              <a:prstGeom prst="roundRect">
                <a:avLst>
                  <a:gd name="adj" fmla="val 1920"/>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9" name="四角形: 上の 2 つの角を丸める 18">
                <a:extLst>
                  <a:ext uri="{FF2B5EF4-FFF2-40B4-BE49-F238E27FC236}">
                    <a16:creationId xmlns:a16="http://schemas.microsoft.com/office/drawing/2014/main" id="{80868D21-936D-782D-8C8D-2444FCC21357}"/>
                  </a:ext>
                </a:extLst>
              </p:cNvPr>
              <p:cNvSpPr/>
              <p:nvPr/>
            </p:nvSpPr>
            <p:spPr>
              <a:xfrm>
                <a:off x="12021964" y="3615508"/>
                <a:ext cx="4960712"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2600" spc="300" dirty="0">
                    <a:solidFill>
                      <a:schemeClr val="bg1"/>
                    </a:solidFill>
                    <a:latin typeface="+mj-ea"/>
                    <a:ea typeface="+mj-ea"/>
                  </a:rPr>
                  <a:t>アーティストの作品</a:t>
                </a:r>
                <a:r>
                  <a:rPr lang="ja-JP" altLang="en-US" sz="2600" spc="300" baseline="30000" dirty="0">
                    <a:solidFill>
                      <a:schemeClr val="bg1"/>
                    </a:solidFill>
                    <a:latin typeface="+mj-ea"/>
                    <a:ea typeface="+mj-ea"/>
                  </a:rPr>
                  <a:t> </a:t>
                </a:r>
                <a:r>
                  <a:rPr lang="en-US" altLang="ja-JP" sz="2600" spc="300" baseline="30000" dirty="0">
                    <a:solidFill>
                      <a:schemeClr val="bg1"/>
                    </a:solidFill>
                    <a:latin typeface="+mj-ea"/>
                    <a:ea typeface="+mj-ea"/>
                  </a:rPr>
                  <a:t>※1</a:t>
                </a:r>
                <a:endParaRPr lang="ja-JP" altLang="en-US" sz="2600" spc="300" baseline="30000" dirty="0">
                  <a:solidFill>
                    <a:schemeClr val="bg1"/>
                  </a:solidFill>
                  <a:latin typeface="+mj-ea"/>
                  <a:ea typeface="+mj-ea"/>
                </a:endParaRPr>
              </a:p>
            </p:txBody>
          </p:sp>
        </p:grpSp>
        <p:grpSp>
          <p:nvGrpSpPr>
            <p:cNvPr id="49" name="グループ化 48">
              <a:extLst>
                <a:ext uri="{FF2B5EF4-FFF2-40B4-BE49-F238E27FC236}">
                  <a16:creationId xmlns:a16="http://schemas.microsoft.com/office/drawing/2014/main" id="{602FADFC-52F9-B617-C042-E93C35B56BD9}"/>
                </a:ext>
              </a:extLst>
            </p:cNvPr>
            <p:cNvGrpSpPr/>
            <p:nvPr/>
          </p:nvGrpSpPr>
          <p:grpSpPr>
            <a:xfrm>
              <a:off x="12191504" y="4642699"/>
              <a:ext cx="4621632" cy="4595719"/>
              <a:chOff x="12191504" y="4642699"/>
              <a:chExt cx="4621632" cy="4595719"/>
            </a:xfrm>
          </p:grpSpPr>
          <p:pic>
            <p:nvPicPr>
              <p:cNvPr id="5" name="図 4">
                <a:extLst>
                  <a:ext uri="{FF2B5EF4-FFF2-40B4-BE49-F238E27FC236}">
                    <a16:creationId xmlns:a16="http://schemas.microsoft.com/office/drawing/2014/main" id="{F0ECA756-56A3-FC46-9EDF-1BBE1DB4D06D}"/>
                  </a:ext>
                </a:extLst>
              </p:cNvPr>
              <p:cNvPicPr>
                <a:picLocks noChangeAspect="1"/>
              </p:cNvPicPr>
              <p:nvPr/>
            </p:nvPicPr>
            <p:blipFill>
              <a:blip r:embed="rId7">
                <a:extLst>
                  <a:ext uri="{28A0092B-C50C-407E-A947-70E740481C1C}">
                    <a14:useLocalDpi xmlns:a14="http://schemas.microsoft.com/office/drawing/2010/main" val="0"/>
                  </a:ext>
                </a:extLst>
              </a:blip>
              <a:srcRect/>
              <a:stretch/>
            </p:blipFill>
            <p:spPr>
              <a:xfrm>
                <a:off x="12191505" y="6997136"/>
                <a:ext cx="2244152" cy="2241282"/>
              </a:xfrm>
              <a:prstGeom prst="rect">
                <a:avLst/>
              </a:prstGeom>
            </p:spPr>
          </p:pic>
          <p:pic>
            <p:nvPicPr>
              <p:cNvPr id="9" name="図 8">
                <a:extLst>
                  <a:ext uri="{FF2B5EF4-FFF2-40B4-BE49-F238E27FC236}">
                    <a16:creationId xmlns:a16="http://schemas.microsoft.com/office/drawing/2014/main" id="{C62FE217-CC6B-976E-DAF1-9C03A77369F1}"/>
                  </a:ext>
                </a:extLst>
              </p:cNvPr>
              <p:cNvPicPr>
                <a:picLocks noChangeAspect="1"/>
              </p:cNvPicPr>
              <p:nvPr/>
            </p:nvPicPr>
            <p:blipFill>
              <a:blip r:embed="rId8">
                <a:extLst>
                  <a:ext uri="{28A0092B-C50C-407E-A947-70E740481C1C}">
                    <a14:useLocalDpi xmlns:a14="http://schemas.microsoft.com/office/drawing/2010/main" val="0"/>
                  </a:ext>
                </a:extLst>
              </a:blip>
              <a:srcRect/>
              <a:stretch/>
            </p:blipFill>
            <p:spPr>
              <a:xfrm>
                <a:off x="14568984" y="4642700"/>
                <a:ext cx="2244152" cy="2241282"/>
              </a:xfrm>
              <a:prstGeom prst="rect">
                <a:avLst/>
              </a:prstGeom>
            </p:spPr>
          </p:pic>
          <p:pic>
            <p:nvPicPr>
              <p:cNvPr id="12" name="図 11">
                <a:extLst>
                  <a:ext uri="{FF2B5EF4-FFF2-40B4-BE49-F238E27FC236}">
                    <a16:creationId xmlns:a16="http://schemas.microsoft.com/office/drawing/2014/main" id="{6FA87EB5-407D-22DA-B602-D99A0398993A}"/>
                  </a:ext>
                </a:extLst>
              </p:cNvPr>
              <p:cNvPicPr>
                <a:picLocks noChangeAspect="1"/>
              </p:cNvPicPr>
              <p:nvPr/>
            </p:nvPicPr>
            <p:blipFill>
              <a:blip r:embed="rId9">
                <a:extLst>
                  <a:ext uri="{28A0092B-C50C-407E-A947-70E740481C1C}">
                    <a14:useLocalDpi xmlns:a14="http://schemas.microsoft.com/office/drawing/2010/main" val="0"/>
                  </a:ext>
                </a:extLst>
              </a:blip>
              <a:srcRect/>
              <a:stretch/>
            </p:blipFill>
            <p:spPr>
              <a:xfrm>
                <a:off x="14568984" y="6997136"/>
                <a:ext cx="2244152" cy="2241282"/>
              </a:xfrm>
              <a:prstGeom prst="rect">
                <a:avLst/>
              </a:prstGeom>
            </p:spPr>
          </p:pic>
          <p:pic>
            <p:nvPicPr>
              <p:cNvPr id="23" name="図 22">
                <a:extLst>
                  <a:ext uri="{FF2B5EF4-FFF2-40B4-BE49-F238E27FC236}">
                    <a16:creationId xmlns:a16="http://schemas.microsoft.com/office/drawing/2014/main" id="{59D2E1BD-5BBF-F6CE-15F3-ECE9F37721AC}"/>
                  </a:ext>
                </a:extLst>
              </p:cNvPr>
              <p:cNvPicPr>
                <a:picLocks noChangeAspect="1"/>
              </p:cNvPicPr>
              <p:nvPr/>
            </p:nvPicPr>
            <p:blipFill>
              <a:blip r:embed="rId10">
                <a:extLst>
                  <a:ext uri="{28A0092B-C50C-407E-A947-70E740481C1C}">
                    <a14:useLocalDpi xmlns:a14="http://schemas.microsoft.com/office/drawing/2010/main" val="0"/>
                  </a:ext>
                </a:extLst>
              </a:blip>
              <a:srcRect/>
              <a:stretch/>
            </p:blipFill>
            <p:spPr>
              <a:xfrm>
                <a:off x="12191504" y="4642699"/>
                <a:ext cx="2244151" cy="2241281"/>
              </a:xfrm>
              <a:prstGeom prst="rect">
                <a:avLst/>
              </a:prstGeom>
            </p:spPr>
          </p:pic>
        </p:grpSp>
      </p:grpSp>
    </p:spTree>
    <p:extLst>
      <p:ext uri="{BB962C8B-B14F-4D97-AF65-F5344CB8AC3E}">
        <p14:creationId xmlns:p14="http://schemas.microsoft.com/office/powerpoint/2010/main" val="2413803228"/>
      </p:ext>
    </p:extLst>
  </p:cSld>
  <p:clrMapOvr>
    <a:masterClrMapping/>
  </p:clrMapOvr>
</p:sld>
</file>

<file path=ppt/slides/slide5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ABB3E378-2525-4002-32EE-F942A6A82785}"/>
              </a:ext>
            </a:extLst>
          </p:cNvPr>
          <p:cNvSpPr>
            <a:spLocks noGrp="1"/>
          </p:cNvSpPr>
          <p:nvPr>
            <p:ph type="title"/>
          </p:nvPr>
        </p:nvSpPr>
        <p:spPr>
          <a:xfrm>
            <a:off x="891741" y="506301"/>
            <a:ext cx="3385542" cy="492443"/>
          </a:xfrm>
        </p:spPr>
        <p:txBody>
          <a:bodyPr/>
          <a:lstStyle/>
          <a:p>
            <a:r>
              <a:rPr lang="ja-JP" altLang="en-US" dirty="0"/>
              <a:t>他人の知的財産権等の侵害を防ぐため、</a:t>
            </a:r>
            <a:br>
              <a:rPr lang="en-US" altLang="ja-JP" dirty="0"/>
            </a:br>
            <a:r>
              <a:rPr lang="ja-JP" altLang="en-US" dirty="0"/>
              <a:t>既存のものや実在の人物に類似しないよう気を付ける</a:t>
            </a:r>
          </a:p>
        </p:txBody>
      </p:sp>
      <p:sp>
        <p:nvSpPr>
          <p:cNvPr id="3" name="スライド番号プレースホルダー 2">
            <a:extLst>
              <a:ext uri="{FF2B5EF4-FFF2-40B4-BE49-F238E27FC236}">
                <a16:creationId xmlns:a16="http://schemas.microsoft.com/office/drawing/2014/main" id="{84CEC618-F390-CE92-7C1D-FFB5723B39BC}"/>
              </a:ext>
            </a:extLst>
          </p:cNvPr>
          <p:cNvSpPr>
            <a:spLocks noGrp="1"/>
          </p:cNvSpPr>
          <p:nvPr>
            <p:ph type="sldNum" sz="quarter" idx="11"/>
          </p:nvPr>
        </p:nvSpPr>
        <p:spPr>
          <a:xfrm>
            <a:off x="17695001" y="9786651"/>
            <a:ext cx="327013" cy="307777"/>
          </a:xfrm>
        </p:spPr>
        <p:txBody>
          <a:bodyPr/>
          <a:lstStyle/>
          <a:p>
            <a:r>
              <a:rPr lang="en-US" altLang="ja-JP"/>
              <a:t>56</a:t>
            </a:r>
            <a:endParaRPr lang="ja-JP" altLang="en-US" dirty="0"/>
          </a:p>
        </p:txBody>
      </p:sp>
      <p:grpSp>
        <p:nvGrpSpPr>
          <p:cNvPr id="10" name="グループ化 9">
            <a:extLst>
              <a:ext uri="{FF2B5EF4-FFF2-40B4-BE49-F238E27FC236}">
                <a16:creationId xmlns:a16="http://schemas.microsoft.com/office/drawing/2014/main" id="{506CC437-4C56-6966-D01F-42FEF08EF1C8}"/>
              </a:ext>
            </a:extLst>
          </p:cNvPr>
          <p:cNvGrpSpPr/>
          <p:nvPr/>
        </p:nvGrpSpPr>
        <p:grpSpPr>
          <a:xfrm>
            <a:off x="1083055" y="2229494"/>
            <a:ext cx="15789023" cy="6473821"/>
            <a:chOff x="1083055" y="2229494"/>
            <a:chExt cx="15789023" cy="6473821"/>
          </a:xfrm>
        </p:grpSpPr>
        <p:grpSp>
          <p:nvGrpSpPr>
            <p:cNvPr id="46" name="グループ化 45">
              <a:extLst>
                <a:ext uri="{FF2B5EF4-FFF2-40B4-BE49-F238E27FC236}">
                  <a16:creationId xmlns:a16="http://schemas.microsoft.com/office/drawing/2014/main" id="{180601E2-2784-F02E-5AFB-01B347DF7382}"/>
                </a:ext>
              </a:extLst>
            </p:cNvPr>
            <p:cNvGrpSpPr/>
            <p:nvPr/>
          </p:nvGrpSpPr>
          <p:grpSpPr>
            <a:xfrm>
              <a:off x="5741428" y="2229494"/>
              <a:ext cx="6805144" cy="625684"/>
              <a:chOff x="5949387" y="2277388"/>
              <a:chExt cx="6805144" cy="625684"/>
            </a:xfrm>
          </p:grpSpPr>
          <p:sp>
            <p:nvSpPr>
              <p:cNvPr id="13" name="テキスト ボックス 12">
                <a:extLst>
                  <a:ext uri="{FF2B5EF4-FFF2-40B4-BE49-F238E27FC236}">
                    <a16:creationId xmlns:a16="http://schemas.microsoft.com/office/drawing/2014/main" id="{C9ECEBA3-0371-2687-829C-44D5E52C3D9F}"/>
                  </a:ext>
                </a:extLst>
              </p:cNvPr>
              <p:cNvSpPr txBox="1"/>
              <p:nvPr/>
            </p:nvSpPr>
            <p:spPr>
              <a:xfrm>
                <a:off x="6543498" y="2277388"/>
                <a:ext cx="5616922" cy="625684"/>
              </a:xfrm>
              <a:prstGeom prst="rect">
                <a:avLst/>
              </a:prstGeom>
              <a:noFill/>
            </p:spPr>
            <p:txBody>
              <a:bodyPr wrap="none" lIns="0" tIns="0" rIns="0" bIns="0" rtlCol="0" anchor="t">
                <a:spAutoFit/>
              </a:bodyPr>
              <a:lstStyle/>
              <a:p>
                <a:pPr algn="ctr">
                  <a:lnSpc>
                    <a:spcPct val="120000"/>
                  </a:lnSpc>
                  <a:spcAft>
                    <a:spcPts val="1500"/>
                  </a:spcAft>
                </a:pPr>
                <a:r>
                  <a:rPr lang="ja-JP" altLang="en-US" sz="3600" spc="50" dirty="0">
                    <a:solidFill>
                      <a:schemeClr val="accent1"/>
                    </a:solidFill>
                    <a:latin typeface="+mj-ea"/>
                    <a:ea typeface="+mj-ea"/>
                  </a:rPr>
                  <a:t>以下のような指示は避ける</a:t>
                </a:r>
                <a:endParaRPr lang="en-US" altLang="ja-JP" sz="3600" spc="50" dirty="0">
                  <a:solidFill>
                    <a:schemeClr val="accent1"/>
                  </a:solidFill>
                  <a:latin typeface="+mj-ea"/>
                  <a:ea typeface="+mj-ea"/>
                </a:endParaRPr>
              </a:p>
            </p:txBody>
          </p:sp>
          <p:grpSp>
            <p:nvGrpSpPr>
              <p:cNvPr id="45" name="グループ化 44">
                <a:extLst>
                  <a:ext uri="{FF2B5EF4-FFF2-40B4-BE49-F238E27FC236}">
                    <a16:creationId xmlns:a16="http://schemas.microsoft.com/office/drawing/2014/main" id="{17555441-2270-EFB9-9463-06427881B8E3}"/>
                  </a:ext>
                </a:extLst>
              </p:cNvPr>
              <p:cNvGrpSpPr/>
              <p:nvPr/>
            </p:nvGrpSpPr>
            <p:grpSpPr>
              <a:xfrm>
                <a:off x="5949387" y="2331313"/>
                <a:ext cx="6805144" cy="556178"/>
                <a:chOff x="5949387" y="2277388"/>
                <a:chExt cx="6805144" cy="556178"/>
              </a:xfrm>
            </p:grpSpPr>
            <p:cxnSp>
              <p:nvCxnSpPr>
                <p:cNvPr id="43" name="直線コネクタ 42">
                  <a:extLst>
                    <a:ext uri="{FF2B5EF4-FFF2-40B4-BE49-F238E27FC236}">
                      <a16:creationId xmlns:a16="http://schemas.microsoft.com/office/drawing/2014/main" id="{E426C215-5510-0645-22DA-59DD0B12431E}"/>
                    </a:ext>
                  </a:extLst>
                </p:cNvPr>
                <p:cNvCxnSpPr>
                  <a:cxnSpLocks/>
                </p:cNvCxnSpPr>
                <p:nvPr/>
              </p:nvCxnSpPr>
              <p:spPr>
                <a:xfrm>
                  <a:off x="5949387"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44" name="直線コネクタ 43">
                  <a:extLst>
                    <a:ext uri="{FF2B5EF4-FFF2-40B4-BE49-F238E27FC236}">
                      <a16:creationId xmlns:a16="http://schemas.microsoft.com/office/drawing/2014/main" id="{664A3CFA-2751-48AE-38FD-7BDB51EFC99C}"/>
                    </a:ext>
                  </a:extLst>
                </p:cNvPr>
                <p:cNvCxnSpPr>
                  <a:cxnSpLocks/>
                </p:cNvCxnSpPr>
                <p:nvPr/>
              </p:nvCxnSpPr>
              <p:spPr>
                <a:xfrm flipH="1">
                  <a:off x="12453589" y="2277388"/>
                  <a:ext cx="300942" cy="556178"/>
                </a:xfrm>
                <a:prstGeom prst="line">
                  <a:avLst/>
                </a:prstGeom>
                <a:ln w="57150" cap="rnd">
                  <a:solidFill>
                    <a:schemeClr val="accent1"/>
                  </a:solidFill>
                </a:ln>
              </p:spPr>
              <p:style>
                <a:lnRef idx="1">
                  <a:schemeClr val="accent1"/>
                </a:lnRef>
                <a:fillRef idx="0">
                  <a:schemeClr val="accent1"/>
                </a:fillRef>
                <a:effectRef idx="0">
                  <a:schemeClr val="accent1"/>
                </a:effectRef>
                <a:fontRef idx="minor">
                  <a:schemeClr val="tx1"/>
                </a:fontRef>
              </p:style>
            </p:cxnSp>
          </p:grpSp>
        </p:grpSp>
        <p:grpSp>
          <p:nvGrpSpPr>
            <p:cNvPr id="17" name="グループ化 16">
              <a:extLst>
                <a:ext uri="{FF2B5EF4-FFF2-40B4-BE49-F238E27FC236}">
                  <a16:creationId xmlns:a16="http://schemas.microsoft.com/office/drawing/2014/main" id="{2FBF6D03-846B-26BA-D7B1-A79072240005}"/>
                </a:ext>
              </a:extLst>
            </p:cNvPr>
            <p:cNvGrpSpPr/>
            <p:nvPr/>
          </p:nvGrpSpPr>
          <p:grpSpPr>
            <a:xfrm>
              <a:off x="4741513" y="3076136"/>
              <a:ext cx="8804975" cy="5627179"/>
              <a:chOff x="4051691" y="3149709"/>
              <a:chExt cx="8804975" cy="5627179"/>
            </a:xfrm>
          </p:grpSpPr>
          <p:sp>
            <p:nvSpPr>
              <p:cNvPr id="49" name="フリーフォーム: 図形 48">
                <a:extLst>
                  <a:ext uri="{FF2B5EF4-FFF2-40B4-BE49-F238E27FC236}">
                    <a16:creationId xmlns:a16="http://schemas.microsoft.com/office/drawing/2014/main" id="{AA4FE7CA-7900-7EB4-8DF2-A705FBC912B2}"/>
                  </a:ext>
                </a:extLst>
              </p:cNvPr>
              <p:cNvSpPr/>
              <p:nvPr/>
            </p:nvSpPr>
            <p:spPr>
              <a:xfrm rot="5924164" flipH="1">
                <a:off x="4108410" y="4269556"/>
                <a:ext cx="577141" cy="609475"/>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spAutoFit/>
              </a:bodyPr>
              <a:lstStyle/>
              <a:p>
                <a:pPr algn="ctr">
                  <a:lnSpc>
                    <a:spcPct val="130000"/>
                  </a:lnSpc>
                </a:pPr>
                <a:endParaRPr lang="ja-JP" altLang="en-US" sz="2800" dirty="0">
                  <a:latin typeface="+mj-ea"/>
                  <a:ea typeface="+mj-ea"/>
                </a:endParaRPr>
              </a:p>
            </p:txBody>
          </p:sp>
          <p:sp>
            <p:nvSpPr>
              <p:cNvPr id="50" name="四角形: 角を丸くする 49">
                <a:extLst>
                  <a:ext uri="{FF2B5EF4-FFF2-40B4-BE49-F238E27FC236}">
                    <a16:creationId xmlns:a16="http://schemas.microsoft.com/office/drawing/2014/main" id="{EA6DEB8B-1C24-1482-1018-ED172EBD9165}"/>
                  </a:ext>
                </a:extLst>
              </p:cNvPr>
              <p:cNvSpPr/>
              <p:nvPr/>
            </p:nvSpPr>
            <p:spPr>
              <a:xfrm flipH="1">
                <a:off x="4421332" y="3378295"/>
                <a:ext cx="8435332" cy="1514723"/>
              </a:xfrm>
              <a:prstGeom prst="roundRect">
                <a:avLst>
                  <a:gd name="adj" fmla="val 7919"/>
                </a:avLst>
              </a:prstGeom>
              <a:solidFill>
                <a:schemeClr val="bg1"/>
              </a:solidFill>
              <a:ln w="20168" cap="flat">
                <a:noFill/>
                <a:prstDash val="solid"/>
                <a:miter/>
              </a:ln>
            </p:spPr>
            <p:txBody>
              <a:bodyPr wrap="square" lIns="360000" tIns="360000" rIns="324000" bIns="360000" rtlCol="0" anchor="ctr" anchorCtr="0">
                <a:noAutofit/>
              </a:bodyPr>
              <a:lstStyle/>
              <a:p>
                <a:pPr algn="ctr">
                  <a:lnSpc>
                    <a:spcPct val="110000"/>
                  </a:lnSpc>
                  <a:spcAft>
                    <a:spcPts val="1100"/>
                  </a:spcAft>
                </a:pPr>
                <a:r>
                  <a:rPr lang="ja-JP" altLang="en-US" sz="3600" dirty="0">
                    <a:latin typeface="+mj-ea"/>
                    <a:ea typeface="+mj-ea"/>
                  </a:rPr>
                  <a:t>✕✕に似ているロゴを考えて</a:t>
                </a:r>
              </a:p>
            </p:txBody>
          </p:sp>
          <p:grpSp>
            <p:nvGrpSpPr>
              <p:cNvPr id="51" name="グループ化 50">
                <a:extLst>
                  <a:ext uri="{FF2B5EF4-FFF2-40B4-BE49-F238E27FC236}">
                    <a16:creationId xmlns:a16="http://schemas.microsoft.com/office/drawing/2014/main" id="{F0B1CD0E-734C-68E5-9FDA-C39FA186B783}"/>
                  </a:ext>
                </a:extLst>
              </p:cNvPr>
              <p:cNvGrpSpPr/>
              <p:nvPr/>
            </p:nvGrpSpPr>
            <p:grpSpPr>
              <a:xfrm>
                <a:off x="4229453" y="3149709"/>
                <a:ext cx="788509" cy="788508"/>
                <a:chOff x="8304801" y="4513305"/>
                <a:chExt cx="805544" cy="805544"/>
              </a:xfrm>
            </p:grpSpPr>
            <p:sp>
              <p:nvSpPr>
                <p:cNvPr id="52" name="楕円 51">
                  <a:extLst>
                    <a:ext uri="{FF2B5EF4-FFF2-40B4-BE49-F238E27FC236}">
                      <a16:creationId xmlns:a16="http://schemas.microsoft.com/office/drawing/2014/main" id="{E6EF8FFF-20B8-9657-48AA-37CC83FF1ACE}"/>
                    </a:ext>
                  </a:extLst>
                </p:cNvPr>
                <p:cNvSpPr/>
                <p:nvPr/>
              </p:nvSpPr>
              <p:spPr>
                <a:xfrm>
                  <a:off x="8304801" y="4513305"/>
                  <a:ext cx="805544" cy="805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nvGrpSpPr>
                <p:cNvPr id="53" name="グループ化 52">
                  <a:extLst>
                    <a:ext uri="{FF2B5EF4-FFF2-40B4-BE49-F238E27FC236}">
                      <a16:creationId xmlns:a16="http://schemas.microsoft.com/office/drawing/2014/main" id="{792D7809-2957-3B6C-2D0F-1EEF9772AFF8}"/>
                    </a:ext>
                  </a:extLst>
                </p:cNvPr>
                <p:cNvGrpSpPr/>
                <p:nvPr/>
              </p:nvGrpSpPr>
              <p:grpSpPr>
                <a:xfrm>
                  <a:off x="8437573" y="4646077"/>
                  <a:ext cx="540000" cy="540000"/>
                  <a:chOff x="8437573" y="4646077"/>
                  <a:chExt cx="540000" cy="540000"/>
                </a:xfrm>
              </p:grpSpPr>
              <p:sp>
                <p:nvSpPr>
                  <p:cNvPr id="54" name="四角形: 角を丸くする 53">
                    <a:extLst>
                      <a:ext uri="{FF2B5EF4-FFF2-40B4-BE49-F238E27FC236}">
                        <a16:creationId xmlns:a16="http://schemas.microsoft.com/office/drawing/2014/main" id="{F04502A5-339F-41DC-9F08-C8B3D7A8AB19}"/>
                      </a:ext>
                    </a:extLst>
                  </p:cNvPr>
                  <p:cNvSpPr/>
                  <p:nvPr/>
                </p:nvSpPr>
                <p:spPr>
                  <a:xfrm rot="27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sp>
                <p:nvSpPr>
                  <p:cNvPr id="55" name="四角形: 角を丸くする 54">
                    <a:extLst>
                      <a:ext uri="{FF2B5EF4-FFF2-40B4-BE49-F238E27FC236}">
                        <a16:creationId xmlns:a16="http://schemas.microsoft.com/office/drawing/2014/main" id="{A326E0AF-06A3-26A1-D2FE-967C5B16C19F}"/>
                      </a:ext>
                    </a:extLst>
                  </p:cNvPr>
                  <p:cNvSpPr/>
                  <p:nvPr/>
                </p:nvSpPr>
                <p:spPr>
                  <a:xfrm rot="189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grpSp>
          <p:sp>
            <p:nvSpPr>
              <p:cNvPr id="69" name="フリーフォーム: 図形 68">
                <a:extLst>
                  <a:ext uri="{FF2B5EF4-FFF2-40B4-BE49-F238E27FC236}">
                    <a16:creationId xmlns:a16="http://schemas.microsoft.com/office/drawing/2014/main" id="{811535E8-AB71-0358-0389-D01C7E8886C7}"/>
                  </a:ext>
                </a:extLst>
              </p:cNvPr>
              <p:cNvSpPr/>
              <p:nvPr/>
            </p:nvSpPr>
            <p:spPr>
              <a:xfrm rot="8010466" flipH="1">
                <a:off x="4108410" y="6051504"/>
                <a:ext cx="577141" cy="609475"/>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spAutoFit/>
              </a:bodyPr>
              <a:lstStyle/>
              <a:p>
                <a:pPr algn="ctr">
                  <a:lnSpc>
                    <a:spcPct val="130000"/>
                  </a:lnSpc>
                </a:pPr>
                <a:endParaRPr lang="ja-JP" altLang="en-US" sz="2800" dirty="0">
                  <a:latin typeface="+mj-ea"/>
                  <a:ea typeface="+mj-ea"/>
                </a:endParaRPr>
              </a:p>
            </p:txBody>
          </p:sp>
          <p:sp>
            <p:nvSpPr>
              <p:cNvPr id="70" name="四角形: 角を丸くする 69">
                <a:extLst>
                  <a:ext uri="{FF2B5EF4-FFF2-40B4-BE49-F238E27FC236}">
                    <a16:creationId xmlns:a16="http://schemas.microsoft.com/office/drawing/2014/main" id="{AE804076-7F00-B96F-D7BC-05F2581DACF9}"/>
                  </a:ext>
                </a:extLst>
              </p:cNvPr>
              <p:cNvSpPr/>
              <p:nvPr/>
            </p:nvSpPr>
            <p:spPr>
              <a:xfrm flipH="1">
                <a:off x="4421331" y="5320230"/>
                <a:ext cx="8435333" cy="1514723"/>
              </a:xfrm>
              <a:prstGeom prst="roundRect">
                <a:avLst>
                  <a:gd name="adj" fmla="val 7919"/>
                </a:avLst>
              </a:prstGeom>
              <a:solidFill>
                <a:schemeClr val="bg1"/>
              </a:solidFill>
              <a:ln w="20168" cap="flat">
                <a:noFill/>
                <a:prstDash val="solid"/>
                <a:miter/>
              </a:ln>
            </p:spPr>
            <p:txBody>
              <a:bodyPr wrap="square" lIns="360000" tIns="360000" rIns="324000" bIns="360000" rtlCol="0" anchor="ctr" anchorCtr="0">
                <a:noAutofit/>
              </a:bodyPr>
              <a:lstStyle/>
              <a:p>
                <a:pPr algn="ctr">
                  <a:lnSpc>
                    <a:spcPct val="110000"/>
                  </a:lnSpc>
                  <a:spcAft>
                    <a:spcPts val="1100"/>
                  </a:spcAft>
                </a:pPr>
                <a:r>
                  <a:rPr lang="ja-JP" altLang="en-US" sz="3600" dirty="0">
                    <a:latin typeface="+mj-ea"/>
                    <a:ea typeface="+mj-ea"/>
                  </a:rPr>
                  <a:t>✕✕のキャラクターを描いて</a:t>
                </a:r>
              </a:p>
            </p:txBody>
          </p:sp>
          <p:grpSp>
            <p:nvGrpSpPr>
              <p:cNvPr id="71" name="グループ化 70">
                <a:extLst>
                  <a:ext uri="{FF2B5EF4-FFF2-40B4-BE49-F238E27FC236}">
                    <a16:creationId xmlns:a16="http://schemas.microsoft.com/office/drawing/2014/main" id="{CE08DF4D-D3A4-D682-EB9D-21FA89EEC697}"/>
                  </a:ext>
                </a:extLst>
              </p:cNvPr>
              <p:cNvGrpSpPr/>
              <p:nvPr/>
            </p:nvGrpSpPr>
            <p:grpSpPr>
              <a:xfrm>
                <a:off x="4229452" y="5091644"/>
                <a:ext cx="788509" cy="788508"/>
                <a:chOff x="8304801" y="4513305"/>
                <a:chExt cx="805544" cy="805544"/>
              </a:xfrm>
            </p:grpSpPr>
            <p:sp>
              <p:nvSpPr>
                <p:cNvPr id="72" name="楕円 71">
                  <a:extLst>
                    <a:ext uri="{FF2B5EF4-FFF2-40B4-BE49-F238E27FC236}">
                      <a16:creationId xmlns:a16="http://schemas.microsoft.com/office/drawing/2014/main" id="{E9648093-9BC5-E952-4660-E63F135C567A}"/>
                    </a:ext>
                  </a:extLst>
                </p:cNvPr>
                <p:cNvSpPr/>
                <p:nvPr/>
              </p:nvSpPr>
              <p:spPr>
                <a:xfrm>
                  <a:off x="8304801" y="4513305"/>
                  <a:ext cx="805544" cy="805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nvGrpSpPr>
                <p:cNvPr id="73" name="グループ化 72">
                  <a:extLst>
                    <a:ext uri="{FF2B5EF4-FFF2-40B4-BE49-F238E27FC236}">
                      <a16:creationId xmlns:a16="http://schemas.microsoft.com/office/drawing/2014/main" id="{74417863-DA6B-A129-626E-8C00943A3543}"/>
                    </a:ext>
                  </a:extLst>
                </p:cNvPr>
                <p:cNvGrpSpPr/>
                <p:nvPr/>
              </p:nvGrpSpPr>
              <p:grpSpPr>
                <a:xfrm>
                  <a:off x="8437573" y="4646077"/>
                  <a:ext cx="540000" cy="540000"/>
                  <a:chOff x="8437573" y="4646077"/>
                  <a:chExt cx="540000" cy="540000"/>
                </a:xfrm>
              </p:grpSpPr>
              <p:sp>
                <p:nvSpPr>
                  <p:cNvPr id="74" name="四角形: 角を丸くする 73">
                    <a:extLst>
                      <a:ext uri="{FF2B5EF4-FFF2-40B4-BE49-F238E27FC236}">
                        <a16:creationId xmlns:a16="http://schemas.microsoft.com/office/drawing/2014/main" id="{D4B09528-F52D-A33A-3CAC-7D1F811FC4F3}"/>
                      </a:ext>
                    </a:extLst>
                  </p:cNvPr>
                  <p:cNvSpPr/>
                  <p:nvPr/>
                </p:nvSpPr>
                <p:spPr>
                  <a:xfrm rot="27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sp>
                <p:nvSpPr>
                  <p:cNvPr id="75" name="四角形: 角を丸くする 74">
                    <a:extLst>
                      <a:ext uri="{FF2B5EF4-FFF2-40B4-BE49-F238E27FC236}">
                        <a16:creationId xmlns:a16="http://schemas.microsoft.com/office/drawing/2014/main" id="{1342C836-C5BC-D2CA-753F-F51CA8F7BF34}"/>
                      </a:ext>
                    </a:extLst>
                  </p:cNvPr>
                  <p:cNvSpPr/>
                  <p:nvPr/>
                </p:nvSpPr>
                <p:spPr>
                  <a:xfrm rot="189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grpSp>
          <p:sp>
            <p:nvSpPr>
              <p:cNvPr id="77" name="フリーフォーム: 図形 76">
                <a:extLst>
                  <a:ext uri="{FF2B5EF4-FFF2-40B4-BE49-F238E27FC236}">
                    <a16:creationId xmlns:a16="http://schemas.microsoft.com/office/drawing/2014/main" id="{73FFA182-C8C5-BC06-902B-D35E614A7A2A}"/>
                  </a:ext>
                </a:extLst>
              </p:cNvPr>
              <p:cNvSpPr/>
              <p:nvPr/>
            </p:nvSpPr>
            <p:spPr>
              <a:xfrm rot="15117325" flipH="1" flipV="1">
                <a:off x="4067858" y="7602348"/>
                <a:ext cx="577141" cy="609475"/>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t">
                <a:spAutoFit/>
              </a:bodyPr>
              <a:lstStyle/>
              <a:p>
                <a:pPr algn="ctr">
                  <a:lnSpc>
                    <a:spcPct val="130000"/>
                  </a:lnSpc>
                </a:pPr>
                <a:endParaRPr lang="ja-JP" altLang="en-US" sz="2800" dirty="0">
                  <a:latin typeface="+mj-ea"/>
                  <a:ea typeface="+mj-ea"/>
                </a:endParaRPr>
              </a:p>
            </p:txBody>
          </p:sp>
          <p:sp>
            <p:nvSpPr>
              <p:cNvPr id="78" name="四角形: 角を丸くする 77">
                <a:extLst>
                  <a:ext uri="{FF2B5EF4-FFF2-40B4-BE49-F238E27FC236}">
                    <a16:creationId xmlns:a16="http://schemas.microsoft.com/office/drawing/2014/main" id="{618165AD-2C3F-C299-F4A4-E9F5CFE14CE7}"/>
                  </a:ext>
                </a:extLst>
              </p:cNvPr>
              <p:cNvSpPr/>
              <p:nvPr/>
            </p:nvSpPr>
            <p:spPr>
              <a:xfrm flipH="1">
                <a:off x="4421332" y="7262165"/>
                <a:ext cx="8435334" cy="1514723"/>
              </a:xfrm>
              <a:prstGeom prst="roundRect">
                <a:avLst>
                  <a:gd name="adj" fmla="val 7919"/>
                </a:avLst>
              </a:prstGeom>
              <a:solidFill>
                <a:schemeClr val="bg1"/>
              </a:solidFill>
              <a:ln w="20168" cap="flat">
                <a:noFill/>
                <a:prstDash val="solid"/>
                <a:miter/>
              </a:ln>
            </p:spPr>
            <p:txBody>
              <a:bodyPr wrap="square" lIns="360000" tIns="360000" rIns="324000" bIns="360000" rtlCol="0" anchor="ctr" anchorCtr="0">
                <a:noAutofit/>
              </a:bodyPr>
              <a:lstStyle/>
              <a:p>
                <a:pPr algn="ctr">
                  <a:lnSpc>
                    <a:spcPct val="110000"/>
                  </a:lnSpc>
                  <a:spcAft>
                    <a:spcPts val="1100"/>
                  </a:spcAft>
                </a:pPr>
                <a:r>
                  <a:rPr lang="ja-JP" altLang="en-US" sz="3600" dirty="0">
                    <a:latin typeface="+mj-ea"/>
                    <a:ea typeface="+mj-ea"/>
                  </a:rPr>
                  <a:t>✕✕さんそっくりの写真を生成して</a:t>
                </a:r>
              </a:p>
            </p:txBody>
          </p:sp>
          <p:grpSp>
            <p:nvGrpSpPr>
              <p:cNvPr id="79" name="グループ化 78">
                <a:extLst>
                  <a:ext uri="{FF2B5EF4-FFF2-40B4-BE49-F238E27FC236}">
                    <a16:creationId xmlns:a16="http://schemas.microsoft.com/office/drawing/2014/main" id="{316F103D-F2A5-7639-5349-1EFD52633DE7}"/>
                  </a:ext>
                </a:extLst>
              </p:cNvPr>
              <p:cNvGrpSpPr/>
              <p:nvPr/>
            </p:nvGrpSpPr>
            <p:grpSpPr>
              <a:xfrm>
                <a:off x="4229453" y="7033579"/>
                <a:ext cx="788509" cy="788508"/>
                <a:chOff x="8304801" y="4513305"/>
                <a:chExt cx="805544" cy="805544"/>
              </a:xfrm>
            </p:grpSpPr>
            <p:sp>
              <p:nvSpPr>
                <p:cNvPr id="80" name="楕円 79">
                  <a:extLst>
                    <a:ext uri="{FF2B5EF4-FFF2-40B4-BE49-F238E27FC236}">
                      <a16:creationId xmlns:a16="http://schemas.microsoft.com/office/drawing/2014/main" id="{69BFFBA2-B838-D9CF-BCAC-B615AF66FCEF}"/>
                    </a:ext>
                  </a:extLst>
                </p:cNvPr>
                <p:cNvSpPr/>
                <p:nvPr/>
              </p:nvSpPr>
              <p:spPr>
                <a:xfrm>
                  <a:off x="8304801" y="4513305"/>
                  <a:ext cx="805544" cy="805544"/>
                </a:xfrm>
                <a:prstGeom prst="ellipse">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nvGrpSpPr>
                <p:cNvPr id="81" name="グループ化 80">
                  <a:extLst>
                    <a:ext uri="{FF2B5EF4-FFF2-40B4-BE49-F238E27FC236}">
                      <a16:creationId xmlns:a16="http://schemas.microsoft.com/office/drawing/2014/main" id="{207E4931-E7E8-2CC5-F70A-1DBAB814EB5F}"/>
                    </a:ext>
                  </a:extLst>
                </p:cNvPr>
                <p:cNvGrpSpPr/>
                <p:nvPr/>
              </p:nvGrpSpPr>
              <p:grpSpPr>
                <a:xfrm>
                  <a:off x="8437573" y="4646077"/>
                  <a:ext cx="540000" cy="540000"/>
                  <a:chOff x="8437573" y="4646077"/>
                  <a:chExt cx="540000" cy="540000"/>
                </a:xfrm>
              </p:grpSpPr>
              <p:sp>
                <p:nvSpPr>
                  <p:cNvPr id="82" name="四角形: 角を丸くする 81">
                    <a:extLst>
                      <a:ext uri="{FF2B5EF4-FFF2-40B4-BE49-F238E27FC236}">
                        <a16:creationId xmlns:a16="http://schemas.microsoft.com/office/drawing/2014/main" id="{0E6CCF49-C76C-257D-1AF9-459FDCE347EC}"/>
                      </a:ext>
                    </a:extLst>
                  </p:cNvPr>
                  <p:cNvSpPr/>
                  <p:nvPr/>
                </p:nvSpPr>
                <p:spPr>
                  <a:xfrm rot="27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sp>
                <p:nvSpPr>
                  <p:cNvPr id="83" name="四角形: 角を丸くする 82">
                    <a:extLst>
                      <a:ext uri="{FF2B5EF4-FFF2-40B4-BE49-F238E27FC236}">
                        <a16:creationId xmlns:a16="http://schemas.microsoft.com/office/drawing/2014/main" id="{C160A37B-8F88-67A2-C89C-E76EE7007469}"/>
                      </a:ext>
                    </a:extLst>
                  </p:cNvPr>
                  <p:cNvSpPr/>
                  <p:nvPr/>
                </p:nvSpPr>
                <p:spPr>
                  <a:xfrm rot="18900000">
                    <a:off x="8653573" y="4646077"/>
                    <a:ext cx="108000" cy="540000"/>
                  </a:xfrm>
                  <a:prstGeom prst="roundRect">
                    <a:avLst>
                      <a:gd name="adj" fmla="val 50000"/>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kumimoji="1" lang="ja-JP" altLang="en-US" sz="1400" dirty="0">
                      <a:solidFill>
                        <a:schemeClr val="accent1">
                          <a:lumMod val="25000"/>
                        </a:schemeClr>
                      </a:solidFill>
                    </a:endParaRPr>
                  </a:p>
                </p:txBody>
              </p:sp>
            </p:grpSp>
          </p:grpSp>
        </p:grpSp>
        <p:pic>
          <p:nvPicPr>
            <p:cNvPr id="6" name="図 5">
              <a:extLst>
                <a:ext uri="{FF2B5EF4-FFF2-40B4-BE49-F238E27FC236}">
                  <a16:creationId xmlns:a16="http://schemas.microsoft.com/office/drawing/2014/main" id="{2F1F42D6-8919-0CA6-EF6C-8B12FFE77B55}"/>
                </a:ext>
              </a:extLst>
            </p:cNvPr>
            <p:cNvPicPr>
              <a:picLocks noChangeAspect="1"/>
            </p:cNvPicPr>
            <p:nvPr/>
          </p:nvPicPr>
          <p:blipFill>
            <a:blip r:embed="rId3"/>
            <a:stretch>
              <a:fillRect/>
            </a:stretch>
          </p:blipFill>
          <p:spPr>
            <a:xfrm>
              <a:off x="1083055" y="4395427"/>
              <a:ext cx="3621338" cy="3218967"/>
            </a:xfrm>
            <a:prstGeom prst="rect">
              <a:avLst/>
            </a:prstGeom>
          </p:spPr>
        </p:pic>
        <p:pic>
          <p:nvPicPr>
            <p:cNvPr id="9" name="図 8">
              <a:extLst>
                <a:ext uri="{FF2B5EF4-FFF2-40B4-BE49-F238E27FC236}">
                  <a16:creationId xmlns:a16="http://schemas.microsoft.com/office/drawing/2014/main" id="{20E4B879-CB3F-61D9-FBEB-3285B0664474}"/>
                </a:ext>
              </a:extLst>
            </p:cNvPr>
            <p:cNvPicPr>
              <a:picLocks noChangeAspect="1"/>
            </p:cNvPicPr>
            <p:nvPr/>
          </p:nvPicPr>
          <p:blipFill>
            <a:blip r:embed="rId4"/>
            <a:stretch>
              <a:fillRect/>
            </a:stretch>
          </p:blipFill>
          <p:spPr>
            <a:xfrm>
              <a:off x="14055482" y="4099269"/>
              <a:ext cx="2816596" cy="3127519"/>
            </a:xfrm>
            <a:prstGeom prst="rect">
              <a:avLst/>
            </a:prstGeom>
          </p:spPr>
        </p:pic>
      </p:grpSp>
    </p:spTree>
    <p:extLst>
      <p:ext uri="{BB962C8B-B14F-4D97-AF65-F5344CB8AC3E}">
        <p14:creationId xmlns:p14="http://schemas.microsoft.com/office/powerpoint/2010/main" val="2041814084"/>
      </p:ext>
    </p:extLst>
  </p:cSld>
  <p:clrMapOvr>
    <a:masterClrMapping/>
  </p:clrMapOvr>
</p:sld>
</file>

<file path=ppt/slides/slide5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F11A6A7B-CD1B-FC55-651B-8160C70E74AD}"/>
              </a:ext>
            </a:extLst>
          </p:cNvPr>
          <p:cNvSpPr>
            <a:spLocks noGrp="1"/>
          </p:cNvSpPr>
          <p:nvPr>
            <p:ph type="title"/>
          </p:nvPr>
        </p:nvSpPr>
        <p:spPr>
          <a:xfrm>
            <a:off x="891741" y="506301"/>
            <a:ext cx="16081325" cy="492443"/>
          </a:xfrm>
        </p:spPr>
        <p:txBody>
          <a:bodyPr/>
          <a:lstStyle/>
          <a:p>
            <a:r>
              <a:rPr lang="ja-JP" altLang="en-US" dirty="0"/>
              <a:t>生成物が既存のものや実在の人物に類似している場合、以下のいずれかの対応を行う</a:t>
            </a:r>
          </a:p>
        </p:txBody>
      </p:sp>
      <p:sp>
        <p:nvSpPr>
          <p:cNvPr id="3" name="スライド番号プレースホルダー 2">
            <a:extLst>
              <a:ext uri="{FF2B5EF4-FFF2-40B4-BE49-F238E27FC236}">
                <a16:creationId xmlns:a16="http://schemas.microsoft.com/office/drawing/2014/main" id="{ADBE8877-9CA5-A3A6-81A9-5210E338FAA7}"/>
              </a:ext>
            </a:extLst>
          </p:cNvPr>
          <p:cNvSpPr>
            <a:spLocks noGrp="1"/>
          </p:cNvSpPr>
          <p:nvPr>
            <p:ph type="sldNum" sz="quarter" idx="11"/>
          </p:nvPr>
        </p:nvSpPr>
        <p:spPr>
          <a:xfrm>
            <a:off x="17695001" y="9786651"/>
            <a:ext cx="327013" cy="307777"/>
          </a:xfrm>
        </p:spPr>
        <p:txBody>
          <a:bodyPr/>
          <a:lstStyle/>
          <a:p>
            <a:r>
              <a:rPr lang="en-US" altLang="ja-JP"/>
              <a:t>57</a:t>
            </a:r>
            <a:endParaRPr lang="ja-JP" altLang="en-US" dirty="0"/>
          </a:p>
        </p:txBody>
      </p:sp>
      <p:grpSp>
        <p:nvGrpSpPr>
          <p:cNvPr id="17" name="グループ化 16">
            <a:extLst>
              <a:ext uri="{FF2B5EF4-FFF2-40B4-BE49-F238E27FC236}">
                <a16:creationId xmlns:a16="http://schemas.microsoft.com/office/drawing/2014/main" id="{52F4C69E-D460-9803-BD39-8502FE3ADABA}"/>
              </a:ext>
            </a:extLst>
          </p:cNvPr>
          <p:cNvGrpSpPr/>
          <p:nvPr/>
        </p:nvGrpSpPr>
        <p:grpSpPr>
          <a:xfrm>
            <a:off x="891741" y="1607731"/>
            <a:ext cx="5217657" cy="7683414"/>
            <a:chOff x="891741" y="1607731"/>
            <a:chExt cx="5217657" cy="7683414"/>
          </a:xfrm>
        </p:grpSpPr>
        <p:sp>
          <p:nvSpPr>
            <p:cNvPr id="11" name="四角形: 角を丸くする 10">
              <a:extLst>
                <a:ext uri="{FF2B5EF4-FFF2-40B4-BE49-F238E27FC236}">
                  <a16:creationId xmlns:a16="http://schemas.microsoft.com/office/drawing/2014/main" id="{6ABEC6D6-9838-B9C9-FC45-5D8F45952C5C}"/>
                </a:ext>
              </a:extLst>
            </p:cNvPr>
            <p:cNvSpPr/>
            <p:nvPr/>
          </p:nvSpPr>
          <p:spPr>
            <a:xfrm>
              <a:off x="891741" y="1979524"/>
              <a:ext cx="5217657" cy="7311621"/>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4" name="四角形: 角を丸くする 13">
              <a:extLst>
                <a:ext uri="{FF2B5EF4-FFF2-40B4-BE49-F238E27FC236}">
                  <a16:creationId xmlns:a16="http://schemas.microsoft.com/office/drawing/2014/main" id="{3C0FAD11-4780-7563-C4F9-BA2915A3F5B5}"/>
                </a:ext>
              </a:extLst>
            </p:cNvPr>
            <p:cNvSpPr/>
            <p:nvPr/>
          </p:nvSpPr>
          <p:spPr>
            <a:xfrm>
              <a:off x="2581361" y="1607731"/>
              <a:ext cx="1838416"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対応１</a:t>
              </a:r>
            </a:p>
          </p:txBody>
        </p:sp>
        <p:sp>
          <p:nvSpPr>
            <p:cNvPr id="19" name="テキスト ボックス 18">
              <a:extLst>
                <a:ext uri="{FF2B5EF4-FFF2-40B4-BE49-F238E27FC236}">
                  <a16:creationId xmlns:a16="http://schemas.microsoft.com/office/drawing/2014/main" id="{0FA2CD90-9B35-14D1-43FD-0142613ED603}"/>
                </a:ext>
              </a:extLst>
            </p:cNvPr>
            <p:cNvSpPr txBox="1"/>
            <p:nvPr/>
          </p:nvSpPr>
          <p:spPr>
            <a:xfrm>
              <a:off x="1923214" y="6084719"/>
              <a:ext cx="3154711" cy="695190"/>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4000" spc="100" dirty="0">
                  <a:latin typeface="+mj-ea"/>
                  <a:ea typeface="+mj-ea"/>
                </a:rPr>
                <a:t>利用をやめる</a:t>
              </a:r>
            </a:p>
          </p:txBody>
        </p:sp>
        <p:pic>
          <p:nvPicPr>
            <p:cNvPr id="5" name="図 4">
              <a:extLst>
                <a:ext uri="{FF2B5EF4-FFF2-40B4-BE49-F238E27FC236}">
                  <a16:creationId xmlns:a16="http://schemas.microsoft.com/office/drawing/2014/main" id="{AF3BE52F-4DEC-172F-0C5F-FB21D3859505}"/>
                </a:ext>
              </a:extLst>
            </p:cNvPr>
            <p:cNvPicPr>
              <a:picLocks noChangeAspect="1"/>
            </p:cNvPicPr>
            <p:nvPr/>
          </p:nvPicPr>
          <p:blipFill>
            <a:blip r:embed="rId3"/>
            <a:stretch>
              <a:fillRect/>
            </a:stretch>
          </p:blipFill>
          <p:spPr>
            <a:xfrm>
              <a:off x="1324109" y="3650587"/>
              <a:ext cx="4352921" cy="1481456"/>
            </a:xfrm>
            <a:prstGeom prst="rect">
              <a:avLst/>
            </a:prstGeom>
          </p:spPr>
        </p:pic>
      </p:grpSp>
      <p:grpSp>
        <p:nvGrpSpPr>
          <p:cNvPr id="224" name="グループ化 223">
            <a:extLst>
              <a:ext uri="{FF2B5EF4-FFF2-40B4-BE49-F238E27FC236}">
                <a16:creationId xmlns:a16="http://schemas.microsoft.com/office/drawing/2014/main" id="{4058955D-C6E4-E792-12DF-78A20C4E1C9D}"/>
              </a:ext>
            </a:extLst>
          </p:cNvPr>
          <p:cNvGrpSpPr/>
          <p:nvPr/>
        </p:nvGrpSpPr>
        <p:grpSpPr>
          <a:xfrm>
            <a:off x="6535172" y="1607731"/>
            <a:ext cx="5217657" cy="7683414"/>
            <a:chOff x="6535172" y="1607731"/>
            <a:chExt cx="5217657" cy="7683414"/>
          </a:xfrm>
        </p:grpSpPr>
        <p:sp>
          <p:nvSpPr>
            <p:cNvPr id="12" name="四角形: 角を丸くする 11">
              <a:extLst>
                <a:ext uri="{FF2B5EF4-FFF2-40B4-BE49-F238E27FC236}">
                  <a16:creationId xmlns:a16="http://schemas.microsoft.com/office/drawing/2014/main" id="{4F9ABD0B-BA84-C305-3F30-F84FD6831962}"/>
                </a:ext>
              </a:extLst>
            </p:cNvPr>
            <p:cNvSpPr/>
            <p:nvPr/>
          </p:nvSpPr>
          <p:spPr>
            <a:xfrm>
              <a:off x="6535172" y="1979524"/>
              <a:ext cx="5217657" cy="7311621"/>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角を丸くする 14">
              <a:extLst>
                <a:ext uri="{FF2B5EF4-FFF2-40B4-BE49-F238E27FC236}">
                  <a16:creationId xmlns:a16="http://schemas.microsoft.com/office/drawing/2014/main" id="{F49A45F9-8CAA-7FB8-748C-23A38CD941F5}"/>
                </a:ext>
              </a:extLst>
            </p:cNvPr>
            <p:cNvSpPr/>
            <p:nvPr/>
          </p:nvSpPr>
          <p:spPr>
            <a:xfrm>
              <a:off x="8224794" y="1607731"/>
              <a:ext cx="183841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3200" spc="100" dirty="0">
                  <a:solidFill>
                    <a:schemeClr val="bg1"/>
                  </a:solidFill>
                  <a:latin typeface="+mj-ea"/>
                  <a:ea typeface="+mj-ea"/>
                </a:rPr>
                <a:t>対応２</a:t>
              </a:r>
              <a:endParaRPr kumimoji="1" lang="ja-JP" altLang="en-US" sz="3200" spc="100" dirty="0">
                <a:solidFill>
                  <a:schemeClr val="bg1"/>
                </a:solidFill>
                <a:latin typeface="+mj-ea"/>
                <a:ea typeface="+mj-ea"/>
              </a:endParaRPr>
            </a:p>
          </p:txBody>
        </p:sp>
        <p:sp>
          <p:nvSpPr>
            <p:cNvPr id="20" name="テキスト ボックス 19">
              <a:extLst>
                <a:ext uri="{FF2B5EF4-FFF2-40B4-BE49-F238E27FC236}">
                  <a16:creationId xmlns:a16="http://schemas.microsoft.com/office/drawing/2014/main" id="{196881E6-4206-312A-25AB-FB1C13451FF1}"/>
                </a:ext>
              </a:extLst>
            </p:cNvPr>
            <p:cNvSpPr txBox="1"/>
            <p:nvPr/>
          </p:nvSpPr>
          <p:spPr>
            <a:xfrm>
              <a:off x="7008800" y="6084719"/>
              <a:ext cx="4270400" cy="1955279"/>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3600" spc="100" dirty="0">
                  <a:latin typeface="+mj-ea"/>
                  <a:ea typeface="+mj-ea"/>
                </a:rPr>
                <a:t>既存データの権利者</a:t>
              </a:r>
              <a:br>
                <a:rPr kumimoji="1" lang="en-US" altLang="ja-JP" sz="3600" spc="100" dirty="0">
                  <a:latin typeface="+mj-ea"/>
                  <a:ea typeface="+mj-ea"/>
                </a:rPr>
              </a:br>
              <a:r>
                <a:rPr kumimoji="1" lang="ja-JP" altLang="en-US" sz="3600" spc="100" dirty="0">
                  <a:latin typeface="+mj-ea"/>
                  <a:ea typeface="+mj-ea"/>
                </a:rPr>
                <a:t>から許諾を取得後、</a:t>
              </a:r>
              <a:br>
                <a:rPr kumimoji="1" lang="en-US" altLang="ja-JP" sz="3600" spc="100" dirty="0">
                  <a:latin typeface="+mj-ea"/>
                  <a:ea typeface="+mj-ea"/>
                </a:rPr>
              </a:br>
              <a:r>
                <a:rPr kumimoji="1" lang="ja-JP" altLang="en-US" sz="3600" spc="100" dirty="0">
                  <a:latin typeface="+mj-ea"/>
                  <a:ea typeface="+mj-ea"/>
                </a:rPr>
                <a:t>利用する</a:t>
              </a:r>
            </a:p>
          </p:txBody>
        </p:sp>
        <p:pic>
          <p:nvPicPr>
            <p:cNvPr id="8" name="図 7">
              <a:extLst>
                <a:ext uri="{FF2B5EF4-FFF2-40B4-BE49-F238E27FC236}">
                  <a16:creationId xmlns:a16="http://schemas.microsoft.com/office/drawing/2014/main" id="{BCB765D8-9E3D-642F-F2F0-B68026CF8F3D}"/>
                </a:ext>
              </a:extLst>
            </p:cNvPr>
            <p:cNvPicPr>
              <a:picLocks noChangeAspect="1"/>
            </p:cNvPicPr>
            <p:nvPr/>
          </p:nvPicPr>
          <p:blipFill>
            <a:blip r:embed="rId4"/>
            <a:stretch>
              <a:fillRect/>
            </a:stretch>
          </p:blipFill>
          <p:spPr>
            <a:xfrm>
              <a:off x="6970588" y="2653011"/>
              <a:ext cx="4346825" cy="2456901"/>
            </a:xfrm>
            <a:prstGeom prst="rect">
              <a:avLst/>
            </a:prstGeom>
          </p:spPr>
        </p:pic>
      </p:grpSp>
      <p:grpSp>
        <p:nvGrpSpPr>
          <p:cNvPr id="225" name="グループ化 224">
            <a:extLst>
              <a:ext uri="{FF2B5EF4-FFF2-40B4-BE49-F238E27FC236}">
                <a16:creationId xmlns:a16="http://schemas.microsoft.com/office/drawing/2014/main" id="{5C4A4A7A-6C7C-ECCD-A877-A68AE645B0CA}"/>
              </a:ext>
            </a:extLst>
          </p:cNvPr>
          <p:cNvGrpSpPr/>
          <p:nvPr/>
        </p:nvGrpSpPr>
        <p:grpSpPr>
          <a:xfrm>
            <a:off x="12178602" y="1629371"/>
            <a:ext cx="5217657" cy="7661774"/>
            <a:chOff x="12178602" y="1629371"/>
            <a:chExt cx="5217657" cy="7661774"/>
          </a:xfrm>
        </p:grpSpPr>
        <p:sp>
          <p:nvSpPr>
            <p:cNvPr id="13" name="四角形: 角を丸くする 12">
              <a:extLst>
                <a:ext uri="{FF2B5EF4-FFF2-40B4-BE49-F238E27FC236}">
                  <a16:creationId xmlns:a16="http://schemas.microsoft.com/office/drawing/2014/main" id="{4D52F850-C0A0-834E-4FDE-FAA996A19B81}"/>
                </a:ext>
              </a:extLst>
            </p:cNvPr>
            <p:cNvSpPr/>
            <p:nvPr/>
          </p:nvSpPr>
          <p:spPr>
            <a:xfrm>
              <a:off x="12178602" y="1979524"/>
              <a:ext cx="5217657" cy="7311621"/>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6" name="四角形: 角を丸くする 15">
              <a:extLst>
                <a:ext uri="{FF2B5EF4-FFF2-40B4-BE49-F238E27FC236}">
                  <a16:creationId xmlns:a16="http://schemas.microsoft.com/office/drawing/2014/main" id="{60DB0F18-478A-2A01-9C54-8ED858D0E026}"/>
                </a:ext>
              </a:extLst>
            </p:cNvPr>
            <p:cNvSpPr/>
            <p:nvPr/>
          </p:nvSpPr>
          <p:spPr>
            <a:xfrm>
              <a:off x="13911536" y="1629371"/>
              <a:ext cx="1751797" cy="70030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3000" spc="100" dirty="0">
                  <a:solidFill>
                    <a:schemeClr val="bg1"/>
                  </a:solidFill>
                  <a:latin typeface="+mj-ea"/>
                  <a:ea typeface="+mj-ea"/>
                </a:rPr>
                <a:t>対応３</a:t>
              </a:r>
              <a:endParaRPr kumimoji="1" lang="ja-JP" altLang="en-US" sz="3000" spc="100" dirty="0">
                <a:solidFill>
                  <a:schemeClr val="bg1"/>
                </a:solidFill>
                <a:latin typeface="+mj-ea"/>
                <a:ea typeface="+mj-ea"/>
              </a:endParaRPr>
            </a:p>
          </p:txBody>
        </p:sp>
        <p:sp>
          <p:nvSpPr>
            <p:cNvPr id="21" name="テキスト ボックス 20">
              <a:extLst>
                <a:ext uri="{FF2B5EF4-FFF2-40B4-BE49-F238E27FC236}">
                  <a16:creationId xmlns:a16="http://schemas.microsoft.com/office/drawing/2014/main" id="{2207B162-BAD7-41E7-5BB6-6FC68459E23A}"/>
                </a:ext>
              </a:extLst>
            </p:cNvPr>
            <p:cNvSpPr txBox="1"/>
            <p:nvPr/>
          </p:nvSpPr>
          <p:spPr>
            <a:xfrm>
              <a:off x="12889474" y="6084719"/>
              <a:ext cx="3795911" cy="2620076"/>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3600" spc="100" dirty="0">
                  <a:latin typeface="+mj-ea"/>
                  <a:ea typeface="+mj-ea"/>
                </a:rPr>
                <a:t>既存データと</a:t>
              </a:r>
              <a:br>
                <a:rPr kumimoji="1" lang="en-US" altLang="ja-JP" sz="3600" spc="100" dirty="0">
                  <a:latin typeface="+mj-ea"/>
                  <a:ea typeface="+mj-ea"/>
                </a:rPr>
              </a:br>
              <a:r>
                <a:rPr kumimoji="1" lang="ja-JP" altLang="en-US" sz="3600" spc="100" dirty="0">
                  <a:latin typeface="+mj-ea"/>
                  <a:ea typeface="+mj-ea"/>
                </a:rPr>
                <a:t>類似しないよう、</a:t>
              </a:r>
              <a:br>
                <a:rPr kumimoji="1" lang="ja-JP" altLang="en-US" sz="3600" spc="100" dirty="0">
                  <a:latin typeface="+mj-ea"/>
                  <a:ea typeface="+mj-ea"/>
                </a:rPr>
              </a:br>
              <a:r>
                <a:rPr kumimoji="1" lang="ja-JP" altLang="en-US" sz="3600" spc="100" dirty="0">
                  <a:latin typeface="+mj-ea"/>
                  <a:ea typeface="+mj-ea"/>
                </a:rPr>
                <a:t>大幅に手を加えて</a:t>
              </a:r>
              <a:br>
                <a:rPr kumimoji="1" lang="en-US" altLang="ja-JP" sz="3600" spc="100" dirty="0">
                  <a:latin typeface="+mj-ea"/>
                  <a:ea typeface="+mj-ea"/>
                </a:rPr>
              </a:br>
              <a:r>
                <a:rPr kumimoji="1" lang="ja-JP" altLang="en-US" sz="3600" spc="100" dirty="0">
                  <a:latin typeface="+mj-ea"/>
                  <a:ea typeface="+mj-ea"/>
                </a:rPr>
                <a:t>利用する</a:t>
              </a:r>
            </a:p>
          </p:txBody>
        </p:sp>
        <p:pic>
          <p:nvPicPr>
            <p:cNvPr id="10" name="図 9">
              <a:extLst>
                <a:ext uri="{FF2B5EF4-FFF2-40B4-BE49-F238E27FC236}">
                  <a16:creationId xmlns:a16="http://schemas.microsoft.com/office/drawing/2014/main" id="{DD9ADC92-F71D-01A2-1CE6-7D734B556ED1}"/>
                </a:ext>
              </a:extLst>
            </p:cNvPr>
            <p:cNvPicPr>
              <a:picLocks noChangeAspect="1"/>
            </p:cNvPicPr>
            <p:nvPr/>
          </p:nvPicPr>
          <p:blipFill>
            <a:blip r:embed="rId5"/>
            <a:stretch>
              <a:fillRect/>
            </a:stretch>
          </p:blipFill>
          <p:spPr>
            <a:xfrm>
              <a:off x="12610970" y="3657822"/>
              <a:ext cx="4352921" cy="1481456"/>
            </a:xfrm>
            <a:prstGeom prst="rect">
              <a:avLst/>
            </a:prstGeom>
          </p:spPr>
        </p:pic>
      </p:grpSp>
    </p:spTree>
    <p:extLst>
      <p:ext uri="{BB962C8B-B14F-4D97-AF65-F5344CB8AC3E}">
        <p14:creationId xmlns:p14="http://schemas.microsoft.com/office/powerpoint/2010/main" val="3358381524"/>
      </p:ext>
    </p:extLst>
  </p:cSld>
  <p:clrMapOvr>
    <a:masterClrMapping/>
  </p:clrMapOvr>
</p:sld>
</file>

<file path=ppt/slides/slide5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5546E201-6DA7-77AD-0A96-68B6D432D372}"/>
              </a:ext>
            </a:extLst>
          </p:cNvPr>
          <p:cNvSpPr txBox="1"/>
          <p:nvPr/>
        </p:nvSpPr>
        <p:spPr>
          <a:xfrm>
            <a:off x="754084" y="2365580"/>
            <a:ext cx="5845132" cy="2747291"/>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画像生成</a:t>
            </a:r>
            <a:r>
              <a:rPr kumimoji="1" lang="en-US" altLang="ja-JP" sz="2800" spc="50" dirty="0">
                <a:latin typeface="+mn-ea"/>
              </a:rPr>
              <a:t>AI</a:t>
            </a:r>
            <a:r>
              <a:rPr kumimoji="1" lang="ja-JP" altLang="en-US" sz="2800" spc="50" dirty="0">
                <a:latin typeface="+mn-ea"/>
              </a:rPr>
              <a:t>で作ったキャラクターのイラストが有名なキャラクターデザインに似ていた。</a:t>
            </a:r>
            <a:endParaRPr kumimoji="1" lang="en-US" altLang="ja-JP" sz="2800" spc="50" dirty="0">
              <a:latin typeface="+mn-ea"/>
            </a:endParaRPr>
          </a:p>
          <a:p>
            <a:pPr algn="just">
              <a:lnSpc>
                <a:spcPct val="120000"/>
              </a:lnSpc>
              <a:spcAft>
                <a:spcPts val="1500"/>
              </a:spcAft>
            </a:pPr>
            <a:r>
              <a:rPr kumimoji="1" lang="ja-JP" altLang="en-US" sz="2800" spc="50" dirty="0">
                <a:latin typeface="+mn-ea"/>
              </a:rPr>
              <a:t>対応として適切なものはどれか。</a:t>
            </a:r>
            <a:br>
              <a:rPr kumimoji="1" lang="en-US" altLang="ja-JP" sz="2800" spc="50" dirty="0">
                <a:latin typeface="+mn-ea"/>
              </a:rPr>
            </a:br>
            <a:r>
              <a:rPr kumimoji="1" lang="ja-JP" altLang="en-US" sz="2800" spc="50" dirty="0">
                <a:solidFill>
                  <a:schemeClr val="accent3"/>
                </a:solidFill>
                <a:latin typeface="+mn-ea"/>
              </a:rPr>
              <a:t>全て</a:t>
            </a:r>
            <a:r>
              <a:rPr kumimoji="1" lang="ja-JP" altLang="en-US" sz="2800" spc="50" dirty="0">
                <a:latin typeface="+mn-ea"/>
              </a:rPr>
              <a:t>選んでください。</a:t>
            </a:r>
            <a:endParaRPr kumimoji="1" lang="en-US" altLang="ja-JP" sz="2800" spc="50" dirty="0">
              <a:latin typeface="+mn-ea"/>
            </a:endParaRPr>
          </a:p>
        </p:txBody>
      </p:sp>
      <p:grpSp>
        <p:nvGrpSpPr>
          <p:cNvPr id="4" name="グループ化 3">
            <a:extLst>
              <a:ext uri="{FF2B5EF4-FFF2-40B4-BE49-F238E27FC236}">
                <a16:creationId xmlns:a16="http://schemas.microsoft.com/office/drawing/2014/main" id="{CDC7C637-8F5C-A25E-E4FD-55D8AB9FD62B}"/>
              </a:ext>
            </a:extLst>
          </p:cNvPr>
          <p:cNvGrpSpPr/>
          <p:nvPr/>
        </p:nvGrpSpPr>
        <p:grpSpPr>
          <a:xfrm>
            <a:off x="7945117" y="724103"/>
            <a:ext cx="9012000" cy="8837206"/>
            <a:chOff x="7945117" y="728997"/>
            <a:chExt cx="9012000" cy="8837206"/>
          </a:xfrm>
        </p:grpSpPr>
        <p:grpSp>
          <p:nvGrpSpPr>
            <p:cNvPr id="5" name="グループ化 4">
              <a:extLst>
                <a:ext uri="{FF2B5EF4-FFF2-40B4-BE49-F238E27FC236}">
                  <a16:creationId xmlns:a16="http://schemas.microsoft.com/office/drawing/2014/main" id="{695D53F2-F030-FFC6-C64E-E6D407492A2E}"/>
                </a:ext>
              </a:extLst>
            </p:cNvPr>
            <p:cNvGrpSpPr/>
            <p:nvPr/>
          </p:nvGrpSpPr>
          <p:grpSpPr>
            <a:xfrm>
              <a:off x="7945117" y="728997"/>
              <a:ext cx="8281030" cy="1800000"/>
              <a:chOff x="7945117" y="1234999"/>
              <a:chExt cx="8281030" cy="1800000"/>
            </a:xfrm>
          </p:grpSpPr>
          <p:sp>
            <p:nvSpPr>
              <p:cNvPr id="15" name="テキスト ボックス 14">
                <a:extLst>
                  <a:ext uri="{FF2B5EF4-FFF2-40B4-BE49-F238E27FC236}">
                    <a16:creationId xmlns:a16="http://schemas.microsoft.com/office/drawing/2014/main" id="{F04ED48E-30A1-B48A-E63D-AC66890BDD1F}"/>
                  </a:ext>
                </a:extLst>
              </p:cNvPr>
              <p:cNvSpPr txBox="1"/>
              <p:nvPr userDrawn="1"/>
            </p:nvSpPr>
            <p:spPr>
              <a:xfrm>
                <a:off x="8916454" y="1907822"/>
                <a:ext cx="730969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全く同じものではないのでそのまま公開する</a:t>
                </a:r>
              </a:p>
            </p:txBody>
          </p:sp>
          <p:sp>
            <p:nvSpPr>
              <p:cNvPr id="16" name="テキスト ボックス 15">
                <a:extLst>
                  <a:ext uri="{FF2B5EF4-FFF2-40B4-BE49-F238E27FC236}">
                    <a16:creationId xmlns:a16="http://schemas.microsoft.com/office/drawing/2014/main" id="{6CA32DF4-509E-A2B1-D5D8-3EA0042794D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6" name="グループ化 5">
              <a:extLst>
                <a:ext uri="{FF2B5EF4-FFF2-40B4-BE49-F238E27FC236}">
                  <a16:creationId xmlns:a16="http://schemas.microsoft.com/office/drawing/2014/main" id="{ABBDA503-1D9E-9CA4-E7AB-B6832DCC302A}"/>
                </a:ext>
              </a:extLst>
            </p:cNvPr>
            <p:cNvGrpSpPr/>
            <p:nvPr/>
          </p:nvGrpSpPr>
          <p:grpSpPr>
            <a:xfrm>
              <a:off x="7945117" y="3074733"/>
              <a:ext cx="8646515" cy="1800000"/>
              <a:chOff x="7945117" y="3367623"/>
              <a:chExt cx="8646515" cy="1800000"/>
            </a:xfrm>
          </p:grpSpPr>
          <p:sp>
            <p:nvSpPr>
              <p:cNvPr id="13" name="テキスト ボックス 12">
                <a:extLst>
                  <a:ext uri="{FF2B5EF4-FFF2-40B4-BE49-F238E27FC236}">
                    <a16:creationId xmlns:a16="http://schemas.microsoft.com/office/drawing/2014/main" id="{B1909293-D79C-2B0C-65BD-EC090C645C6A}"/>
                  </a:ext>
                </a:extLst>
              </p:cNvPr>
              <p:cNvSpPr txBox="1"/>
              <p:nvPr/>
            </p:nvSpPr>
            <p:spPr>
              <a:xfrm>
                <a:off x="8916454" y="4040446"/>
                <a:ext cx="7675178"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トラブルを避けるため、イラストを利用しない</a:t>
                </a:r>
              </a:p>
            </p:txBody>
          </p:sp>
          <p:sp>
            <p:nvSpPr>
              <p:cNvPr id="14" name="テキスト ボックス 13">
                <a:extLst>
                  <a:ext uri="{FF2B5EF4-FFF2-40B4-BE49-F238E27FC236}">
                    <a16:creationId xmlns:a16="http://schemas.microsoft.com/office/drawing/2014/main" id="{48D159D2-A85B-5B74-2AB7-00148742645E}"/>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7" name="グループ化 6">
              <a:extLst>
                <a:ext uri="{FF2B5EF4-FFF2-40B4-BE49-F238E27FC236}">
                  <a16:creationId xmlns:a16="http://schemas.microsoft.com/office/drawing/2014/main" id="{B4CAB889-573E-02BA-E340-5931C75CD5B1}"/>
                </a:ext>
              </a:extLst>
            </p:cNvPr>
            <p:cNvGrpSpPr/>
            <p:nvPr/>
          </p:nvGrpSpPr>
          <p:grpSpPr>
            <a:xfrm>
              <a:off x="7945117" y="5420469"/>
              <a:ext cx="9012000" cy="1800000"/>
              <a:chOff x="7945117" y="5500579"/>
              <a:chExt cx="9012000" cy="1800000"/>
            </a:xfrm>
          </p:grpSpPr>
          <p:sp>
            <p:nvSpPr>
              <p:cNvPr id="11" name="テキスト ボックス 10">
                <a:extLst>
                  <a:ext uri="{FF2B5EF4-FFF2-40B4-BE49-F238E27FC236}">
                    <a16:creationId xmlns:a16="http://schemas.microsoft.com/office/drawing/2014/main" id="{AEB6406D-0CB2-7787-EEEF-EBAD74FBEE44}"/>
                  </a:ext>
                </a:extLst>
              </p:cNvPr>
              <p:cNvSpPr txBox="1"/>
              <p:nvPr/>
            </p:nvSpPr>
            <p:spPr>
              <a:xfrm>
                <a:off x="8916454" y="6173402"/>
                <a:ext cx="804066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既存データの権利者から許諾を得た上で利用する</a:t>
                </a:r>
              </a:p>
            </p:txBody>
          </p:sp>
          <p:sp>
            <p:nvSpPr>
              <p:cNvPr id="12" name="テキスト ボックス 11">
                <a:extLst>
                  <a:ext uri="{FF2B5EF4-FFF2-40B4-BE49-F238E27FC236}">
                    <a16:creationId xmlns:a16="http://schemas.microsoft.com/office/drawing/2014/main" id="{FD97A256-F8DA-E2A2-AFE2-646C83740A71}"/>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8" name="グループ化 7">
              <a:extLst>
                <a:ext uri="{FF2B5EF4-FFF2-40B4-BE49-F238E27FC236}">
                  <a16:creationId xmlns:a16="http://schemas.microsoft.com/office/drawing/2014/main" id="{C71BB9E7-036C-93C9-F3E9-7B1AFF608B98}"/>
                </a:ext>
              </a:extLst>
            </p:cNvPr>
            <p:cNvGrpSpPr/>
            <p:nvPr/>
          </p:nvGrpSpPr>
          <p:grpSpPr>
            <a:xfrm>
              <a:off x="7945117" y="7766203"/>
              <a:ext cx="9012000" cy="1800000"/>
              <a:chOff x="7945117" y="7633369"/>
              <a:chExt cx="9012000" cy="1800000"/>
            </a:xfrm>
          </p:grpSpPr>
          <p:sp>
            <p:nvSpPr>
              <p:cNvPr id="9" name="テキスト ボックス 8">
                <a:extLst>
                  <a:ext uri="{FF2B5EF4-FFF2-40B4-BE49-F238E27FC236}">
                    <a16:creationId xmlns:a16="http://schemas.microsoft.com/office/drawing/2014/main" id="{EDD07A0E-F779-453D-FBBF-4AE613D60B79}"/>
                  </a:ext>
                </a:extLst>
              </p:cNvPr>
              <p:cNvSpPr txBox="1"/>
              <p:nvPr/>
            </p:nvSpPr>
            <p:spPr>
              <a:xfrm>
                <a:off x="8916454" y="8069204"/>
                <a:ext cx="8040663"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既存データとは全く異なるデザインとなるよう、</a:t>
                </a:r>
                <a:br>
                  <a:rPr kumimoji="1" lang="en-US" altLang="ja-JP" sz="2800" spc="50" dirty="0">
                    <a:latin typeface="+mn-ea"/>
                    <a:ea typeface="+mn-ea"/>
                  </a:rPr>
                </a:br>
                <a:r>
                  <a:rPr kumimoji="1" lang="ja-JP" altLang="en-US" sz="2800" spc="50" dirty="0">
                    <a:latin typeface="+mn-ea"/>
                    <a:ea typeface="+mn-ea"/>
                  </a:rPr>
                  <a:t>大幅に手を加えた</a:t>
                </a:r>
              </a:p>
            </p:txBody>
          </p:sp>
          <p:sp>
            <p:nvSpPr>
              <p:cNvPr id="10" name="テキスト ボックス 9">
                <a:extLst>
                  <a:ext uri="{FF2B5EF4-FFF2-40B4-BE49-F238E27FC236}">
                    <a16:creationId xmlns:a16="http://schemas.microsoft.com/office/drawing/2014/main" id="{14E8FD27-16B5-3CD3-D788-C7258FFA238C}"/>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EAEE177C-D11E-787F-112B-43F28F43B213}"/>
              </a:ext>
            </a:extLst>
          </p:cNvPr>
          <p:cNvSpPr>
            <a:spLocks noGrp="1"/>
          </p:cNvSpPr>
          <p:nvPr>
            <p:ph type="sldNum" sz="quarter" idx="11"/>
          </p:nvPr>
        </p:nvSpPr>
        <p:spPr>
          <a:xfrm>
            <a:off x="17695001" y="9786651"/>
            <a:ext cx="327013" cy="307777"/>
          </a:xfrm>
        </p:spPr>
        <p:txBody>
          <a:bodyPr/>
          <a:lstStyle/>
          <a:p>
            <a:r>
              <a:rPr lang="en-US" altLang="ja-JP"/>
              <a:t>58</a:t>
            </a:r>
            <a:endParaRPr lang="ja-JP" altLang="en-US" dirty="0"/>
          </a:p>
        </p:txBody>
      </p:sp>
    </p:spTree>
    <p:extLst>
      <p:ext uri="{BB962C8B-B14F-4D97-AF65-F5344CB8AC3E}">
        <p14:creationId xmlns:p14="http://schemas.microsoft.com/office/powerpoint/2010/main" val="3790588614"/>
      </p:ext>
    </p:extLst>
  </p:cSld>
  <p:clrMapOvr>
    <a:masterClrMapping/>
  </p:clrMapOvr>
</p:sld>
</file>

<file path=ppt/slides/slide5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51C8069D-5E37-3200-8DD1-2489B9B200FF}"/>
              </a:ext>
            </a:extLst>
          </p:cNvPr>
          <p:cNvGrpSpPr/>
          <p:nvPr/>
        </p:nvGrpSpPr>
        <p:grpSpPr>
          <a:xfrm>
            <a:off x="7945117" y="724103"/>
            <a:ext cx="9012000" cy="8837206"/>
            <a:chOff x="7945117" y="728997"/>
            <a:chExt cx="9012000" cy="8837206"/>
          </a:xfrm>
        </p:grpSpPr>
        <p:grpSp>
          <p:nvGrpSpPr>
            <p:cNvPr id="4" name="グループ化 3">
              <a:extLst>
                <a:ext uri="{FF2B5EF4-FFF2-40B4-BE49-F238E27FC236}">
                  <a16:creationId xmlns:a16="http://schemas.microsoft.com/office/drawing/2014/main" id="{4C65D732-1E93-C6D4-E4B9-C74F00C31C8A}"/>
                </a:ext>
              </a:extLst>
            </p:cNvPr>
            <p:cNvGrpSpPr/>
            <p:nvPr/>
          </p:nvGrpSpPr>
          <p:grpSpPr>
            <a:xfrm>
              <a:off x="7945117" y="728997"/>
              <a:ext cx="6088122" cy="1800000"/>
              <a:chOff x="7945117" y="1234999"/>
              <a:chExt cx="6088122" cy="1800000"/>
            </a:xfrm>
          </p:grpSpPr>
          <p:sp>
            <p:nvSpPr>
              <p:cNvPr id="14" name="テキスト ボックス 13">
                <a:extLst>
                  <a:ext uri="{FF2B5EF4-FFF2-40B4-BE49-F238E27FC236}">
                    <a16:creationId xmlns:a16="http://schemas.microsoft.com/office/drawing/2014/main" id="{4B5F1E74-9A58-5134-C805-4B89C01D51E9}"/>
                  </a:ext>
                </a:extLst>
              </p:cNvPr>
              <p:cNvSpPr txBox="1"/>
              <p:nvPr userDrawn="1"/>
            </p:nvSpPr>
            <p:spPr>
              <a:xfrm>
                <a:off x="8916454" y="1670834"/>
                <a:ext cx="5116785" cy="928331"/>
              </a:xfrm>
              <a:prstGeom prst="rect">
                <a:avLst/>
              </a:prstGeom>
              <a:noFill/>
            </p:spPr>
            <p:txBody>
              <a:bodyPr wrap="none" lIns="0" tIns="0" rIns="0" bIns="0" rtlCol="0" anchor="ctr">
                <a:spAutoFit/>
              </a:bodyPr>
              <a:lstStyle/>
              <a:p>
                <a:pPr algn="l">
                  <a:lnSpc>
                    <a:spcPct val="110000"/>
                  </a:lnSpc>
                </a:pPr>
                <a:r>
                  <a:rPr kumimoji="1" lang="en-US" altLang="ja-JP" sz="2800" spc="50" dirty="0">
                    <a:solidFill>
                      <a:schemeClr val="accent3"/>
                    </a:solidFill>
                    <a:latin typeface="+mn-ea"/>
                    <a:ea typeface="+mn-ea"/>
                  </a:rPr>
                  <a:t>【</a:t>
                </a:r>
                <a:r>
                  <a:rPr kumimoji="1" lang="ja-JP" altLang="en-US" sz="2800" spc="50" dirty="0">
                    <a:solidFill>
                      <a:schemeClr val="accent3"/>
                    </a:solidFill>
                    <a:latin typeface="+mn-ea"/>
                    <a:ea typeface="+mn-ea"/>
                  </a:rPr>
                  <a:t>解説</a:t>
                </a:r>
                <a:r>
                  <a:rPr kumimoji="1" lang="en-US" altLang="ja-JP" sz="2800" spc="50" dirty="0">
                    <a:solidFill>
                      <a:schemeClr val="accent3"/>
                    </a:solidFill>
                    <a:latin typeface="+mn-ea"/>
                    <a:ea typeface="+mn-ea"/>
                  </a:rPr>
                  <a:t>】</a:t>
                </a:r>
                <a:br>
                  <a:rPr kumimoji="1" lang="en-US" altLang="ja-JP" sz="2800" spc="50" dirty="0">
                    <a:solidFill>
                      <a:schemeClr val="accent3"/>
                    </a:solidFill>
                    <a:latin typeface="+mn-ea"/>
                    <a:ea typeface="+mn-ea"/>
                  </a:rPr>
                </a:br>
                <a:r>
                  <a:rPr kumimoji="1" lang="ja-JP" altLang="en-US" sz="2800" spc="50" dirty="0">
                    <a:solidFill>
                      <a:schemeClr val="accent3"/>
                    </a:solidFill>
                    <a:latin typeface="+mn-ea"/>
                    <a:ea typeface="+mn-ea"/>
                  </a:rPr>
                  <a:t>著作権侵害となる可能性がある</a:t>
                </a:r>
              </a:p>
            </p:txBody>
          </p:sp>
          <p:sp>
            <p:nvSpPr>
              <p:cNvPr id="15" name="テキスト ボックス 14">
                <a:extLst>
                  <a:ext uri="{FF2B5EF4-FFF2-40B4-BE49-F238E27FC236}">
                    <a16:creationId xmlns:a16="http://schemas.microsoft.com/office/drawing/2014/main" id="{6023C3EB-303A-94C6-2A64-ED6D1E1FE0FB}"/>
                  </a:ext>
                </a:extLst>
              </p:cNvPr>
              <p:cNvSpPr txBox="1">
                <a:spLocks/>
              </p:cNvSpPr>
              <p:nvPr userDrawn="1"/>
            </p:nvSpPr>
            <p:spPr>
              <a:xfrm>
                <a:off x="7945117" y="123499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5" name="グループ化 4">
              <a:extLst>
                <a:ext uri="{FF2B5EF4-FFF2-40B4-BE49-F238E27FC236}">
                  <a16:creationId xmlns:a16="http://schemas.microsoft.com/office/drawing/2014/main" id="{E1EE3137-8EDA-5417-64E5-338ED01CD651}"/>
                </a:ext>
              </a:extLst>
            </p:cNvPr>
            <p:cNvGrpSpPr/>
            <p:nvPr/>
          </p:nvGrpSpPr>
          <p:grpSpPr>
            <a:xfrm>
              <a:off x="7945117" y="3074733"/>
              <a:ext cx="8646515" cy="1800000"/>
              <a:chOff x="7945117" y="3367623"/>
              <a:chExt cx="8646515" cy="1800000"/>
            </a:xfrm>
          </p:grpSpPr>
          <p:sp>
            <p:nvSpPr>
              <p:cNvPr id="12" name="テキスト ボックス 11">
                <a:extLst>
                  <a:ext uri="{FF2B5EF4-FFF2-40B4-BE49-F238E27FC236}">
                    <a16:creationId xmlns:a16="http://schemas.microsoft.com/office/drawing/2014/main" id="{F1D564B4-6DD0-F8B6-0896-B4761BCF437D}"/>
                  </a:ext>
                </a:extLst>
              </p:cNvPr>
              <p:cNvSpPr txBox="1"/>
              <p:nvPr/>
            </p:nvSpPr>
            <p:spPr>
              <a:xfrm>
                <a:off x="8916454" y="4040446"/>
                <a:ext cx="7675178"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トラブルを避けるため、イラストを利用しない</a:t>
                </a:r>
              </a:p>
            </p:txBody>
          </p:sp>
          <p:sp>
            <p:nvSpPr>
              <p:cNvPr id="13" name="テキスト ボックス 12">
                <a:extLst>
                  <a:ext uri="{FF2B5EF4-FFF2-40B4-BE49-F238E27FC236}">
                    <a16:creationId xmlns:a16="http://schemas.microsoft.com/office/drawing/2014/main" id="{5659CA8D-91F2-8D10-A337-AE98B2D3B16C}"/>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6" name="グループ化 5">
              <a:extLst>
                <a:ext uri="{FF2B5EF4-FFF2-40B4-BE49-F238E27FC236}">
                  <a16:creationId xmlns:a16="http://schemas.microsoft.com/office/drawing/2014/main" id="{078AB099-3184-6538-60EE-92DA1124D1A0}"/>
                </a:ext>
              </a:extLst>
            </p:cNvPr>
            <p:cNvGrpSpPr/>
            <p:nvPr/>
          </p:nvGrpSpPr>
          <p:grpSpPr>
            <a:xfrm>
              <a:off x="7945117" y="5420469"/>
              <a:ext cx="9012000" cy="1800000"/>
              <a:chOff x="7945117" y="5500579"/>
              <a:chExt cx="9012000" cy="1800000"/>
            </a:xfrm>
          </p:grpSpPr>
          <p:sp>
            <p:nvSpPr>
              <p:cNvPr id="10" name="テキスト ボックス 9">
                <a:extLst>
                  <a:ext uri="{FF2B5EF4-FFF2-40B4-BE49-F238E27FC236}">
                    <a16:creationId xmlns:a16="http://schemas.microsoft.com/office/drawing/2014/main" id="{866C0E71-C801-684B-408B-20CDDB10E1C2}"/>
                  </a:ext>
                </a:extLst>
              </p:cNvPr>
              <p:cNvSpPr txBox="1"/>
              <p:nvPr/>
            </p:nvSpPr>
            <p:spPr>
              <a:xfrm>
                <a:off x="8916454" y="6173402"/>
                <a:ext cx="804066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既存データの権利者から許諾を得た上で利用する</a:t>
                </a:r>
              </a:p>
            </p:txBody>
          </p:sp>
          <p:sp>
            <p:nvSpPr>
              <p:cNvPr id="11" name="テキスト ボックス 10">
                <a:extLst>
                  <a:ext uri="{FF2B5EF4-FFF2-40B4-BE49-F238E27FC236}">
                    <a16:creationId xmlns:a16="http://schemas.microsoft.com/office/drawing/2014/main" id="{54A31DCD-5EB0-3852-5DB9-F2E8CA2450E0}"/>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7" name="グループ化 6">
              <a:extLst>
                <a:ext uri="{FF2B5EF4-FFF2-40B4-BE49-F238E27FC236}">
                  <a16:creationId xmlns:a16="http://schemas.microsoft.com/office/drawing/2014/main" id="{0F97AA4F-A259-1AE6-BD4D-2B4CE2BC166C}"/>
                </a:ext>
              </a:extLst>
            </p:cNvPr>
            <p:cNvGrpSpPr/>
            <p:nvPr/>
          </p:nvGrpSpPr>
          <p:grpSpPr>
            <a:xfrm>
              <a:off x="7945117" y="7766203"/>
              <a:ext cx="9012000" cy="1800000"/>
              <a:chOff x="7945117" y="7633369"/>
              <a:chExt cx="9012000" cy="1800000"/>
            </a:xfrm>
          </p:grpSpPr>
          <p:sp>
            <p:nvSpPr>
              <p:cNvPr id="8" name="テキスト ボックス 7">
                <a:extLst>
                  <a:ext uri="{FF2B5EF4-FFF2-40B4-BE49-F238E27FC236}">
                    <a16:creationId xmlns:a16="http://schemas.microsoft.com/office/drawing/2014/main" id="{379DBB38-4CDB-980C-D2C5-35FB1BCBB52D}"/>
                  </a:ext>
                </a:extLst>
              </p:cNvPr>
              <p:cNvSpPr txBox="1"/>
              <p:nvPr/>
            </p:nvSpPr>
            <p:spPr>
              <a:xfrm>
                <a:off x="8916454" y="8069204"/>
                <a:ext cx="8040663"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既存データとは全く異なるデザインとなるよう、</a:t>
                </a:r>
                <a:br>
                  <a:rPr kumimoji="1" lang="en-US" altLang="ja-JP" sz="2800" spc="50" dirty="0">
                    <a:latin typeface="+mn-ea"/>
                    <a:ea typeface="+mn-ea"/>
                  </a:rPr>
                </a:br>
                <a:r>
                  <a:rPr kumimoji="1" lang="ja-JP" altLang="en-US" sz="2800" spc="50" dirty="0">
                    <a:latin typeface="+mn-ea"/>
                    <a:ea typeface="+mn-ea"/>
                  </a:rPr>
                  <a:t>大幅に手を加えた</a:t>
                </a:r>
              </a:p>
            </p:txBody>
          </p:sp>
          <p:sp>
            <p:nvSpPr>
              <p:cNvPr id="9" name="テキスト ボックス 8">
                <a:extLst>
                  <a:ext uri="{FF2B5EF4-FFF2-40B4-BE49-F238E27FC236}">
                    <a16:creationId xmlns:a16="http://schemas.microsoft.com/office/drawing/2014/main" id="{373AF911-82E5-31D1-6CEA-DE792A15229D}"/>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16" name="グループ化 15">
            <a:extLst>
              <a:ext uri="{FF2B5EF4-FFF2-40B4-BE49-F238E27FC236}">
                <a16:creationId xmlns:a16="http://schemas.microsoft.com/office/drawing/2014/main" id="{39525CC3-2761-39AF-1811-D2AA022C0894}"/>
              </a:ext>
            </a:extLst>
          </p:cNvPr>
          <p:cNvGrpSpPr/>
          <p:nvPr/>
        </p:nvGrpSpPr>
        <p:grpSpPr>
          <a:xfrm>
            <a:off x="1593860" y="2604635"/>
            <a:ext cx="4153758" cy="1170649"/>
            <a:chOff x="2073291" y="2604635"/>
            <a:chExt cx="4153758" cy="1170649"/>
          </a:xfrm>
        </p:grpSpPr>
        <p:sp>
          <p:nvSpPr>
            <p:cNvPr id="17" name="四角形: 角を丸くする 16">
              <a:extLst>
                <a:ext uri="{FF2B5EF4-FFF2-40B4-BE49-F238E27FC236}">
                  <a16:creationId xmlns:a16="http://schemas.microsoft.com/office/drawing/2014/main" id="{BC0A40C5-E397-D60C-E532-136F2400945E}"/>
                </a:ext>
              </a:extLst>
            </p:cNvPr>
            <p:cNvSpPr/>
            <p:nvPr/>
          </p:nvSpPr>
          <p:spPr>
            <a:xfrm>
              <a:off x="2073291" y="2604635"/>
              <a:ext cx="1170649" cy="1170649"/>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8" name="テキスト ボックス 17">
              <a:extLst>
                <a:ext uri="{FF2B5EF4-FFF2-40B4-BE49-F238E27FC236}">
                  <a16:creationId xmlns:a16="http://schemas.microsoft.com/office/drawing/2014/main" id="{654607F1-B6B9-EBB1-4E49-314B7B997BBB}"/>
                </a:ext>
              </a:extLst>
            </p:cNvPr>
            <p:cNvSpPr txBox="1">
              <a:spLocks/>
            </p:cNvSpPr>
            <p:nvPr/>
          </p:nvSpPr>
          <p:spPr>
            <a:xfrm>
              <a:off x="3607070"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イ</a:t>
              </a:r>
            </a:p>
          </p:txBody>
        </p:sp>
        <p:sp>
          <p:nvSpPr>
            <p:cNvPr id="19" name="テキスト ボックス 18">
              <a:extLst>
                <a:ext uri="{FF2B5EF4-FFF2-40B4-BE49-F238E27FC236}">
                  <a16:creationId xmlns:a16="http://schemas.microsoft.com/office/drawing/2014/main" id="{A3977B36-D473-9B64-8181-678D31F4F774}"/>
                </a:ext>
              </a:extLst>
            </p:cNvPr>
            <p:cNvSpPr txBox="1">
              <a:spLocks/>
            </p:cNvSpPr>
            <p:nvPr/>
          </p:nvSpPr>
          <p:spPr>
            <a:xfrm>
              <a:off x="4554112"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ウ</a:t>
              </a:r>
              <a:endParaRPr kumimoji="1" lang="ja-JP" altLang="en-US" sz="2800" b="1" spc="300" dirty="0">
                <a:solidFill>
                  <a:schemeClr val="bg1"/>
                </a:solidFill>
                <a:latin typeface="+mn-ea"/>
              </a:endParaRPr>
            </a:p>
          </p:txBody>
        </p:sp>
        <p:sp>
          <p:nvSpPr>
            <p:cNvPr id="20" name="テキスト ボックス 19">
              <a:extLst>
                <a:ext uri="{FF2B5EF4-FFF2-40B4-BE49-F238E27FC236}">
                  <a16:creationId xmlns:a16="http://schemas.microsoft.com/office/drawing/2014/main" id="{A5E97BC8-5E9B-19FF-D9A0-204C68757280}"/>
                </a:ext>
              </a:extLst>
            </p:cNvPr>
            <p:cNvSpPr txBox="1">
              <a:spLocks/>
            </p:cNvSpPr>
            <p:nvPr/>
          </p:nvSpPr>
          <p:spPr>
            <a:xfrm>
              <a:off x="5501154"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sp>
        <p:nvSpPr>
          <p:cNvPr id="22" name="楕円 21">
            <a:extLst>
              <a:ext uri="{FF2B5EF4-FFF2-40B4-BE49-F238E27FC236}">
                <a16:creationId xmlns:a16="http://schemas.microsoft.com/office/drawing/2014/main" id="{5501F350-64D2-461A-BC9B-9E69790A0205}"/>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楕円 22">
            <a:extLst>
              <a:ext uri="{FF2B5EF4-FFF2-40B4-BE49-F238E27FC236}">
                <a16:creationId xmlns:a16="http://schemas.microsoft.com/office/drawing/2014/main" id="{A2DAB5BE-D947-33B8-A6DD-298E1EB63B2C}"/>
              </a:ext>
            </a:extLst>
          </p:cNvPr>
          <p:cNvSpPr/>
          <p:nvPr/>
        </p:nvSpPr>
        <p:spPr>
          <a:xfrm>
            <a:off x="11855837" y="7823872"/>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4" name="楕円 23">
            <a:extLst>
              <a:ext uri="{FF2B5EF4-FFF2-40B4-BE49-F238E27FC236}">
                <a16:creationId xmlns:a16="http://schemas.microsoft.com/office/drawing/2014/main" id="{6F46FA92-9E15-2F03-C9E3-B8DFEB847018}"/>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7" name="テキスト ボックス 26">
            <a:extLst>
              <a:ext uri="{FF2B5EF4-FFF2-40B4-BE49-F238E27FC236}">
                <a16:creationId xmlns:a16="http://schemas.microsoft.com/office/drawing/2014/main" id="{38E171DD-13F5-78FB-CFF5-710B31E8D1AA}"/>
              </a:ext>
            </a:extLst>
          </p:cNvPr>
          <p:cNvSpPr txBox="1"/>
          <p:nvPr/>
        </p:nvSpPr>
        <p:spPr>
          <a:xfrm>
            <a:off x="754084" y="4659559"/>
            <a:ext cx="5845132" cy="1003736"/>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知的財産の侵害リスクの予防方法として正しい説明。</a:t>
            </a:r>
          </a:p>
        </p:txBody>
      </p:sp>
      <p:sp>
        <p:nvSpPr>
          <p:cNvPr id="2" name="スライド番号プレースホルダー 1">
            <a:extLst>
              <a:ext uri="{FF2B5EF4-FFF2-40B4-BE49-F238E27FC236}">
                <a16:creationId xmlns:a16="http://schemas.microsoft.com/office/drawing/2014/main" id="{68767FFB-BB49-EC5D-240A-C3091DB3DF48}"/>
              </a:ext>
            </a:extLst>
          </p:cNvPr>
          <p:cNvSpPr>
            <a:spLocks noGrp="1"/>
          </p:cNvSpPr>
          <p:nvPr>
            <p:ph type="sldNum" sz="quarter" idx="11"/>
          </p:nvPr>
        </p:nvSpPr>
        <p:spPr>
          <a:xfrm>
            <a:off x="17695001" y="9786651"/>
            <a:ext cx="327013" cy="307777"/>
          </a:xfrm>
        </p:spPr>
        <p:txBody>
          <a:bodyPr/>
          <a:lstStyle/>
          <a:p>
            <a:r>
              <a:rPr lang="en-US" altLang="ja-JP"/>
              <a:t>59</a:t>
            </a:r>
            <a:endParaRPr lang="ja-JP" altLang="en-US" dirty="0"/>
          </a:p>
        </p:txBody>
      </p:sp>
    </p:spTree>
    <p:extLst>
      <p:ext uri="{BB962C8B-B14F-4D97-AF65-F5344CB8AC3E}">
        <p14:creationId xmlns:p14="http://schemas.microsoft.com/office/powerpoint/2010/main" val="208202740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 name="楕円 91">
            <a:extLst>
              <a:ext uri="{FF2B5EF4-FFF2-40B4-BE49-F238E27FC236}">
                <a16:creationId xmlns:a16="http://schemas.microsoft.com/office/drawing/2014/main" id="{516C141D-1908-BE31-DBAC-88371322818F}"/>
              </a:ext>
            </a:extLst>
          </p:cNvPr>
          <p:cNvSpPr/>
          <p:nvPr/>
        </p:nvSpPr>
        <p:spPr>
          <a:xfrm>
            <a:off x="6020273" y="2870497"/>
            <a:ext cx="6247454" cy="6247454"/>
          </a:xfrm>
          <a:prstGeom prst="ellipse">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5">
            <a:extLst>
              <a:ext uri="{FF2B5EF4-FFF2-40B4-BE49-F238E27FC236}">
                <a16:creationId xmlns:a16="http://schemas.microsoft.com/office/drawing/2014/main" id="{C532B89F-84AA-DA4F-AEF3-2AFA87CFF7A6}"/>
              </a:ext>
            </a:extLst>
          </p:cNvPr>
          <p:cNvSpPr>
            <a:spLocks noGrp="1"/>
          </p:cNvSpPr>
          <p:nvPr>
            <p:ph type="title"/>
          </p:nvPr>
        </p:nvSpPr>
        <p:spPr>
          <a:xfrm>
            <a:off x="891741" y="506301"/>
            <a:ext cx="3002425" cy="492443"/>
          </a:xfrm>
        </p:spPr>
        <p:txBody>
          <a:bodyPr/>
          <a:lstStyle/>
          <a:p>
            <a:r>
              <a:rPr lang="ja-JP" altLang="en-US" dirty="0"/>
              <a:t>生成</a:t>
            </a:r>
            <a:r>
              <a:rPr lang="en-US" altLang="ja-JP" dirty="0"/>
              <a:t>AI</a:t>
            </a:r>
            <a:r>
              <a:rPr lang="ja-JP" altLang="en-US" dirty="0"/>
              <a:t>の仕組み</a:t>
            </a:r>
          </a:p>
        </p:txBody>
      </p:sp>
      <p:sp>
        <p:nvSpPr>
          <p:cNvPr id="5" name="テキスト ボックス 4">
            <a:extLst>
              <a:ext uri="{FF2B5EF4-FFF2-40B4-BE49-F238E27FC236}">
                <a16:creationId xmlns:a16="http://schemas.microsoft.com/office/drawing/2014/main" id="{095D4B4C-C2C7-ACFF-D1EA-76736C65925C}"/>
              </a:ext>
            </a:extLst>
          </p:cNvPr>
          <p:cNvSpPr txBox="1"/>
          <p:nvPr/>
        </p:nvSpPr>
        <p:spPr>
          <a:xfrm>
            <a:off x="2812939" y="1577667"/>
            <a:ext cx="12662121" cy="625684"/>
          </a:xfrm>
          <a:prstGeom prst="rect">
            <a:avLst/>
          </a:prstGeom>
          <a:noFill/>
        </p:spPr>
        <p:txBody>
          <a:bodyPr wrap="none" lIns="0" tIns="0" rIns="0" bIns="0" rtlCol="0" anchor="t">
            <a:spAutoFit/>
          </a:bodyPr>
          <a:lstStyle/>
          <a:p>
            <a:pPr algn="ctr">
              <a:lnSpc>
                <a:spcPct val="120000"/>
              </a:lnSpc>
              <a:spcAft>
                <a:spcPts val="1500"/>
              </a:spcAft>
            </a:pPr>
            <a:r>
              <a:rPr kumimoji="1" lang="ja-JP" altLang="en-US" sz="3600" spc="50" dirty="0">
                <a:latin typeface="+mn-ea"/>
              </a:rPr>
              <a:t>生成</a:t>
            </a:r>
            <a:r>
              <a:rPr kumimoji="1" lang="en-US" altLang="ja-JP" sz="3600" spc="50" dirty="0">
                <a:latin typeface="+mn-ea"/>
              </a:rPr>
              <a:t>AI</a:t>
            </a:r>
            <a:r>
              <a:rPr kumimoji="1" lang="ja-JP" altLang="en-US" sz="3600" spc="50" dirty="0">
                <a:latin typeface="+mn-ea"/>
              </a:rPr>
              <a:t>に指示を入力すると、文脈に沿った回答が出力される</a:t>
            </a:r>
          </a:p>
        </p:txBody>
      </p:sp>
      <p:grpSp>
        <p:nvGrpSpPr>
          <p:cNvPr id="84" name="グループ化 83">
            <a:extLst>
              <a:ext uri="{FF2B5EF4-FFF2-40B4-BE49-F238E27FC236}">
                <a16:creationId xmlns:a16="http://schemas.microsoft.com/office/drawing/2014/main" id="{B0997E02-793C-933A-CEFC-A2B2C1BAD010}"/>
              </a:ext>
            </a:extLst>
          </p:cNvPr>
          <p:cNvGrpSpPr/>
          <p:nvPr/>
        </p:nvGrpSpPr>
        <p:grpSpPr>
          <a:xfrm>
            <a:off x="12604379" y="4512562"/>
            <a:ext cx="4622705" cy="3611356"/>
            <a:chOff x="12270887" y="3965996"/>
            <a:chExt cx="4622705" cy="3611356"/>
          </a:xfrm>
        </p:grpSpPr>
        <p:sp>
          <p:nvSpPr>
            <p:cNvPr id="13" name="フリーフォーム: 図形 12">
              <a:extLst>
                <a:ext uri="{FF2B5EF4-FFF2-40B4-BE49-F238E27FC236}">
                  <a16:creationId xmlns:a16="http://schemas.microsoft.com/office/drawing/2014/main" id="{48B5AD0C-A4AC-27D8-B3F9-E8C374DD46A5}"/>
                </a:ext>
              </a:extLst>
            </p:cNvPr>
            <p:cNvSpPr/>
            <p:nvPr/>
          </p:nvSpPr>
          <p:spPr>
            <a:xfrm rot="8638859" flipH="1">
              <a:off x="12270887" y="410392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accent5">
                <a:lumMod val="40000"/>
                <a:lumOff val="60000"/>
              </a:schemeClr>
            </a:solidFill>
            <a:ln w="20168" cap="flat">
              <a:noFill/>
              <a:prstDash val="solid"/>
              <a:miter/>
            </a:ln>
          </p:spPr>
          <p:txBody>
            <a:bodyPr wrap="square" lIns="0" tIns="0" rIns="0" bIns="72000" rtlCol="0" anchor="ctr">
              <a:noAutofit/>
            </a:bodyPr>
            <a:lstStyle/>
            <a:p>
              <a:pPr algn="ctr">
                <a:lnSpc>
                  <a:spcPct val="130000"/>
                </a:lnSpc>
              </a:pPr>
              <a:endParaRPr lang="ja-JP" altLang="en-US" sz="2800" b="1" dirty="0">
                <a:latin typeface="+mj-ea"/>
                <a:ea typeface="+mj-ea"/>
              </a:endParaRPr>
            </a:p>
          </p:txBody>
        </p:sp>
        <p:sp>
          <p:nvSpPr>
            <p:cNvPr id="14" name="四角形: 角を丸くする 13">
              <a:extLst>
                <a:ext uri="{FF2B5EF4-FFF2-40B4-BE49-F238E27FC236}">
                  <a16:creationId xmlns:a16="http://schemas.microsoft.com/office/drawing/2014/main" id="{EC33AFDE-5098-9195-D9B3-618316B18BC0}"/>
                </a:ext>
              </a:extLst>
            </p:cNvPr>
            <p:cNvSpPr/>
            <p:nvPr/>
          </p:nvSpPr>
          <p:spPr>
            <a:xfrm flipH="1">
              <a:off x="12576359" y="3965996"/>
              <a:ext cx="4317233" cy="3611356"/>
            </a:xfrm>
            <a:prstGeom prst="roundRect">
              <a:avLst>
                <a:gd name="adj" fmla="val 2638"/>
              </a:avLst>
            </a:prstGeom>
            <a:solidFill>
              <a:schemeClr val="accent5">
                <a:lumMod val="40000"/>
                <a:lumOff val="60000"/>
              </a:schemeClr>
            </a:solidFill>
            <a:ln w="20168" cap="flat">
              <a:noFill/>
              <a:prstDash val="solid"/>
              <a:miter/>
            </a:ln>
          </p:spPr>
          <p:txBody>
            <a:bodyPr wrap="square" lIns="288000" tIns="0" rIns="0" bIns="72000" rtlCol="0" anchor="ctr">
              <a:noAutofit/>
            </a:bodyPr>
            <a:lstStyle/>
            <a:p>
              <a:pPr>
                <a:lnSpc>
                  <a:spcPct val="120000"/>
                </a:lnSpc>
                <a:spcAft>
                  <a:spcPts val="1200"/>
                </a:spcAft>
              </a:pPr>
              <a:r>
                <a:rPr lang="ja-JP" altLang="en-US" sz="2800" b="1" dirty="0">
                  <a:latin typeface="+mj-ea"/>
                  <a:ea typeface="+mj-ea"/>
                </a:rPr>
                <a:t>雨の日でも楽しめる</a:t>
              </a:r>
              <a:br>
                <a:rPr lang="en-US" altLang="ja-JP" sz="2800" b="1" dirty="0">
                  <a:latin typeface="+mj-ea"/>
                  <a:ea typeface="+mj-ea"/>
                </a:rPr>
              </a:br>
              <a:r>
                <a:rPr lang="ja-JP" altLang="en-US" sz="2800" b="1" dirty="0">
                  <a:latin typeface="+mj-ea"/>
                  <a:ea typeface="+mj-ea"/>
                </a:rPr>
                <a:t>旅行のアイデアを</a:t>
              </a:r>
              <a:br>
                <a:rPr lang="en-US" altLang="ja-JP" sz="2800" b="1" dirty="0">
                  <a:latin typeface="+mj-ea"/>
                  <a:ea typeface="+mj-ea"/>
                </a:rPr>
              </a:br>
              <a:r>
                <a:rPr lang="ja-JP" altLang="en-US" sz="2800" b="1" dirty="0">
                  <a:latin typeface="+mj-ea"/>
                  <a:ea typeface="+mj-ea"/>
                </a:rPr>
                <a:t>いくつかご提案します。</a:t>
              </a:r>
              <a:endParaRPr lang="en-US" altLang="ja-JP" sz="2800" b="1" dirty="0">
                <a:latin typeface="+mj-ea"/>
                <a:ea typeface="+mj-ea"/>
              </a:endParaRPr>
            </a:p>
            <a:p>
              <a:pPr marL="457200" indent="-457200">
                <a:lnSpc>
                  <a:spcPct val="120000"/>
                </a:lnSpc>
                <a:buClr>
                  <a:schemeClr val="accent2"/>
                </a:buClr>
                <a:buFont typeface="Wingdings" panose="05000000000000000000" pitchFamily="2" charset="2"/>
                <a:buChar char="l"/>
              </a:pPr>
              <a:r>
                <a:rPr lang="ja-JP" altLang="en-US" sz="2800" b="1" dirty="0">
                  <a:latin typeface="+mj-ea"/>
                  <a:ea typeface="+mj-ea"/>
                </a:rPr>
                <a:t>温泉</a:t>
              </a:r>
              <a:endParaRPr lang="en-US" altLang="ja-JP" sz="2800" b="1" dirty="0">
                <a:latin typeface="+mj-ea"/>
                <a:ea typeface="+mj-ea"/>
              </a:endParaRPr>
            </a:p>
            <a:p>
              <a:pPr marL="457200" indent="-457200">
                <a:lnSpc>
                  <a:spcPct val="120000"/>
                </a:lnSpc>
                <a:buClr>
                  <a:schemeClr val="accent2"/>
                </a:buClr>
                <a:buFont typeface="Wingdings" panose="05000000000000000000" pitchFamily="2" charset="2"/>
                <a:buChar char="l"/>
              </a:pPr>
              <a:r>
                <a:rPr lang="ja-JP" altLang="en-US" sz="2800" b="1" dirty="0">
                  <a:latin typeface="+mj-ea"/>
                  <a:ea typeface="+mj-ea"/>
                </a:rPr>
                <a:t>美術館巡り</a:t>
              </a:r>
              <a:endParaRPr lang="en-US" altLang="ja-JP" sz="2800" b="1" dirty="0">
                <a:latin typeface="+mj-ea"/>
                <a:ea typeface="+mj-ea"/>
              </a:endParaRPr>
            </a:p>
            <a:p>
              <a:pPr marL="457200" indent="-457200">
                <a:lnSpc>
                  <a:spcPct val="120000"/>
                </a:lnSpc>
                <a:buClr>
                  <a:schemeClr val="accent2"/>
                </a:buClr>
                <a:buFont typeface="Wingdings" panose="05000000000000000000" pitchFamily="2" charset="2"/>
                <a:buChar char="l"/>
              </a:pPr>
              <a:r>
                <a:rPr lang="ja-JP" altLang="en-US" sz="2800" b="1" dirty="0">
                  <a:latin typeface="+mj-ea"/>
                  <a:ea typeface="+mj-ea"/>
                </a:rPr>
                <a:t>工場見学　</a:t>
              </a:r>
              <a:r>
                <a:rPr lang="en-US" altLang="ja-JP" sz="2800" b="1" dirty="0">
                  <a:latin typeface="+mj-ea"/>
                  <a:ea typeface="+mj-ea"/>
                </a:rPr>
                <a:t>…</a:t>
              </a:r>
              <a:endParaRPr lang="ja-JP" altLang="en-US" sz="2800" b="1" dirty="0">
                <a:latin typeface="+mj-ea"/>
                <a:ea typeface="+mj-ea"/>
              </a:endParaRPr>
            </a:p>
          </p:txBody>
        </p:sp>
      </p:grpSp>
      <p:grpSp>
        <p:nvGrpSpPr>
          <p:cNvPr id="87" name="グループ化 86">
            <a:extLst>
              <a:ext uri="{FF2B5EF4-FFF2-40B4-BE49-F238E27FC236}">
                <a16:creationId xmlns:a16="http://schemas.microsoft.com/office/drawing/2014/main" id="{8C351CF6-CB81-D3E4-8D6E-A74DA4FEE6FC}"/>
              </a:ext>
            </a:extLst>
          </p:cNvPr>
          <p:cNvGrpSpPr/>
          <p:nvPr/>
        </p:nvGrpSpPr>
        <p:grpSpPr>
          <a:xfrm>
            <a:off x="7192184" y="6575850"/>
            <a:ext cx="3903633" cy="1803066"/>
            <a:chOff x="7192184" y="6474953"/>
            <a:chExt cx="3903633" cy="1803066"/>
          </a:xfrm>
        </p:grpSpPr>
        <p:sp>
          <p:nvSpPr>
            <p:cNvPr id="11" name="テキスト ボックス 10">
              <a:extLst>
                <a:ext uri="{FF2B5EF4-FFF2-40B4-BE49-F238E27FC236}">
                  <a16:creationId xmlns:a16="http://schemas.microsoft.com/office/drawing/2014/main" id="{52726AE7-7C7E-E653-35DF-8A9EAA6C1FF2}"/>
                </a:ext>
              </a:extLst>
            </p:cNvPr>
            <p:cNvSpPr txBox="1"/>
            <p:nvPr/>
          </p:nvSpPr>
          <p:spPr>
            <a:xfrm>
              <a:off x="7192184" y="7184065"/>
              <a:ext cx="3903633" cy="1093954"/>
            </a:xfrm>
            <a:prstGeom prst="rect">
              <a:avLst/>
            </a:prstGeom>
            <a:noFill/>
          </p:spPr>
          <p:txBody>
            <a:bodyPr wrap="none" rtlCol="0">
              <a:spAutoFit/>
            </a:bodyPr>
            <a:lstStyle/>
            <a:p>
              <a:pPr algn="ctr">
                <a:lnSpc>
                  <a:spcPct val="120000"/>
                </a:lnSpc>
              </a:pPr>
              <a:r>
                <a:rPr kumimoji="1" lang="ja-JP" altLang="en-US" sz="2800" spc="100" dirty="0">
                  <a:latin typeface="+mn-ea"/>
                </a:rPr>
                <a:t>インターネット上の</a:t>
              </a:r>
              <a:br>
                <a:rPr kumimoji="1" lang="en-US" altLang="ja-JP" sz="2800" spc="100" dirty="0">
                  <a:latin typeface="+mn-ea"/>
                </a:rPr>
              </a:br>
              <a:r>
                <a:rPr kumimoji="1" lang="ja-JP" altLang="en-US" sz="2800" spc="100" dirty="0">
                  <a:latin typeface="+mn-ea"/>
                </a:rPr>
                <a:t>文書などを大量に学習</a:t>
              </a:r>
            </a:p>
          </p:txBody>
        </p:sp>
        <p:sp>
          <p:nvSpPr>
            <p:cNvPr id="53" name="テキスト ボックス 52">
              <a:extLst>
                <a:ext uri="{FF2B5EF4-FFF2-40B4-BE49-F238E27FC236}">
                  <a16:creationId xmlns:a16="http://schemas.microsoft.com/office/drawing/2014/main" id="{CF612251-6F95-6739-0ECB-EB19B938D3DA}"/>
                </a:ext>
              </a:extLst>
            </p:cNvPr>
            <p:cNvSpPr txBox="1"/>
            <p:nvPr/>
          </p:nvSpPr>
          <p:spPr>
            <a:xfrm>
              <a:off x="8370963" y="6474953"/>
              <a:ext cx="1651414" cy="718017"/>
            </a:xfrm>
            <a:prstGeom prst="rect">
              <a:avLst/>
            </a:prstGeom>
            <a:noFill/>
          </p:spPr>
          <p:txBody>
            <a:bodyPr wrap="none" rtlCol="0">
              <a:spAutoFit/>
            </a:bodyPr>
            <a:lstStyle/>
            <a:p>
              <a:pPr algn="ctr">
                <a:lnSpc>
                  <a:spcPct val="120000"/>
                </a:lnSpc>
              </a:pPr>
              <a:r>
                <a:rPr lang="ja-JP" altLang="en-US" sz="3600" b="1" spc="100" dirty="0">
                  <a:solidFill>
                    <a:schemeClr val="accent1"/>
                  </a:solidFill>
                  <a:latin typeface="+mj-ea"/>
                  <a:ea typeface="+mj-ea"/>
                </a:rPr>
                <a:t>生成</a:t>
              </a:r>
              <a:r>
                <a:rPr lang="en-US" altLang="ja-JP" sz="3600" b="1" spc="100" dirty="0">
                  <a:solidFill>
                    <a:schemeClr val="accent1"/>
                  </a:solidFill>
                  <a:latin typeface="+mj-ea"/>
                  <a:ea typeface="+mj-ea"/>
                </a:rPr>
                <a:t>AI</a:t>
              </a:r>
              <a:endParaRPr kumimoji="1" lang="ja-JP" altLang="en-US" sz="3600" b="1" spc="100" dirty="0">
                <a:solidFill>
                  <a:schemeClr val="accent1"/>
                </a:solidFill>
                <a:latin typeface="+mj-ea"/>
                <a:ea typeface="+mj-ea"/>
              </a:endParaRPr>
            </a:p>
          </p:txBody>
        </p:sp>
      </p:grpSp>
      <p:sp>
        <p:nvSpPr>
          <p:cNvPr id="74" name="四角形: 角を丸くする 73">
            <a:extLst>
              <a:ext uri="{FF2B5EF4-FFF2-40B4-BE49-F238E27FC236}">
                <a16:creationId xmlns:a16="http://schemas.microsoft.com/office/drawing/2014/main" id="{BC12398D-01DF-AF05-FF03-BCBBF0CFC4E2}"/>
              </a:ext>
            </a:extLst>
          </p:cNvPr>
          <p:cNvSpPr/>
          <p:nvPr/>
        </p:nvSpPr>
        <p:spPr>
          <a:xfrm>
            <a:off x="13049651" y="3407882"/>
            <a:ext cx="3982014"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z="3200" spc="300" dirty="0">
                <a:solidFill>
                  <a:schemeClr val="bg1"/>
                </a:solidFill>
                <a:latin typeface="+mj-ea"/>
                <a:ea typeface="+mj-ea"/>
              </a:rPr>
              <a:t>回答</a:t>
            </a:r>
          </a:p>
        </p:txBody>
      </p:sp>
      <p:sp>
        <p:nvSpPr>
          <p:cNvPr id="52" name="テキスト ボックス 51">
            <a:extLst>
              <a:ext uri="{FF2B5EF4-FFF2-40B4-BE49-F238E27FC236}">
                <a16:creationId xmlns:a16="http://schemas.microsoft.com/office/drawing/2014/main" id="{15CD98F0-D69E-D269-B2E8-086E82673237}"/>
              </a:ext>
            </a:extLst>
          </p:cNvPr>
          <p:cNvSpPr txBox="1"/>
          <p:nvPr/>
        </p:nvSpPr>
        <p:spPr>
          <a:xfrm>
            <a:off x="1943139" y="4254530"/>
            <a:ext cx="2608406" cy="400110"/>
          </a:xfrm>
          <a:prstGeom prst="rect">
            <a:avLst/>
          </a:prstGeom>
          <a:noFill/>
        </p:spPr>
        <p:txBody>
          <a:bodyPr wrap="none" rtlCol="0">
            <a:spAutoFit/>
          </a:bodyPr>
          <a:lstStyle/>
          <a:p>
            <a:pPr algn="ctr"/>
            <a:r>
              <a:rPr lang="en-US" altLang="ja-JP" sz="2000" spc="100" dirty="0">
                <a:latin typeface="+mn-ea"/>
              </a:rPr>
              <a:t>※</a:t>
            </a:r>
            <a:r>
              <a:rPr lang="ja-JP" altLang="en-US" sz="2000" spc="100" dirty="0">
                <a:latin typeface="+mn-ea"/>
              </a:rPr>
              <a:t>プロンプトという</a:t>
            </a:r>
            <a:endParaRPr kumimoji="1" lang="ja-JP" altLang="en-US" sz="2000" spc="100" dirty="0">
              <a:latin typeface="+mn-ea"/>
            </a:endParaRPr>
          </a:p>
        </p:txBody>
      </p:sp>
      <p:sp>
        <p:nvSpPr>
          <p:cNvPr id="78" name="四角形: 角を丸くする 77">
            <a:extLst>
              <a:ext uri="{FF2B5EF4-FFF2-40B4-BE49-F238E27FC236}">
                <a16:creationId xmlns:a16="http://schemas.microsoft.com/office/drawing/2014/main" id="{9A982917-2048-70BD-913D-817FDCC8DBDE}"/>
              </a:ext>
            </a:extLst>
          </p:cNvPr>
          <p:cNvSpPr/>
          <p:nvPr/>
        </p:nvSpPr>
        <p:spPr>
          <a:xfrm>
            <a:off x="1256335" y="3407882"/>
            <a:ext cx="3982014"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18000" rIns="144000" bIns="18000" rtlCol="0" anchor="ctr">
            <a:spAutoFit/>
          </a:bodyPr>
          <a:lstStyle/>
          <a:p>
            <a:pPr algn="ctr"/>
            <a:r>
              <a:rPr kumimoji="1" lang="ja-JP" altLang="en-US" sz="3200" spc="300" dirty="0">
                <a:solidFill>
                  <a:schemeClr val="bg1"/>
                </a:solidFill>
                <a:latin typeface="+mj-ea"/>
                <a:ea typeface="+mj-ea"/>
              </a:rPr>
              <a:t>指示</a:t>
            </a:r>
          </a:p>
        </p:txBody>
      </p:sp>
      <p:grpSp>
        <p:nvGrpSpPr>
          <p:cNvPr id="85" name="グループ化 84">
            <a:extLst>
              <a:ext uri="{FF2B5EF4-FFF2-40B4-BE49-F238E27FC236}">
                <a16:creationId xmlns:a16="http://schemas.microsoft.com/office/drawing/2014/main" id="{F30D0775-6219-FAF5-A4D2-6DE46232D1E1}"/>
              </a:ext>
            </a:extLst>
          </p:cNvPr>
          <p:cNvGrpSpPr/>
          <p:nvPr/>
        </p:nvGrpSpPr>
        <p:grpSpPr>
          <a:xfrm>
            <a:off x="1287967" y="4836920"/>
            <a:ext cx="3918750" cy="1845546"/>
            <a:chOff x="1319286" y="4427786"/>
            <a:chExt cx="3918750" cy="1845546"/>
          </a:xfrm>
        </p:grpSpPr>
        <p:sp>
          <p:nvSpPr>
            <p:cNvPr id="82" name="フリーフォーム: 図形 81">
              <a:extLst>
                <a:ext uri="{FF2B5EF4-FFF2-40B4-BE49-F238E27FC236}">
                  <a16:creationId xmlns:a16="http://schemas.microsoft.com/office/drawing/2014/main" id="{22555EB1-F822-EE01-A481-CAA7168651F2}"/>
                </a:ext>
              </a:extLst>
            </p:cNvPr>
            <p:cNvSpPr/>
            <p:nvPr/>
          </p:nvSpPr>
          <p:spPr>
            <a:xfrm rot="12896417" flipV="1">
              <a:off x="2227669" y="5725444"/>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solidFill>
              <a:schemeClr val="bg1"/>
            </a:solidFill>
            <a:ln w="20168" cap="flat">
              <a:noFill/>
              <a:prstDash val="solid"/>
              <a:miter/>
            </a:ln>
          </p:spPr>
          <p:txBody>
            <a:bodyPr wrap="square" lIns="0" tIns="0" rIns="0" bIns="72000" rtlCol="0" anchor="ctr">
              <a:noAutofit/>
            </a:bodyPr>
            <a:lstStyle/>
            <a:p>
              <a:pPr algn="ctr">
                <a:lnSpc>
                  <a:spcPct val="130000"/>
                </a:lnSpc>
              </a:pPr>
              <a:endParaRPr lang="ja-JP" altLang="en-US" sz="3200" b="1" dirty="0">
                <a:latin typeface="+mj-ea"/>
                <a:ea typeface="+mj-ea"/>
              </a:endParaRPr>
            </a:p>
          </p:txBody>
        </p:sp>
        <p:sp>
          <p:nvSpPr>
            <p:cNvPr id="81" name="四角形: 角を丸くする 80">
              <a:extLst>
                <a:ext uri="{FF2B5EF4-FFF2-40B4-BE49-F238E27FC236}">
                  <a16:creationId xmlns:a16="http://schemas.microsoft.com/office/drawing/2014/main" id="{1A86CD82-1032-DA3F-B247-5F92D80DD744}"/>
                </a:ext>
              </a:extLst>
            </p:cNvPr>
            <p:cNvSpPr/>
            <p:nvPr/>
          </p:nvSpPr>
          <p:spPr>
            <a:xfrm>
              <a:off x="1319286" y="4427786"/>
              <a:ext cx="3918750" cy="1571602"/>
            </a:xfrm>
            <a:prstGeom prst="roundRect">
              <a:avLst>
                <a:gd name="adj" fmla="val 6061"/>
              </a:avLst>
            </a:prstGeom>
            <a:solidFill>
              <a:schemeClr val="bg1"/>
            </a:solidFill>
            <a:ln w="20168" cap="flat">
              <a:noFill/>
              <a:prstDash val="solid"/>
              <a:miter/>
            </a:ln>
          </p:spPr>
          <p:txBody>
            <a:bodyPr wrap="square" lIns="0" tIns="0" rIns="0" bIns="72000" rtlCol="0" anchor="ctr" anchorCtr="1">
              <a:noAutofit/>
            </a:bodyPr>
            <a:lstStyle/>
            <a:p>
              <a:pPr>
                <a:lnSpc>
                  <a:spcPct val="120000"/>
                </a:lnSpc>
                <a:spcAft>
                  <a:spcPts val="1200"/>
                </a:spcAft>
              </a:pPr>
              <a:r>
                <a:rPr lang="ja-JP" altLang="en-US" sz="3200" b="1" dirty="0">
                  <a:latin typeface="+mj-ea"/>
                  <a:ea typeface="+mj-ea"/>
                </a:rPr>
                <a:t>雨の日の旅行の</a:t>
              </a:r>
              <a:br>
                <a:rPr lang="en-US" altLang="ja-JP" sz="3200" b="1" dirty="0">
                  <a:latin typeface="+mj-ea"/>
                  <a:ea typeface="+mj-ea"/>
                </a:rPr>
              </a:br>
              <a:r>
                <a:rPr lang="ja-JP" altLang="en-US" sz="3200" b="1" dirty="0">
                  <a:latin typeface="+mj-ea"/>
                  <a:ea typeface="+mj-ea"/>
                </a:rPr>
                <a:t>アイデアを考えて</a:t>
              </a:r>
            </a:p>
          </p:txBody>
        </p:sp>
      </p:grpSp>
      <p:grpSp>
        <p:nvGrpSpPr>
          <p:cNvPr id="61" name="グループ化 60">
            <a:extLst>
              <a:ext uri="{FF2B5EF4-FFF2-40B4-BE49-F238E27FC236}">
                <a16:creationId xmlns:a16="http://schemas.microsoft.com/office/drawing/2014/main" id="{C1CF62AE-0B2A-D51B-34D5-DD3911ABF213}"/>
              </a:ext>
            </a:extLst>
          </p:cNvPr>
          <p:cNvGrpSpPr/>
          <p:nvPr/>
        </p:nvGrpSpPr>
        <p:grpSpPr>
          <a:xfrm rot="16200000">
            <a:off x="11793274" y="5747072"/>
            <a:ext cx="1127906" cy="494304"/>
            <a:chOff x="3235771" y="4141076"/>
            <a:chExt cx="615260" cy="424608"/>
          </a:xfrm>
        </p:grpSpPr>
        <p:grpSp>
          <p:nvGrpSpPr>
            <p:cNvPr id="62" name="グループ化 61">
              <a:extLst>
                <a:ext uri="{FF2B5EF4-FFF2-40B4-BE49-F238E27FC236}">
                  <a16:creationId xmlns:a16="http://schemas.microsoft.com/office/drawing/2014/main" id="{E1E8DBB6-91B3-35A1-50E1-E04F765CECE9}"/>
                </a:ext>
              </a:extLst>
            </p:cNvPr>
            <p:cNvGrpSpPr/>
            <p:nvPr/>
          </p:nvGrpSpPr>
          <p:grpSpPr>
            <a:xfrm>
              <a:off x="3235771" y="4141076"/>
              <a:ext cx="615260" cy="231227"/>
              <a:chOff x="3223846" y="4141076"/>
              <a:chExt cx="615260" cy="231227"/>
            </a:xfrm>
          </p:grpSpPr>
          <p:cxnSp>
            <p:nvCxnSpPr>
              <p:cNvPr id="66" name="直線コネクタ 65">
                <a:extLst>
                  <a:ext uri="{FF2B5EF4-FFF2-40B4-BE49-F238E27FC236}">
                    <a16:creationId xmlns:a16="http://schemas.microsoft.com/office/drawing/2014/main" id="{F1077E92-BF0F-4682-9E02-E7A41A44BC65}"/>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67" name="直線コネクタ 66">
                <a:extLst>
                  <a:ext uri="{FF2B5EF4-FFF2-40B4-BE49-F238E27FC236}">
                    <a16:creationId xmlns:a16="http://schemas.microsoft.com/office/drawing/2014/main" id="{468E4609-7AB0-5444-FBE9-589AE5FBFA9B}"/>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63" name="グループ化 62">
              <a:extLst>
                <a:ext uri="{FF2B5EF4-FFF2-40B4-BE49-F238E27FC236}">
                  <a16:creationId xmlns:a16="http://schemas.microsoft.com/office/drawing/2014/main" id="{0F91AAD7-7F0C-4509-B079-3EF8B32C29AC}"/>
                </a:ext>
              </a:extLst>
            </p:cNvPr>
            <p:cNvGrpSpPr/>
            <p:nvPr/>
          </p:nvGrpSpPr>
          <p:grpSpPr>
            <a:xfrm>
              <a:off x="3235771" y="4334457"/>
              <a:ext cx="615260" cy="231227"/>
              <a:chOff x="3223846" y="4141076"/>
              <a:chExt cx="615260" cy="231227"/>
            </a:xfrm>
          </p:grpSpPr>
          <p:cxnSp>
            <p:nvCxnSpPr>
              <p:cNvPr id="64" name="直線コネクタ 63">
                <a:extLst>
                  <a:ext uri="{FF2B5EF4-FFF2-40B4-BE49-F238E27FC236}">
                    <a16:creationId xmlns:a16="http://schemas.microsoft.com/office/drawing/2014/main" id="{C8663F3D-B894-A139-CE95-F5C73229FB66}"/>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A69147A5-B91A-29B9-0507-0C54E81969D6}"/>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grpSp>
        <p:nvGrpSpPr>
          <p:cNvPr id="105" name="グループ化 104">
            <a:extLst>
              <a:ext uri="{FF2B5EF4-FFF2-40B4-BE49-F238E27FC236}">
                <a16:creationId xmlns:a16="http://schemas.microsoft.com/office/drawing/2014/main" id="{B543C5F4-8BAD-BE44-99A8-07089C70A332}"/>
              </a:ext>
            </a:extLst>
          </p:cNvPr>
          <p:cNvGrpSpPr/>
          <p:nvPr/>
        </p:nvGrpSpPr>
        <p:grpSpPr>
          <a:xfrm rot="16200000">
            <a:off x="5366820" y="5717865"/>
            <a:ext cx="1127906" cy="494304"/>
            <a:chOff x="3235771" y="4141076"/>
            <a:chExt cx="615260" cy="424608"/>
          </a:xfrm>
        </p:grpSpPr>
        <p:grpSp>
          <p:nvGrpSpPr>
            <p:cNvPr id="106" name="グループ化 105">
              <a:extLst>
                <a:ext uri="{FF2B5EF4-FFF2-40B4-BE49-F238E27FC236}">
                  <a16:creationId xmlns:a16="http://schemas.microsoft.com/office/drawing/2014/main" id="{4BF79C30-98CF-F548-E306-68DD6AC9CC3F}"/>
                </a:ext>
              </a:extLst>
            </p:cNvPr>
            <p:cNvGrpSpPr/>
            <p:nvPr/>
          </p:nvGrpSpPr>
          <p:grpSpPr>
            <a:xfrm>
              <a:off x="3235771" y="4141076"/>
              <a:ext cx="615260" cy="231227"/>
              <a:chOff x="3223846" y="4141076"/>
              <a:chExt cx="615260" cy="231227"/>
            </a:xfrm>
          </p:grpSpPr>
          <p:cxnSp>
            <p:nvCxnSpPr>
              <p:cNvPr id="110" name="直線コネクタ 109">
                <a:extLst>
                  <a:ext uri="{FF2B5EF4-FFF2-40B4-BE49-F238E27FC236}">
                    <a16:creationId xmlns:a16="http://schemas.microsoft.com/office/drawing/2014/main" id="{10096535-8AF5-99A1-CE5B-4A49299035C1}"/>
                  </a:ext>
                </a:extLst>
              </p:cNvPr>
              <p:cNvCxnSpPr>
                <a:cxnSpLocks/>
              </p:cNvCxnSpPr>
              <p:nvPr/>
            </p:nvCxnSpPr>
            <p:spPr>
              <a:xfrm>
                <a:off x="322384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cxnSp>
            <p:nvCxnSpPr>
              <p:cNvPr id="111" name="直線コネクタ 110">
                <a:extLst>
                  <a:ext uri="{FF2B5EF4-FFF2-40B4-BE49-F238E27FC236}">
                    <a16:creationId xmlns:a16="http://schemas.microsoft.com/office/drawing/2014/main" id="{2F4C5A52-9B5A-90C2-5981-5D7B5A6A49C0}"/>
                  </a:ext>
                </a:extLst>
              </p:cNvPr>
              <p:cNvCxnSpPr>
                <a:cxnSpLocks/>
              </p:cNvCxnSpPr>
              <p:nvPr/>
            </p:nvCxnSpPr>
            <p:spPr>
              <a:xfrm flipH="1">
                <a:off x="3531476" y="4141076"/>
                <a:ext cx="307630" cy="231227"/>
              </a:xfrm>
              <a:prstGeom prst="line">
                <a:avLst/>
              </a:prstGeom>
              <a:ln w="101600" cap="rnd">
                <a:solidFill>
                  <a:schemeClr val="accent2">
                    <a:lumMod val="40000"/>
                    <a:lumOff val="60000"/>
                  </a:schemeClr>
                </a:solidFill>
                <a:round/>
              </a:ln>
            </p:spPr>
            <p:style>
              <a:lnRef idx="1">
                <a:schemeClr val="accent1"/>
              </a:lnRef>
              <a:fillRef idx="0">
                <a:schemeClr val="accent1"/>
              </a:fillRef>
              <a:effectRef idx="0">
                <a:schemeClr val="accent1"/>
              </a:effectRef>
              <a:fontRef idx="minor">
                <a:schemeClr val="tx1"/>
              </a:fontRef>
            </p:style>
          </p:cxnSp>
        </p:grpSp>
        <p:grpSp>
          <p:nvGrpSpPr>
            <p:cNvPr id="107" name="グループ化 106">
              <a:extLst>
                <a:ext uri="{FF2B5EF4-FFF2-40B4-BE49-F238E27FC236}">
                  <a16:creationId xmlns:a16="http://schemas.microsoft.com/office/drawing/2014/main" id="{93469357-C64A-BE5E-CEE8-7363939B41E7}"/>
                </a:ext>
              </a:extLst>
            </p:cNvPr>
            <p:cNvGrpSpPr/>
            <p:nvPr/>
          </p:nvGrpSpPr>
          <p:grpSpPr>
            <a:xfrm>
              <a:off x="3235771" y="4334457"/>
              <a:ext cx="615260" cy="231227"/>
              <a:chOff x="3223846" y="4141076"/>
              <a:chExt cx="615260" cy="231227"/>
            </a:xfrm>
          </p:grpSpPr>
          <p:cxnSp>
            <p:nvCxnSpPr>
              <p:cNvPr id="108" name="直線コネクタ 107">
                <a:extLst>
                  <a:ext uri="{FF2B5EF4-FFF2-40B4-BE49-F238E27FC236}">
                    <a16:creationId xmlns:a16="http://schemas.microsoft.com/office/drawing/2014/main" id="{5BB2A2C4-2CE4-B085-BC04-A48743D4F57E}"/>
                  </a:ext>
                </a:extLst>
              </p:cNvPr>
              <p:cNvCxnSpPr>
                <a:cxnSpLocks/>
              </p:cNvCxnSpPr>
              <p:nvPr/>
            </p:nvCxnSpPr>
            <p:spPr>
              <a:xfrm>
                <a:off x="322384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cxnSp>
            <p:nvCxnSpPr>
              <p:cNvPr id="109" name="直線コネクタ 108">
                <a:extLst>
                  <a:ext uri="{FF2B5EF4-FFF2-40B4-BE49-F238E27FC236}">
                    <a16:creationId xmlns:a16="http://schemas.microsoft.com/office/drawing/2014/main" id="{2A3C04D6-C391-D312-E80C-463F5EE4A04D}"/>
                  </a:ext>
                </a:extLst>
              </p:cNvPr>
              <p:cNvCxnSpPr>
                <a:cxnSpLocks/>
              </p:cNvCxnSpPr>
              <p:nvPr/>
            </p:nvCxnSpPr>
            <p:spPr>
              <a:xfrm flipH="1">
                <a:off x="3531476" y="4141076"/>
                <a:ext cx="307630" cy="231227"/>
              </a:xfrm>
              <a:prstGeom prst="line">
                <a:avLst/>
              </a:prstGeom>
              <a:ln w="101600" cap="rnd">
                <a:solidFill>
                  <a:schemeClr val="accent2">
                    <a:lumMod val="60000"/>
                    <a:lumOff val="40000"/>
                  </a:schemeClr>
                </a:solidFill>
                <a:round/>
              </a:ln>
            </p:spPr>
            <p:style>
              <a:lnRef idx="1">
                <a:schemeClr val="accent1"/>
              </a:lnRef>
              <a:fillRef idx="0">
                <a:schemeClr val="accent1"/>
              </a:fillRef>
              <a:effectRef idx="0">
                <a:schemeClr val="accent1"/>
              </a:effectRef>
              <a:fontRef idx="minor">
                <a:schemeClr val="tx1"/>
              </a:fontRef>
            </p:style>
          </p:cxnSp>
        </p:grpSp>
      </p:grpSp>
      <p:pic>
        <p:nvPicPr>
          <p:cNvPr id="22" name="グラフィックス 21">
            <a:extLst>
              <a:ext uri="{FF2B5EF4-FFF2-40B4-BE49-F238E27FC236}">
                <a16:creationId xmlns:a16="http://schemas.microsoft.com/office/drawing/2014/main" id="{370FDC18-0C03-FCA1-A446-4FB160590264}"/>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2364904" y="6319973"/>
            <a:ext cx="1764877" cy="1861685"/>
          </a:xfrm>
          <a:prstGeom prst="rect">
            <a:avLst/>
          </a:prstGeom>
        </p:spPr>
      </p:pic>
      <p:sp>
        <p:nvSpPr>
          <p:cNvPr id="3" name="スライド番号プレースホルダー 2">
            <a:extLst>
              <a:ext uri="{FF2B5EF4-FFF2-40B4-BE49-F238E27FC236}">
                <a16:creationId xmlns:a16="http://schemas.microsoft.com/office/drawing/2014/main" id="{1BEAB0C6-05DA-3C30-CC21-284CDA29B7D8}"/>
              </a:ext>
            </a:extLst>
          </p:cNvPr>
          <p:cNvSpPr>
            <a:spLocks noGrp="1"/>
          </p:cNvSpPr>
          <p:nvPr>
            <p:ph type="sldNum" sz="quarter" idx="11"/>
          </p:nvPr>
        </p:nvSpPr>
        <p:spPr>
          <a:xfrm>
            <a:off x="17776755" y="9786651"/>
            <a:ext cx="163506" cy="307777"/>
          </a:xfrm>
        </p:spPr>
        <p:txBody>
          <a:bodyPr/>
          <a:lstStyle/>
          <a:p>
            <a:r>
              <a:rPr lang="en-US" altLang="ja-JP"/>
              <a:t>6</a:t>
            </a:r>
            <a:endParaRPr lang="ja-JP" altLang="en-US" dirty="0"/>
          </a:p>
        </p:txBody>
      </p:sp>
      <p:pic>
        <p:nvPicPr>
          <p:cNvPr id="7" name="グラフィックス 6">
            <a:extLst>
              <a:ext uri="{FF2B5EF4-FFF2-40B4-BE49-F238E27FC236}">
                <a16:creationId xmlns:a16="http://schemas.microsoft.com/office/drawing/2014/main" id="{D2F9327E-C4B8-7DB8-CB41-3E181D53FF2D}"/>
              </a:ext>
            </a:extLst>
          </p:cNvPr>
          <p:cNvPicPr>
            <a:picLocks noChangeAspect="1"/>
          </p:cNvPicPr>
          <p:nvPr/>
        </p:nvPicPr>
        <p:blipFill>
          <a:blip r:embed="rId5">
            <a:extLst>
              <a:ext uri="{96DAC541-7B7A-43D3-8B79-37D633B846F1}">
                <asvg:svgBlip xmlns:asvg="http://schemas.microsoft.com/office/drawing/2016/SVG/main" r:embed="rId6"/>
              </a:ext>
            </a:extLst>
          </a:blip>
          <a:stretch>
            <a:fillRect/>
          </a:stretch>
        </p:blipFill>
        <p:spPr>
          <a:xfrm>
            <a:off x="7247600" y="3000450"/>
            <a:ext cx="3659731" cy="3434338"/>
          </a:xfrm>
          <a:prstGeom prst="rect">
            <a:avLst/>
          </a:prstGeom>
        </p:spPr>
      </p:pic>
    </p:spTree>
    <p:extLst>
      <p:ext uri="{BB962C8B-B14F-4D97-AF65-F5344CB8AC3E}">
        <p14:creationId xmlns:p14="http://schemas.microsoft.com/office/powerpoint/2010/main" val="3822454056"/>
      </p:ext>
    </p:extLst>
  </p:cSld>
  <p:clrMapOvr>
    <a:masterClrMapping/>
  </p:clrMapOvr>
</p:sld>
</file>

<file path=ppt/slides/slide6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9236E89F-6345-381C-6CBE-26F0158E6D1E}"/>
              </a:ext>
            </a:extLst>
          </p:cNvPr>
          <p:cNvSpPr txBox="1"/>
          <p:nvPr/>
        </p:nvSpPr>
        <p:spPr>
          <a:xfrm>
            <a:off x="754084" y="2365580"/>
            <a:ext cx="5845132" cy="1520801"/>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知的財産権やパブリシティ権の侵害を予防するために、</a:t>
            </a:r>
            <a:r>
              <a:rPr kumimoji="1" lang="ja-JP" altLang="en-US" sz="2800" spc="50" dirty="0">
                <a:solidFill>
                  <a:schemeClr val="accent3"/>
                </a:solidFill>
                <a:latin typeface="+mn-ea"/>
              </a:rPr>
              <a:t>避けるべき</a:t>
            </a:r>
            <a:r>
              <a:rPr kumimoji="1" lang="ja-JP" altLang="en-US" sz="2800" spc="50" dirty="0">
                <a:latin typeface="+mn-ea"/>
              </a:rPr>
              <a:t>指示はどれか。</a:t>
            </a:r>
            <a:r>
              <a:rPr kumimoji="1" lang="ja-JP" altLang="en-US" sz="2800" spc="50" dirty="0">
                <a:solidFill>
                  <a:schemeClr val="accent3"/>
                </a:solidFill>
                <a:latin typeface="+mn-ea"/>
              </a:rPr>
              <a:t>全て</a:t>
            </a:r>
            <a:r>
              <a:rPr kumimoji="1" lang="ja-JP" altLang="en-US" sz="2800" spc="50" dirty="0">
                <a:latin typeface="+mn-ea"/>
              </a:rPr>
              <a:t>選んでください。</a:t>
            </a:r>
          </a:p>
        </p:txBody>
      </p:sp>
      <p:grpSp>
        <p:nvGrpSpPr>
          <p:cNvPr id="4" name="グループ化 3">
            <a:extLst>
              <a:ext uri="{FF2B5EF4-FFF2-40B4-BE49-F238E27FC236}">
                <a16:creationId xmlns:a16="http://schemas.microsoft.com/office/drawing/2014/main" id="{D0CD0872-A3F6-EA17-45DF-4B48148800C1}"/>
              </a:ext>
            </a:extLst>
          </p:cNvPr>
          <p:cNvGrpSpPr/>
          <p:nvPr/>
        </p:nvGrpSpPr>
        <p:grpSpPr>
          <a:xfrm>
            <a:off x="7945117" y="724103"/>
            <a:ext cx="8771549" cy="8837206"/>
            <a:chOff x="7945117" y="728997"/>
            <a:chExt cx="8771549" cy="8837206"/>
          </a:xfrm>
        </p:grpSpPr>
        <p:grpSp>
          <p:nvGrpSpPr>
            <p:cNvPr id="5" name="グループ化 4">
              <a:extLst>
                <a:ext uri="{FF2B5EF4-FFF2-40B4-BE49-F238E27FC236}">
                  <a16:creationId xmlns:a16="http://schemas.microsoft.com/office/drawing/2014/main" id="{784B7160-2E70-6080-9986-B5DB06D71790}"/>
                </a:ext>
              </a:extLst>
            </p:cNvPr>
            <p:cNvGrpSpPr/>
            <p:nvPr/>
          </p:nvGrpSpPr>
          <p:grpSpPr>
            <a:xfrm>
              <a:off x="7945117" y="728997"/>
              <a:ext cx="8406065" cy="1800000"/>
              <a:chOff x="7945117" y="1234999"/>
              <a:chExt cx="8406065" cy="1800000"/>
            </a:xfrm>
          </p:grpSpPr>
          <p:sp>
            <p:nvSpPr>
              <p:cNvPr id="15" name="テキスト ボックス 14">
                <a:extLst>
                  <a:ext uri="{FF2B5EF4-FFF2-40B4-BE49-F238E27FC236}">
                    <a16:creationId xmlns:a16="http://schemas.microsoft.com/office/drawing/2014/main" id="{D7D2B936-A2D3-B08B-D460-97126C09DA92}"/>
                  </a:ext>
                </a:extLst>
              </p:cNvPr>
              <p:cNvSpPr txBox="1"/>
              <p:nvPr userDrawn="1"/>
            </p:nvSpPr>
            <p:spPr>
              <a:xfrm>
                <a:off x="8916454" y="1907822"/>
                <a:ext cx="7434728"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XX</a:t>
                </a:r>
                <a:r>
                  <a:rPr kumimoji="1" lang="ja-JP" altLang="en-US" sz="2800" spc="50" dirty="0">
                    <a:latin typeface="+mn-ea"/>
                    <a:ea typeface="+mn-ea"/>
                  </a:rPr>
                  <a:t>のロゴに似ているロゴを作成してください</a:t>
                </a:r>
              </a:p>
            </p:txBody>
          </p:sp>
          <p:sp>
            <p:nvSpPr>
              <p:cNvPr id="16" name="テキスト ボックス 15">
                <a:extLst>
                  <a:ext uri="{FF2B5EF4-FFF2-40B4-BE49-F238E27FC236}">
                    <a16:creationId xmlns:a16="http://schemas.microsoft.com/office/drawing/2014/main" id="{76C01155-9A80-1FB1-CEC8-321FBB346253}"/>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6" name="グループ化 5">
              <a:extLst>
                <a:ext uri="{FF2B5EF4-FFF2-40B4-BE49-F238E27FC236}">
                  <a16:creationId xmlns:a16="http://schemas.microsoft.com/office/drawing/2014/main" id="{14B50162-C413-A6AE-BC2C-D74D19522EE5}"/>
                </a:ext>
              </a:extLst>
            </p:cNvPr>
            <p:cNvGrpSpPr/>
            <p:nvPr/>
          </p:nvGrpSpPr>
          <p:grpSpPr>
            <a:xfrm>
              <a:off x="7945117" y="3074733"/>
              <a:ext cx="8771549" cy="1800000"/>
              <a:chOff x="7945117" y="3367623"/>
              <a:chExt cx="8771549" cy="1800000"/>
            </a:xfrm>
          </p:grpSpPr>
          <p:sp>
            <p:nvSpPr>
              <p:cNvPr id="13" name="テキスト ボックス 12">
                <a:extLst>
                  <a:ext uri="{FF2B5EF4-FFF2-40B4-BE49-F238E27FC236}">
                    <a16:creationId xmlns:a16="http://schemas.microsoft.com/office/drawing/2014/main" id="{175512C6-7C1D-0BB2-8728-039AF13D3069}"/>
                  </a:ext>
                </a:extLst>
              </p:cNvPr>
              <p:cNvSpPr txBox="1"/>
              <p:nvPr/>
            </p:nvSpPr>
            <p:spPr>
              <a:xfrm>
                <a:off x="8916454" y="4040446"/>
                <a:ext cx="7800212"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XX</a:t>
                </a:r>
                <a:r>
                  <a:rPr kumimoji="1" lang="ja-JP" altLang="en-US" sz="2800" spc="50" dirty="0">
                    <a:latin typeface="+mn-ea"/>
                    <a:ea typeface="+mn-ea"/>
                  </a:rPr>
                  <a:t>のキャラクターのイラストを描いてください</a:t>
                </a:r>
              </a:p>
            </p:txBody>
          </p:sp>
          <p:sp>
            <p:nvSpPr>
              <p:cNvPr id="14" name="テキスト ボックス 13">
                <a:extLst>
                  <a:ext uri="{FF2B5EF4-FFF2-40B4-BE49-F238E27FC236}">
                    <a16:creationId xmlns:a16="http://schemas.microsoft.com/office/drawing/2014/main" id="{D30B262C-797E-3F7F-772E-351EC160EA4E}"/>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7" name="グループ化 6">
              <a:extLst>
                <a:ext uri="{FF2B5EF4-FFF2-40B4-BE49-F238E27FC236}">
                  <a16:creationId xmlns:a16="http://schemas.microsoft.com/office/drawing/2014/main" id="{9794BE69-9AF3-54CB-2801-D6FAA9DDECFB}"/>
                </a:ext>
              </a:extLst>
            </p:cNvPr>
            <p:cNvGrpSpPr/>
            <p:nvPr/>
          </p:nvGrpSpPr>
          <p:grpSpPr>
            <a:xfrm>
              <a:off x="7945117" y="5420469"/>
              <a:ext cx="6944126" cy="1800000"/>
              <a:chOff x="7945117" y="5500579"/>
              <a:chExt cx="6944126" cy="1800000"/>
            </a:xfrm>
          </p:grpSpPr>
          <p:sp>
            <p:nvSpPr>
              <p:cNvPr id="11" name="テキスト ボックス 10">
                <a:extLst>
                  <a:ext uri="{FF2B5EF4-FFF2-40B4-BE49-F238E27FC236}">
                    <a16:creationId xmlns:a16="http://schemas.microsoft.com/office/drawing/2014/main" id="{680BF00E-0E8B-5D26-902A-AAC4C7C41409}"/>
                  </a:ext>
                </a:extLst>
              </p:cNvPr>
              <p:cNvSpPr txBox="1"/>
              <p:nvPr/>
            </p:nvSpPr>
            <p:spPr>
              <a:xfrm>
                <a:off x="8916454" y="5936414"/>
                <a:ext cx="597278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アイドル「</a:t>
                </a:r>
                <a:r>
                  <a:rPr kumimoji="1" lang="en-US" altLang="ja-JP" sz="2800" spc="50" dirty="0">
                    <a:latin typeface="+mn-ea"/>
                    <a:ea typeface="+mn-ea"/>
                  </a:rPr>
                  <a:t>XX</a:t>
                </a:r>
                <a:r>
                  <a:rPr kumimoji="1" lang="ja-JP" altLang="en-US" sz="2800" spc="50" dirty="0">
                    <a:latin typeface="+mn-ea"/>
                    <a:ea typeface="+mn-ea"/>
                  </a:rPr>
                  <a:t>」にそっくりの写真を</a:t>
                </a:r>
                <a:br>
                  <a:rPr kumimoji="1" lang="en-US" altLang="ja-JP" sz="2800" spc="50" dirty="0">
                    <a:latin typeface="+mn-ea"/>
                    <a:ea typeface="+mn-ea"/>
                  </a:rPr>
                </a:br>
                <a:r>
                  <a:rPr kumimoji="1" lang="ja-JP" altLang="en-US" sz="2800" spc="50" dirty="0">
                    <a:latin typeface="+mn-ea"/>
                    <a:ea typeface="+mn-ea"/>
                  </a:rPr>
                  <a:t>生成してしてください</a:t>
                </a:r>
              </a:p>
            </p:txBody>
          </p:sp>
          <p:sp>
            <p:nvSpPr>
              <p:cNvPr id="12" name="テキスト ボックス 11">
                <a:extLst>
                  <a:ext uri="{FF2B5EF4-FFF2-40B4-BE49-F238E27FC236}">
                    <a16:creationId xmlns:a16="http://schemas.microsoft.com/office/drawing/2014/main" id="{5A9BBFAB-EF7B-B5E5-3E0F-AA752F083072}"/>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8" name="グループ化 7">
              <a:extLst>
                <a:ext uri="{FF2B5EF4-FFF2-40B4-BE49-F238E27FC236}">
                  <a16:creationId xmlns:a16="http://schemas.microsoft.com/office/drawing/2014/main" id="{E0F6B272-5995-764F-BFDE-4B5C2957A5F5}"/>
                </a:ext>
              </a:extLst>
            </p:cNvPr>
            <p:cNvGrpSpPr/>
            <p:nvPr/>
          </p:nvGrpSpPr>
          <p:grpSpPr>
            <a:xfrm>
              <a:off x="7945117" y="7766203"/>
              <a:ext cx="8771549" cy="1800000"/>
              <a:chOff x="7945117" y="7633369"/>
              <a:chExt cx="8771549" cy="1800000"/>
            </a:xfrm>
          </p:grpSpPr>
          <p:sp>
            <p:nvSpPr>
              <p:cNvPr id="9" name="テキスト ボックス 8">
                <a:extLst>
                  <a:ext uri="{FF2B5EF4-FFF2-40B4-BE49-F238E27FC236}">
                    <a16:creationId xmlns:a16="http://schemas.microsoft.com/office/drawing/2014/main" id="{EF789BA3-91EA-AD1C-88F7-FE080E06693D}"/>
                  </a:ext>
                </a:extLst>
              </p:cNvPr>
              <p:cNvSpPr txBox="1"/>
              <p:nvPr/>
            </p:nvSpPr>
            <p:spPr>
              <a:xfrm>
                <a:off x="8916454" y="8306192"/>
                <a:ext cx="7800212"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XX</a:t>
                </a:r>
                <a:r>
                  <a:rPr kumimoji="1" lang="ja-JP" altLang="en-US" sz="2800" spc="50" dirty="0">
                    <a:latin typeface="+mn-ea"/>
                    <a:ea typeface="+mn-ea"/>
                  </a:rPr>
                  <a:t>の新商品のキャッチコピーを考えてください</a:t>
                </a:r>
              </a:p>
            </p:txBody>
          </p:sp>
          <p:sp>
            <p:nvSpPr>
              <p:cNvPr id="10" name="テキスト ボックス 9">
                <a:extLst>
                  <a:ext uri="{FF2B5EF4-FFF2-40B4-BE49-F238E27FC236}">
                    <a16:creationId xmlns:a16="http://schemas.microsoft.com/office/drawing/2014/main" id="{1E8582B3-D03D-E68D-131B-C28124B40155}"/>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7757F62C-FB39-0F05-571C-C98FF4963659}"/>
              </a:ext>
            </a:extLst>
          </p:cNvPr>
          <p:cNvSpPr>
            <a:spLocks noGrp="1"/>
          </p:cNvSpPr>
          <p:nvPr>
            <p:ph type="sldNum" sz="quarter" idx="11"/>
          </p:nvPr>
        </p:nvSpPr>
        <p:spPr>
          <a:xfrm>
            <a:off x="17695001" y="9786651"/>
            <a:ext cx="327013" cy="307777"/>
          </a:xfrm>
        </p:spPr>
        <p:txBody>
          <a:bodyPr/>
          <a:lstStyle/>
          <a:p>
            <a:r>
              <a:rPr lang="en-US" altLang="ja-JP"/>
              <a:t>60</a:t>
            </a:r>
            <a:endParaRPr lang="ja-JP" altLang="en-US" dirty="0"/>
          </a:p>
        </p:txBody>
      </p:sp>
    </p:spTree>
    <p:extLst>
      <p:ext uri="{BB962C8B-B14F-4D97-AF65-F5344CB8AC3E}">
        <p14:creationId xmlns:p14="http://schemas.microsoft.com/office/powerpoint/2010/main" val="58187886"/>
      </p:ext>
    </p:extLst>
  </p:cSld>
  <p:clrMapOvr>
    <a:masterClrMapping/>
  </p:clrMapOvr>
</p:sld>
</file>

<file path=ppt/slides/slide6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579BBC05-8952-0F91-D160-3E7BDAE98DB7}"/>
              </a:ext>
            </a:extLst>
          </p:cNvPr>
          <p:cNvGrpSpPr/>
          <p:nvPr/>
        </p:nvGrpSpPr>
        <p:grpSpPr>
          <a:xfrm>
            <a:off x="7945117" y="724103"/>
            <a:ext cx="9467253" cy="8837206"/>
            <a:chOff x="7945117" y="728997"/>
            <a:chExt cx="9467253" cy="8837206"/>
          </a:xfrm>
        </p:grpSpPr>
        <p:grpSp>
          <p:nvGrpSpPr>
            <p:cNvPr id="4" name="グループ化 3">
              <a:extLst>
                <a:ext uri="{FF2B5EF4-FFF2-40B4-BE49-F238E27FC236}">
                  <a16:creationId xmlns:a16="http://schemas.microsoft.com/office/drawing/2014/main" id="{D7AC1874-503D-6ECA-62D7-B9E14F2D8541}"/>
                </a:ext>
              </a:extLst>
            </p:cNvPr>
            <p:cNvGrpSpPr/>
            <p:nvPr/>
          </p:nvGrpSpPr>
          <p:grpSpPr>
            <a:xfrm>
              <a:off x="7945117" y="728997"/>
              <a:ext cx="8406065" cy="1800000"/>
              <a:chOff x="7945117" y="1234999"/>
              <a:chExt cx="8406065" cy="1800000"/>
            </a:xfrm>
          </p:grpSpPr>
          <p:sp>
            <p:nvSpPr>
              <p:cNvPr id="14" name="テキスト ボックス 13">
                <a:extLst>
                  <a:ext uri="{FF2B5EF4-FFF2-40B4-BE49-F238E27FC236}">
                    <a16:creationId xmlns:a16="http://schemas.microsoft.com/office/drawing/2014/main" id="{EBB4615F-8395-3191-9BA3-EE3616F7EE1A}"/>
                  </a:ext>
                </a:extLst>
              </p:cNvPr>
              <p:cNvSpPr txBox="1"/>
              <p:nvPr userDrawn="1"/>
            </p:nvSpPr>
            <p:spPr>
              <a:xfrm>
                <a:off x="8916454" y="1907822"/>
                <a:ext cx="7434728"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XX</a:t>
                </a:r>
                <a:r>
                  <a:rPr kumimoji="1" lang="ja-JP" altLang="en-US" sz="2800" spc="50" dirty="0">
                    <a:latin typeface="+mn-ea"/>
                    <a:ea typeface="+mn-ea"/>
                  </a:rPr>
                  <a:t>のロゴに似ているロゴを作成してください</a:t>
                </a:r>
              </a:p>
            </p:txBody>
          </p:sp>
          <p:sp>
            <p:nvSpPr>
              <p:cNvPr id="15" name="テキスト ボックス 14">
                <a:extLst>
                  <a:ext uri="{FF2B5EF4-FFF2-40B4-BE49-F238E27FC236}">
                    <a16:creationId xmlns:a16="http://schemas.microsoft.com/office/drawing/2014/main" id="{D0E07ED5-D37E-0017-E079-F48878196EBF}"/>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5" name="グループ化 4">
              <a:extLst>
                <a:ext uri="{FF2B5EF4-FFF2-40B4-BE49-F238E27FC236}">
                  <a16:creationId xmlns:a16="http://schemas.microsoft.com/office/drawing/2014/main" id="{C7DDAFE1-C70C-5605-950C-19F0E9A9F776}"/>
                </a:ext>
              </a:extLst>
            </p:cNvPr>
            <p:cNvGrpSpPr/>
            <p:nvPr/>
          </p:nvGrpSpPr>
          <p:grpSpPr>
            <a:xfrm>
              <a:off x="7945117" y="3074733"/>
              <a:ext cx="8771549" cy="1800000"/>
              <a:chOff x="7945117" y="3367623"/>
              <a:chExt cx="8771549" cy="1800000"/>
            </a:xfrm>
          </p:grpSpPr>
          <p:sp>
            <p:nvSpPr>
              <p:cNvPr id="12" name="テキスト ボックス 11">
                <a:extLst>
                  <a:ext uri="{FF2B5EF4-FFF2-40B4-BE49-F238E27FC236}">
                    <a16:creationId xmlns:a16="http://schemas.microsoft.com/office/drawing/2014/main" id="{84D8A928-1B17-78E7-E00B-61127E273DFA}"/>
                  </a:ext>
                </a:extLst>
              </p:cNvPr>
              <p:cNvSpPr txBox="1"/>
              <p:nvPr/>
            </p:nvSpPr>
            <p:spPr>
              <a:xfrm>
                <a:off x="8916454" y="4040446"/>
                <a:ext cx="7800212" cy="454355"/>
              </a:xfrm>
              <a:prstGeom prst="rect">
                <a:avLst/>
              </a:prstGeom>
              <a:noFill/>
            </p:spPr>
            <p:txBody>
              <a:bodyPr wrap="none" lIns="0" tIns="0" rIns="0" bIns="0" rtlCol="0" anchor="ctr">
                <a:spAutoFit/>
              </a:bodyPr>
              <a:lstStyle/>
              <a:p>
                <a:pPr algn="l">
                  <a:lnSpc>
                    <a:spcPct val="110000"/>
                  </a:lnSpc>
                </a:pPr>
                <a:r>
                  <a:rPr kumimoji="1" lang="en-US" altLang="ja-JP" sz="2800" spc="50" dirty="0">
                    <a:latin typeface="+mn-ea"/>
                    <a:ea typeface="+mn-ea"/>
                  </a:rPr>
                  <a:t>XX</a:t>
                </a:r>
                <a:r>
                  <a:rPr kumimoji="1" lang="ja-JP" altLang="en-US" sz="2800" spc="50" dirty="0">
                    <a:latin typeface="+mn-ea"/>
                    <a:ea typeface="+mn-ea"/>
                  </a:rPr>
                  <a:t>のキャラクターのイラストを描いてください</a:t>
                </a:r>
              </a:p>
            </p:txBody>
          </p:sp>
          <p:sp>
            <p:nvSpPr>
              <p:cNvPr id="13" name="テキスト ボックス 12">
                <a:extLst>
                  <a:ext uri="{FF2B5EF4-FFF2-40B4-BE49-F238E27FC236}">
                    <a16:creationId xmlns:a16="http://schemas.microsoft.com/office/drawing/2014/main" id="{6E395CF0-CA2F-7B5F-4325-D382009FEF97}"/>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6" name="グループ化 5">
              <a:extLst>
                <a:ext uri="{FF2B5EF4-FFF2-40B4-BE49-F238E27FC236}">
                  <a16:creationId xmlns:a16="http://schemas.microsoft.com/office/drawing/2014/main" id="{24D528AA-EE44-5EF5-088D-D767529908F1}"/>
                </a:ext>
              </a:extLst>
            </p:cNvPr>
            <p:cNvGrpSpPr/>
            <p:nvPr/>
          </p:nvGrpSpPr>
          <p:grpSpPr>
            <a:xfrm>
              <a:off x="7945117" y="5420469"/>
              <a:ext cx="6944126" cy="1800000"/>
              <a:chOff x="7945117" y="5500579"/>
              <a:chExt cx="6944126" cy="1800000"/>
            </a:xfrm>
          </p:grpSpPr>
          <p:sp>
            <p:nvSpPr>
              <p:cNvPr id="10" name="テキスト ボックス 9">
                <a:extLst>
                  <a:ext uri="{FF2B5EF4-FFF2-40B4-BE49-F238E27FC236}">
                    <a16:creationId xmlns:a16="http://schemas.microsoft.com/office/drawing/2014/main" id="{5CE42201-3996-E46C-6757-AFE31A344BA8}"/>
                  </a:ext>
                </a:extLst>
              </p:cNvPr>
              <p:cNvSpPr txBox="1"/>
              <p:nvPr/>
            </p:nvSpPr>
            <p:spPr>
              <a:xfrm>
                <a:off x="8916454" y="5936414"/>
                <a:ext cx="597278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アイドル「</a:t>
                </a:r>
                <a:r>
                  <a:rPr kumimoji="1" lang="en-US" altLang="ja-JP" sz="2800" spc="50" dirty="0">
                    <a:latin typeface="+mn-ea"/>
                    <a:ea typeface="+mn-ea"/>
                  </a:rPr>
                  <a:t>XX</a:t>
                </a:r>
                <a:r>
                  <a:rPr kumimoji="1" lang="ja-JP" altLang="en-US" sz="2800" spc="50" dirty="0">
                    <a:latin typeface="+mn-ea"/>
                    <a:ea typeface="+mn-ea"/>
                  </a:rPr>
                  <a:t>」にそっくりの写真を</a:t>
                </a:r>
                <a:br>
                  <a:rPr kumimoji="1" lang="en-US" altLang="ja-JP" sz="2800" spc="50" dirty="0">
                    <a:latin typeface="+mn-ea"/>
                    <a:ea typeface="+mn-ea"/>
                  </a:rPr>
                </a:br>
                <a:r>
                  <a:rPr kumimoji="1" lang="ja-JP" altLang="en-US" sz="2800" spc="50" dirty="0">
                    <a:latin typeface="+mn-ea"/>
                    <a:ea typeface="+mn-ea"/>
                  </a:rPr>
                  <a:t>生成してしてください</a:t>
                </a:r>
              </a:p>
            </p:txBody>
          </p:sp>
          <p:sp>
            <p:nvSpPr>
              <p:cNvPr id="11" name="テキスト ボックス 10">
                <a:extLst>
                  <a:ext uri="{FF2B5EF4-FFF2-40B4-BE49-F238E27FC236}">
                    <a16:creationId xmlns:a16="http://schemas.microsoft.com/office/drawing/2014/main" id="{D1918D58-A615-4624-10F4-C1C8E79CFCD8}"/>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7" name="グループ化 6">
              <a:extLst>
                <a:ext uri="{FF2B5EF4-FFF2-40B4-BE49-F238E27FC236}">
                  <a16:creationId xmlns:a16="http://schemas.microsoft.com/office/drawing/2014/main" id="{74E4D1C6-698B-077E-FB58-6FF10A2517B8}"/>
                </a:ext>
              </a:extLst>
            </p:cNvPr>
            <p:cNvGrpSpPr/>
            <p:nvPr/>
          </p:nvGrpSpPr>
          <p:grpSpPr>
            <a:xfrm>
              <a:off x="7945117" y="7766203"/>
              <a:ext cx="9467253" cy="1800000"/>
              <a:chOff x="7945117" y="7633369"/>
              <a:chExt cx="9467253" cy="1800000"/>
            </a:xfrm>
          </p:grpSpPr>
          <p:sp>
            <p:nvSpPr>
              <p:cNvPr id="8" name="テキスト ボックス 7">
                <a:extLst>
                  <a:ext uri="{FF2B5EF4-FFF2-40B4-BE49-F238E27FC236}">
                    <a16:creationId xmlns:a16="http://schemas.microsoft.com/office/drawing/2014/main" id="{B54E9686-8317-CCE3-37A6-AA4A146AD6F8}"/>
                  </a:ext>
                </a:extLst>
              </p:cNvPr>
              <p:cNvSpPr txBox="1"/>
              <p:nvPr/>
            </p:nvSpPr>
            <p:spPr>
              <a:xfrm>
                <a:off x="8916454" y="7662266"/>
                <a:ext cx="8495916" cy="174220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この指示が直ちに知的財産権やパブリシティ権の侵害に</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なることはない。ただし、生成物が既存の著作物と類似</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していないか確認が必要。</a:t>
                </a:r>
              </a:p>
            </p:txBody>
          </p:sp>
          <p:sp>
            <p:nvSpPr>
              <p:cNvPr id="9" name="テキスト ボックス 8">
                <a:extLst>
                  <a:ext uri="{FF2B5EF4-FFF2-40B4-BE49-F238E27FC236}">
                    <a16:creationId xmlns:a16="http://schemas.microsoft.com/office/drawing/2014/main" id="{CF0CE72A-72A9-0893-879D-52127F6B1A0F}"/>
                  </a:ext>
                </a:extLst>
              </p:cNvPr>
              <p:cNvSpPr txBox="1">
                <a:spLocks/>
              </p:cNvSpPr>
              <p:nvPr/>
            </p:nvSpPr>
            <p:spPr>
              <a:xfrm>
                <a:off x="7945117" y="763336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16" name="グループ化 15">
            <a:extLst>
              <a:ext uri="{FF2B5EF4-FFF2-40B4-BE49-F238E27FC236}">
                <a16:creationId xmlns:a16="http://schemas.microsoft.com/office/drawing/2014/main" id="{6ACDC037-5905-6B2E-4DA5-19AD49647EB8}"/>
              </a:ext>
            </a:extLst>
          </p:cNvPr>
          <p:cNvGrpSpPr/>
          <p:nvPr/>
        </p:nvGrpSpPr>
        <p:grpSpPr>
          <a:xfrm>
            <a:off x="1593860" y="2604635"/>
            <a:ext cx="4153758" cy="1170649"/>
            <a:chOff x="2073291" y="2604635"/>
            <a:chExt cx="4153758" cy="1170649"/>
          </a:xfrm>
        </p:grpSpPr>
        <p:sp>
          <p:nvSpPr>
            <p:cNvPr id="17" name="四角形: 角を丸くする 16">
              <a:extLst>
                <a:ext uri="{FF2B5EF4-FFF2-40B4-BE49-F238E27FC236}">
                  <a16:creationId xmlns:a16="http://schemas.microsoft.com/office/drawing/2014/main" id="{2284F830-6514-40C6-B470-64E0CDC165E0}"/>
                </a:ext>
              </a:extLst>
            </p:cNvPr>
            <p:cNvSpPr/>
            <p:nvPr/>
          </p:nvSpPr>
          <p:spPr>
            <a:xfrm>
              <a:off x="2073291" y="2604635"/>
              <a:ext cx="1170649" cy="1170649"/>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8" name="テキスト ボックス 17">
              <a:extLst>
                <a:ext uri="{FF2B5EF4-FFF2-40B4-BE49-F238E27FC236}">
                  <a16:creationId xmlns:a16="http://schemas.microsoft.com/office/drawing/2014/main" id="{8669B9B8-66FE-62A7-F3ED-52A0D636E47B}"/>
                </a:ext>
              </a:extLst>
            </p:cNvPr>
            <p:cNvSpPr txBox="1">
              <a:spLocks/>
            </p:cNvSpPr>
            <p:nvPr/>
          </p:nvSpPr>
          <p:spPr>
            <a:xfrm>
              <a:off x="3607070"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19" name="テキスト ボックス 18">
              <a:extLst>
                <a:ext uri="{FF2B5EF4-FFF2-40B4-BE49-F238E27FC236}">
                  <a16:creationId xmlns:a16="http://schemas.microsoft.com/office/drawing/2014/main" id="{09CDBC83-A126-016A-4FAF-8A18F44F2DBB}"/>
                </a:ext>
              </a:extLst>
            </p:cNvPr>
            <p:cNvSpPr txBox="1">
              <a:spLocks/>
            </p:cNvSpPr>
            <p:nvPr/>
          </p:nvSpPr>
          <p:spPr>
            <a:xfrm>
              <a:off x="4554112"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sp>
          <p:nvSpPr>
            <p:cNvPr id="20" name="テキスト ボックス 19">
              <a:extLst>
                <a:ext uri="{FF2B5EF4-FFF2-40B4-BE49-F238E27FC236}">
                  <a16:creationId xmlns:a16="http://schemas.microsoft.com/office/drawing/2014/main" id="{2DB874CD-87C7-78C6-A540-1180D73B7B34}"/>
                </a:ext>
              </a:extLst>
            </p:cNvPr>
            <p:cNvSpPr txBox="1">
              <a:spLocks/>
            </p:cNvSpPr>
            <p:nvPr/>
          </p:nvSpPr>
          <p:spPr>
            <a:xfrm>
              <a:off x="5501154" y="2827923"/>
              <a:ext cx="725895" cy="724072"/>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sp>
        <p:nvSpPr>
          <p:cNvPr id="21" name="テキスト ボックス 20">
            <a:extLst>
              <a:ext uri="{FF2B5EF4-FFF2-40B4-BE49-F238E27FC236}">
                <a16:creationId xmlns:a16="http://schemas.microsoft.com/office/drawing/2014/main" id="{5D4F45CD-C09C-4221-EDD1-EEABDBEFCD0D}"/>
              </a:ext>
            </a:extLst>
          </p:cNvPr>
          <p:cNvSpPr txBox="1"/>
          <p:nvPr/>
        </p:nvSpPr>
        <p:spPr>
          <a:xfrm>
            <a:off x="754084" y="4659559"/>
            <a:ext cx="5845132" cy="1520801"/>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既存のものと類似した生成物が作成される可能性が非常に高いため、適切ではない。</a:t>
            </a:r>
          </a:p>
        </p:txBody>
      </p:sp>
      <p:sp>
        <p:nvSpPr>
          <p:cNvPr id="28" name="楕円 27">
            <a:extLst>
              <a:ext uri="{FF2B5EF4-FFF2-40B4-BE49-F238E27FC236}">
                <a16:creationId xmlns:a16="http://schemas.microsoft.com/office/drawing/2014/main" id="{2EDFBFBD-1986-A0D1-7F47-E1020EF6B349}"/>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9" name="楕円 28">
            <a:extLst>
              <a:ext uri="{FF2B5EF4-FFF2-40B4-BE49-F238E27FC236}">
                <a16:creationId xmlns:a16="http://schemas.microsoft.com/office/drawing/2014/main" id="{9E6392A7-1E59-C454-4553-B9C5D4CAA8C9}"/>
              </a:ext>
            </a:extLst>
          </p:cNvPr>
          <p:cNvSpPr/>
          <p:nvPr/>
        </p:nvSpPr>
        <p:spPr>
          <a:xfrm>
            <a:off x="11855837" y="3131370"/>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30" name="楕円 29">
            <a:extLst>
              <a:ext uri="{FF2B5EF4-FFF2-40B4-BE49-F238E27FC236}">
                <a16:creationId xmlns:a16="http://schemas.microsoft.com/office/drawing/2014/main" id="{D1915F1C-95C7-9223-16B6-309463BC264E}"/>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B02FF5D0-5DA6-A21D-18D3-02E18F5876DD}"/>
              </a:ext>
            </a:extLst>
          </p:cNvPr>
          <p:cNvSpPr>
            <a:spLocks noGrp="1"/>
          </p:cNvSpPr>
          <p:nvPr>
            <p:ph type="sldNum" sz="quarter" idx="11"/>
          </p:nvPr>
        </p:nvSpPr>
        <p:spPr>
          <a:xfrm>
            <a:off x="17695001" y="9786651"/>
            <a:ext cx="327013" cy="307777"/>
          </a:xfrm>
        </p:spPr>
        <p:txBody>
          <a:bodyPr/>
          <a:lstStyle/>
          <a:p>
            <a:r>
              <a:rPr lang="en-US" altLang="ja-JP"/>
              <a:t>61</a:t>
            </a:r>
            <a:endParaRPr lang="ja-JP" altLang="en-US" dirty="0"/>
          </a:p>
        </p:txBody>
      </p:sp>
    </p:spTree>
    <p:extLst>
      <p:ext uri="{BB962C8B-B14F-4D97-AF65-F5344CB8AC3E}">
        <p14:creationId xmlns:p14="http://schemas.microsoft.com/office/powerpoint/2010/main" val="3487315977"/>
      </p:ext>
    </p:extLst>
  </p:cSld>
  <p:clrMapOvr>
    <a:masterClrMapping/>
  </p:clrMapOvr>
</p:sld>
</file>

<file path=ppt/slides/slide6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75248399-FB3C-31F8-F5F5-5BD56BE68385}"/>
              </a:ext>
            </a:extLst>
          </p:cNvPr>
          <p:cNvSpPr>
            <a:spLocks noGrp="1"/>
          </p:cNvSpPr>
          <p:nvPr>
            <p:ph type="sldNum" sz="quarter" idx="11"/>
          </p:nvPr>
        </p:nvSpPr>
        <p:spPr>
          <a:xfrm>
            <a:off x="17695001" y="9786651"/>
            <a:ext cx="327013" cy="307777"/>
          </a:xfrm>
        </p:spPr>
        <p:txBody>
          <a:bodyPr/>
          <a:lstStyle/>
          <a:p>
            <a:r>
              <a:rPr lang="en-US" altLang="ja-JP"/>
              <a:t>62</a:t>
            </a:r>
            <a:endParaRPr lang="ja-JP" altLang="en-US" dirty="0"/>
          </a:p>
        </p:txBody>
      </p:sp>
      <p:sp>
        <p:nvSpPr>
          <p:cNvPr id="2" name="テキスト ボックス 1">
            <a:extLst>
              <a:ext uri="{FF2B5EF4-FFF2-40B4-BE49-F238E27FC236}">
                <a16:creationId xmlns:a16="http://schemas.microsoft.com/office/drawing/2014/main" id="{8B299E74-B5A3-9740-EFBD-0407C600AE4E}"/>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3BA61249-8622-F689-8C70-2E9A8E11FBC0}"/>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810797266"/>
      </p:ext>
    </p:extLst>
  </p:cSld>
  <p:clrMapOvr>
    <a:masterClrMapping/>
  </p:clrMapOvr>
</p:sld>
</file>

<file path=ppt/slides/slide6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3F91B521-020B-2B08-6D67-2CC57FA71E41}"/>
              </a:ext>
            </a:extLst>
          </p:cNvPr>
          <p:cNvSpPr>
            <a:spLocks noGrp="1"/>
          </p:cNvSpPr>
          <p:nvPr>
            <p:ph type="title"/>
          </p:nvPr>
        </p:nvSpPr>
        <p:spPr>
          <a:xfrm>
            <a:off x="891741" y="506301"/>
            <a:ext cx="10619895" cy="492443"/>
          </a:xfrm>
        </p:spPr>
        <p:txBody>
          <a:bodyPr/>
          <a:lstStyle/>
          <a:p>
            <a:r>
              <a:rPr lang="ja-JP" altLang="en-US" dirty="0"/>
              <a:t>生成</a:t>
            </a:r>
            <a:r>
              <a:rPr lang="en-US" altLang="ja-JP" dirty="0"/>
              <a:t>AI</a:t>
            </a:r>
            <a:r>
              <a:rPr lang="ja-JP" altLang="en-US" dirty="0"/>
              <a:t>を活用する際は、モラルを守った行動を心がける</a:t>
            </a:r>
          </a:p>
        </p:txBody>
      </p:sp>
      <p:sp>
        <p:nvSpPr>
          <p:cNvPr id="3" name="スライド番号プレースホルダー 2">
            <a:extLst>
              <a:ext uri="{FF2B5EF4-FFF2-40B4-BE49-F238E27FC236}">
                <a16:creationId xmlns:a16="http://schemas.microsoft.com/office/drawing/2014/main" id="{4A2796B1-E972-8FCA-1A1C-BF3AC3CB82B9}"/>
              </a:ext>
            </a:extLst>
          </p:cNvPr>
          <p:cNvSpPr>
            <a:spLocks noGrp="1"/>
          </p:cNvSpPr>
          <p:nvPr>
            <p:ph type="sldNum" sz="quarter" idx="11"/>
          </p:nvPr>
        </p:nvSpPr>
        <p:spPr>
          <a:xfrm>
            <a:off x="17695001" y="9786651"/>
            <a:ext cx="327013" cy="307777"/>
          </a:xfrm>
        </p:spPr>
        <p:txBody>
          <a:bodyPr/>
          <a:lstStyle/>
          <a:p>
            <a:r>
              <a:rPr lang="en-US" altLang="ja-JP"/>
              <a:t>63</a:t>
            </a:r>
            <a:endParaRPr lang="ja-JP" altLang="en-US" dirty="0"/>
          </a:p>
        </p:txBody>
      </p:sp>
      <p:grpSp>
        <p:nvGrpSpPr>
          <p:cNvPr id="28" name="グループ化 27">
            <a:extLst>
              <a:ext uri="{FF2B5EF4-FFF2-40B4-BE49-F238E27FC236}">
                <a16:creationId xmlns:a16="http://schemas.microsoft.com/office/drawing/2014/main" id="{205240EF-8E61-A241-F34E-559A6E9DCBA3}"/>
              </a:ext>
            </a:extLst>
          </p:cNvPr>
          <p:cNvGrpSpPr/>
          <p:nvPr/>
        </p:nvGrpSpPr>
        <p:grpSpPr>
          <a:xfrm>
            <a:off x="6535172" y="1607731"/>
            <a:ext cx="5217657" cy="8058782"/>
            <a:chOff x="6535172" y="1607731"/>
            <a:chExt cx="5217657" cy="8058782"/>
          </a:xfrm>
        </p:grpSpPr>
        <p:sp>
          <p:nvSpPr>
            <p:cNvPr id="9" name="四角形: 角を丸くする 8">
              <a:extLst>
                <a:ext uri="{FF2B5EF4-FFF2-40B4-BE49-F238E27FC236}">
                  <a16:creationId xmlns:a16="http://schemas.microsoft.com/office/drawing/2014/main" id="{63B70741-9A76-525A-9E83-D9B33805CEFA}"/>
                </a:ext>
              </a:extLst>
            </p:cNvPr>
            <p:cNvSpPr/>
            <p:nvPr/>
          </p:nvSpPr>
          <p:spPr>
            <a:xfrm>
              <a:off x="6535172"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2" name="四角形: 角を丸くする 11">
              <a:extLst>
                <a:ext uri="{FF2B5EF4-FFF2-40B4-BE49-F238E27FC236}">
                  <a16:creationId xmlns:a16="http://schemas.microsoft.com/office/drawing/2014/main" id="{BE59A326-5890-CF72-1B34-A38F637763D2}"/>
                </a:ext>
              </a:extLst>
            </p:cNvPr>
            <p:cNvSpPr/>
            <p:nvPr/>
          </p:nvSpPr>
          <p:spPr>
            <a:xfrm>
              <a:off x="8016426" y="1607731"/>
              <a:ext cx="225515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3200" spc="100" dirty="0">
                  <a:solidFill>
                    <a:schemeClr val="bg1"/>
                  </a:solidFill>
                  <a:latin typeface="+mj-ea"/>
                  <a:ea typeface="+mj-ea"/>
                </a:rPr>
                <a:t>モラル２</a:t>
              </a:r>
              <a:endParaRPr kumimoji="1" lang="ja-JP" altLang="en-US" sz="3200" spc="100" dirty="0">
                <a:solidFill>
                  <a:schemeClr val="bg1"/>
                </a:solidFill>
                <a:latin typeface="+mj-ea"/>
                <a:ea typeface="+mj-ea"/>
              </a:endParaRPr>
            </a:p>
          </p:txBody>
        </p:sp>
        <p:sp>
          <p:nvSpPr>
            <p:cNvPr id="15" name="テキスト ボックス 14">
              <a:extLst>
                <a:ext uri="{FF2B5EF4-FFF2-40B4-BE49-F238E27FC236}">
                  <a16:creationId xmlns:a16="http://schemas.microsoft.com/office/drawing/2014/main" id="{7759EF4B-D39D-EA71-B640-18644284000A}"/>
                </a:ext>
              </a:extLst>
            </p:cNvPr>
            <p:cNvSpPr txBox="1"/>
            <p:nvPr/>
          </p:nvSpPr>
          <p:spPr>
            <a:xfrm>
              <a:off x="7246044" y="6995549"/>
              <a:ext cx="3795911" cy="1955279"/>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が作った</a:t>
              </a:r>
              <a:br>
                <a:rPr kumimoji="1" lang="en-US" altLang="ja-JP" sz="3600" spc="100" dirty="0">
                  <a:latin typeface="+mj-ea"/>
                  <a:ea typeface="+mj-ea"/>
                </a:rPr>
              </a:br>
              <a:r>
                <a:rPr kumimoji="1" lang="ja-JP" altLang="en-US" sz="3600" spc="100" dirty="0">
                  <a:latin typeface="+mj-ea"/>
                  <a:ea typeface="+mj-ea"/>
                </a:rPr>
                <a:t>偏見のある回答を</a:t>
              </a:r>
              <a:br>
                <a:rPr kumimoji="1" lang="en-US" altLang="ja-JP" sz="3600" spc="100" dirty="0">
                  <a:latin typeface="+mj-ea"/>
                  <a:ea typeface="+mj-ea"/>
                </a:rPr>
              </a:br>
              <a:r>
                <a:rPr kumimoji="1" lang="ja-JP" altLang="en-US" sz="3600" spc="100" dirty="0">
                  <a:latin typeface="+mj-ea"/>
                  <a:ea typeface="+mj-ea"/>
                </a:rPr>
                <a:t>使用しない</a:t>
              </a:r>
            </a:p>
          </p:txBody>
        </p:sp>
        <p:pic>
          <p:nvPicPr>
            <p:cNvPr id="6" name="図 5">
              <a:extLst>
                <a:ext uri="{FF2B5EF4-FFF2-40B4-BE49-F238E27FC236}">
                  <a16:creationId xmlns:a16="http://schemas.microsoft.com/office/drawing/2014/main" id="{FDC2B0B2-9D9E-C6A0-C073-3290F1B7E92F}"/>
                </a:ext>
              </a:extLst>
            </p:cNvPr>
            <p:cNvPicPr>
              <a:picLocks noChangeAspect="1"/>
            </p:cNvPicPr>
            <p:nvPr/>
          </p:nvPicPr>
          <p:blipFill>
            <a:blip r:embed="rId3"/>
            <a:stretch>
              <a:fillRect/>
            </a:stretch>
          </p:blipFill>
          <p:spPr>
            <a:xfrm>
              <a:off x="7796667" y="2841145"/>
              <a:ext cx="2694666" cy="3664014"/>
            </a:xfrm>
            <a:prstGeom prst="rect">
              <a:avLst/>
            </a:prstGeom>
          </p:spPr>
        </p:pic>
      </p:grpSp>
      <p:grpSp>
        <p:nvGrpSpPr>
          <p:cNvPr id="30" name="グループ化 29">
            <a:extLst>
              <a:ext uri="{FF2B5EF4-FFF2-40B4-BE49-F238E27FC236}">
                <a16:creationId xmlns:a16="http://schemas.microsoft.com/office/drawing/2014/main" id="{7FE4E7B9-678E-92DA-EA6F-D76DCE0442CB}"/>
              </a:ext>
            </a:extLst>
          </p:cNvPr>
          <p:cNvGrpSpPr/>
          <p:nvPr/>
        </p:nvGrpSpPr>
        <p:grpSpPr>
          <a:xfrm>
            <a:off x="12178602" y="1651010"/>
            <a:ext cx="5217657" cy="8015503"/>
            <a:chOff x="12178602" y="1651010"/>
            <a:chExt cx="5217657" cy="8015503"/>
          </a:xfrm>
        </p:grpSpPr>
        <p:sp>
          <p:nvSpPr>
            <p:cNvPr id="10" name="四角形: 角を丸くする 9">
              <a:extLst>
                <a:ext uri="{FF2B5EF4-FFF2-40B4-BE49-F238E27FC236}">
                  <a16:creationId xmlns:a16="http://schemas.microsoft.com/office/drawing/2014/main" id="{71509148-2541-76C9-E0CF-192395FD0C5D}"/>
                </a:ext>
              </a:extLst>
            </p:cNvPr>
            <p:cNvSpPr/>
            <p:nvPr/>
          </p:nvSpPr>
          <p:spPr>
            <a:xfrm>
              <a:off x="12178602"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3" name="四角形: 角を丸くする 12">
              <a:extLst>
                <a:ext uri="{FF2B5EF4-FFF2-40B4-BE49-F238E27FC236}">
                  <a16:creationId xmlns:a16="http://schemas.microsoft.com/office/drawing/2014/main" id="{F6B4EE81-EA4D-8F9E-5774-678EF5DC0A9B}"/>
                </a:ext>
              </a:extLst>
            </p:cNvPr>
            <p:cNvSpPr/>
            <p:nvPr/>
          </p:nvSpPr>
          <p:spPr>
            <a:xfrm>
              <a:off x="13772373" y="1651010"/>
              <a:ext cx="2030126" cy="657026"/>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lang="ja-JP" altLang="en-US" sz="2800" spc="100">
                  <a:solidFill>
                    <a:schemeClr val="bg1"/>
                  </a:solidFill>
                  <a:latin typeface="+mj-ea"/>
                  <a:ea typeface="+mj-ea"/>
                </a:rPr>
                <a:t>モラル３</a:t>
              </a:r>
              <a:endParaRPr kumimoji="1" lang="ja-JP" altLang="en-US" sz="2800" spc="100" dirty="0">
                <a:solidFill>
                  <a:schemeClr val="bg1"/>
                </a:solidFill>
                <a:latin typeface="+mj-ea"/>
                <a:ea typeface="+mj-ea"/>
              </a:endParaRPr>
            </a:p>
          </p:txBody>
        </p:sp>
        <p:sp>
          <p:nvSpPr>
            <p:cNvPr id="16" name="テキスト ボックス 15">
              <a:extLst>
                <a:ext uri="{FF2B5EF4-FFF2-40B4-BE49-F238E27FC236}">
                  <a16:creationId xmlns:a16="http://schemas.microsoft.com/office/drawing/2014/main" id="{95A3ABF3-41AB-11A9-AA0F-79A88F5B1B67}"/>
                </a:ext>
              </a:extLst>
            </p:cNvPr>
            <p:cNvSpPr txBox="1"/>
            <p:nvPr/>
          </p:nvSpPr>
          <p:spPr>
            <a:xfrm>
              <a:off x="12889474" y="6995549"/>
              <a:ext cx="3795911" cy="1955279"/>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を</a:t>
              </a:r>
              <a:br>
                <a:rPr kumimoji="1" lang="en-US" altLang="ja-JP" sz="3600" spc="100" dirty="0">
                  <a:latin typeface="+mj-ea"/>
                  <a:ea typeface="+mj-ea"/>
                </a:rPr>
              </a:br>
              <a:r>
                <a:rPr kumimoji="1" lang="ja-JP" altLang="en-US" sz="3600" spc="100" dirty="0">
                  <a:latin typeface="+mj-ea"/>
                  <a:ea typeface="+mj-ea"/>
                </a:rPr>
                <a:t>非倫理的な行為や</a:t>
              </a:r>
              <a:br>
                <a:rPr kumimoji="1" lang="ja-JP" altLang="en-US" sz="3600" spc="100" dirty="0">
                  <a:latin typeface="+mj-ea"/>
                  <a:ea typeface="+mj-ea"/>
                </a:rPr>
              </a:br>
              <a:r>
                <a:rPr kumimoji="1" lang="ja-JP" altLang="en-US" sz="3600" spc="100" dirty="0">
                  <a:latin typeface="+mj-ea"/>
                  <a:ea typeface="+mj-ea"/>
                </a:rPr>
                <a:t>犯罪に悪用しない</a:t>
              </a:r>
            </a:p>
          </p:txBody>
        </p:sp>
        <p:pic>
          <p:nvPicPr>
            <p:cNvPr id="22" name="図 21">
              <a:extLst>
                <a:ext uri="{FF2B5EF4-FFF2-40B4-BE49-F238E27FC236}">
                  <a16:creationId xmlns:a16="http://schemas.microsoft.com/office/drawing/2014/main" id="{6DFF5F3B-4F9F-E2CD-9030-C5CA17CD984D}"/>
                </a:ext>
              </a:extLst>
            </p:cNvPr>
            <p:cNvPicPr>
              <a:picLocks noChangeAspect="1"/>
            </p:cNvPicPr>
            <p:nvPr/>
          </p:nvPicPr>
          <p:blipFill>
            <a:blip r:embed="rId4"/>
            <a:stretch>
              <a:fillRect/>
            </a:stretch>
          </p:blipFill>
          <p:spPr>
            <a:xfrm>
              <a:off x="13000522" y="3011658"/>
              <a:ext cx="3548180" cy="3206774"/>
            </a:xfrm>
            <a:prstGeom prst="rect">
              <a:avLst/>
            </a:prstGeom>
          </p:spPr>
        </p:pic>
      </p:grpSp>
      <p:grpSp>
        <p:nvGrpSpPr>
          <p:cNvPr id="27" name="グループ化 26">
            <a:extLst>
              <a:ext uri="{FF2B5EF4-FFF2-40B4-BE49-F238E27FC236}">
                <a16:creationId xmlns:a16="http://schemas.microsoft.com/office/drawing/2014/main" id="{9C8682E3-DBF5-7626-7310-E153959EC927}"/>
              </a:ext>
            </a:extLst>
          </p:cNvPr>
          <p:cNvGrpSpPr/>
          <p:nvPr/>
        </p:nvGrpSpPr>
        <p:grpSpPr>
          <a:xfrm>
            <a:off x="891741" y="1607731"/>
            <a:ext cx="5217657" cy="8058782"/>
            <a:chOff x="891741" y="1607731"/>
            <a:chExt cx="5217657" cy="8058782"/>
          </a:xfrm>
        </p:grpSpPr>
        <p:sp>
          <p:nvSpPr>
            <p:cNvPr id="8" name="四角形: 角を丸くする 7">
              <a:extLst>
                <a:ext uri="{FF2B5EF4-FFF2-40B4-BE49-F238E27FC236}">
                  <a16:creationId xmlns:a16="http://schemas.microsoft.com/office/drawing/2014/main" id="{81719002-4EB0-DC9E-370E-D5AEE5BCED5E}"/>
                </a:ext>
              </a:extLst>
            </p:cNvPr>
            <p:cNvSpPr/>
            <p:nvPr/>
          </p:nvSpPr>
          <p:spPr>
            <a:xfrm>
              <a:off x="891741" y="1979524"/>
              <a:ext cx="5217657" cy="7686989"/>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角を丸くする 10">
              <a:extLst>
                <a:ext uri="{FF2B5EF4-FFF2-40B4-BE49-F238E27FC236}">
                  <a16:creationId xmlns:a16="http://schemas.microsoft.com/office/drawing/2014/main" id="{D7B6E9D0-1632-CE3F-11D1-1BAEAF63F066}"/>
                </a:ext>
              </a:extLst>
            </p:cNvPr>
            <p:cNvSpPr/>
            <p:nvPr/>
          </p:nvSpPr>
          <p:spPr>
            <a:xfrm>
              <a:off x="2372994" y="1607731"/>
              <a:ext cx="2255155"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3200" spc="100" dirty="0">
                  <a:solidFill>
                    <a:schemeClr val="bg1"/>
                  </a:solidFill>
                  <a:latin typeface="+mj-ea"/>
                  <a:ea typeface="+mj-ea"/>
                </a:rPr>
                <a:t>モラル１</a:t>
              </a:r>
            </a:p>
          </p:txBody>
        </p:sp>
        <p:sp>
          <p:nvSpPr>
            <p:cNvPr id="14" name="テキスト ボックス 13">
              <a:extLst>
                <a:ext uri="{FF2B5EF4-FFF2-40B4-BE49-F238E27FC236}">
                  <a16:creationId xmlns:a16="http://schemas.microsoft.com/office/drawing/2014/main" id="{A4542D4E-F829-15DA-C4AF-9B60500954B3}"/>
                </a:ext>
              </a:extLst>
            </p:cNvPr>
            <p:cNvSpPr txBox="1"/>
            <p:nvPr/>
          </p:nvSpPr>
          <p:spPr>
            <a:xfrm>
              <a:off x="1576164" y="5490841"/>
              <a:ext cx="3848811" cy="1738040"/>
            </a:xfrm>
            <a:prstGeom prst="rect">
              <a:avLst/>
            </a:prstGeom>
            <a:noFill/>
          </p:spPr>
          <p:txBody>
            <a:bodyPr wrap="none" lIns="0" tIns="0" rIns="0" bIns="0" rtlCol="0" anchor="t">
              <a:spAutoFit/>
            </a:bodyPr>
            <a:lstStyle/>
            <a:p>
              <a:pPr algn="ctr">
                <a:lnSpc>
                  <a:spcPct val="120000"/>
                </a:lnSpc>
                <a:spcAft>
                  <a:spcPts val="1600"/>
                </a:spcAft>
                <a:buClr>
                  <a:schemeClr val="accent1"/>
                </a:buClr>
              </a:pPr>
              <a:r>
                <a:rPr kumimoji="1" lang="ja-JP" altLang="en-US" sz="3200" spc="100" dirty="0">
                  <a:latin typeface="+mj-ea"/>
                  <a:ea typeface="+mj-ea"/>
                </a:rPr>
                <a:t>本来自分が</a:t>
              </a:r>
              <a:br>
                <a:rPr kumimoji="1" lang="en-US" altLang="ja-JP" sz="3200" spc="100" dirty="0">
                  <a:latin typeface="+mj-ea"/>
                  <a:ea typeface="+mj-ea"/>
                </a:rPr>
              </a:br>
              <a:r>
                <a:rPr kumimoji="1" lang="ja-JP" altLang="en-US" sz="3200" spc="100" dirty="0">
                  <a:latin typeface="+mj-ea"/>
                  <a:ea typeface="+mj-ea"/>
                </a:rPr>
                <a:t>行うべきことまで</a:t>
              </a:r>
              <a:br>
                <a:rPr kumimoji="1" lang="ja-JP" altLang="en-US" sz="3200" spc="100" dirty="0">
                  <a:latin typeface="+mj-ea"/>
                  <a:ea typeface="+mj-ea"/>
                </a:rPr>
              </a:br>
              <a:r>
                <a:rPr kumimoji="1" lang="ja-JP" altLang="en-US" sz="3200" spc="100" dirty="0">
                  <a:latin typeface="+mj-ea"/>
                  <a:ea typeface="+mj-ea"/>
                </a:rPr>
                <a:t>生成</a:t>
              </a:r>
              <a:r>
                <a:rPr kumimoji="1" lang="en-US" altLang="ja-JP" sz="3200" spc="100" dirty="0">
                  <a:latin typeface="+mj-ea"/>
                  <a:ea typeface="+mj-ea"/>
                </a:rPr>
                <a:t>AI</a:t>
              </a:r>
              <a:r>
                <a:rPr kumimoji="1" lang="ja-JP" altLang="en-US" sz="3200" spc="100" dirty="0">
                  <a:latin typeface="+mj-ea"/>
                  <a:ea typeface="+mj-ea"/>
                </a:rPr>
                <a:t>任せにしない</a:t>
              </a:r>
            </a:p>
          </p:txBody>
        </p:sp>
        <p:sp>
          <p:nvSpPr>
            <p:cNvPr id="17" name="テキスト ボックス 16">
              <a:extLst>
                <a:ext uri="{FF2B5EF4-FFF2-40B4-BE49-F238E27FC236}">
                  <a16:creationId xmlns:a16="http://schemas.microsoft.com/office/drawing/2014/main" id="{9DD99AD9-1940-49DE-8BF5-B5D3BCA52B0B}"/>
                </a:ext>
              </a:extLst>
            </p:cNvPr>
            <p:cNvSpPr txBox="1"/>
            <p:nvPr/>
          </p:nvSpPr>
          <p:spPr>
            <a:xfrm>
              <a:off x="1691741" y="7448020"/>
              <a:ext cx="3617657" cy="1978811"/>
            </a:xfrm>
            <a:prstGeom prst="rect">
              <a:avLst/>
            </a:prstGeom>
            <a:noFill/>
          </p:spPr>
          <p:txBody>
            <a:bodyPr wrap="none" lIns="0" tIns="0" rIns="0" bIns="0" rtlCol="0">
              <a:spAutoFit/>
            </a:bodyPr>
            <a:lstStyle/>
            <a:p>
              <a:pPr marL="360000" indent="-360000">
                <a:lnSpc>
                  <a:spcPct val="120000"/>
                </a:lnSpc>
                <a:spcAft>
                  <a:spcPts val="1200"/>
                </a:spcAft>
                <a:buClr>
                  <a:schemeClr val="accent1"/>
                </a:buClr>
                <a:buFont typeface="Wingdings" panose="05000000000000000000" pitchFamily="2" charset="2"/>
                <a:buChar char="l"/>
              </a:pPr>
              <a:r>
                <a:rPr kumimoji="1" lang="ja-JP" altLang="en-US" sz="2000" spc="100" dirty="0">
                  <a:latin typeface="+mn-ea"/>
                </a:rPr>
                <a:t>学校や大学の課題を全て</a:t>
              </a:r>
              <a:br>
                <a:rPr kumimoji="1" lang="en-US" altLang="ja-JP" sz="2000" spc="100" dirty="0">
                  <a:latin typeface="+mn-ea"/>
                </a:rPr>
              </a:br>
              <a:r>
                <a:rPr kumimoji="1" lang="ja-JP" altLang="en-US" sz="2000" spc="100" dirty="0">
                  <a:latin typeface="+mn-ea"/>
                </a:rPr>
                <a:t>生成</a:t>
              </a:r>
              <a:r>
                <a:rPr kumimoji="1" lang="en-US" altLang="ja-JP" sz="2000" spc="100" dirty="0">
                  <a:latin typeface="+mn-ea"/>
                </a:rPr>
                <a:t>AI</a:t>
              </a:r>
              <a:r>
                <a:rPr kumimoji="1" lang="ja-JP" altLang="en-US" sz="2000" spc="100" dirty="0">
                  <a:latin typeface="+mn-ea"/>
                </a:rPr>
                <a:t>で解決しようとする</a:t>
              </a:r>
            </a:p>
            <a:p>
              <a:pPr marL="360000" indent="-360000">
                <a:lnSpc>
                  <a:spcPct val="120000"/>
                </a:lnSpc>
                <a:spcAft>
                  <a:spcPts val="1200"/>
                </a:spcAft>
                <a:buClr>
                  <a:schemeClr val="accent1"/>
                </a:buClr>
                <a:buFont typeface="Wingdings" panose="05000000000000000000" pitchFamily="2" charset="2"/>
                <a:buChar char="l"/>
              </a:pPr>
              <a:r>
                <a:rPr kumimoji="1" lang="en-US" altLang="ja-JP" sz="2000" spc="100" dirty="0">
                  <a:latin typeface="+mn-ea"/>
                </a:rPr>
                <a:t>AI</a:t>
              </a:r>
              <a:r>
                <a:rPr kumimoji="1" lang="ja-JP" altLang="en-US" sz="2000" spc="100" dirty="0">
                  <a:latin typeface="+mn-ea"/>
                </a:rPr>
                <a:t>の利用を想定していない</a:t>
              </a:r>
              <a:br>
                <a:rPr kumimoji="1" lang="en-US" altLang="ja-JP" sz="2000" spc="100" dirty="0">
                  <a:latin typeface="+mn-ea"/>
                </a:rPr>
              </a:br>
              <a:r>
                <a:rPr kumimoji="1" lang="ja-JP" altLang="en-US" sz="2000" spc="100" dirty="0">
                  <a:latin typeface="+mn-ea"/>
                </a:rPr>
                <a:t>コンクール等に生成物を</a:t>
              </a:r>
              <a:br>
                <a:rPr kumimoji="1" lang="en-US" altLang="ja-JP" sz="2000" spc="100" dirty="0">
                  <a:latin typeface="+mn-ea"/>
                </a:rPr>
              </a:br>
              <a:r>
                <a:rPr kumimoji="1" lang="ja-JP" altLang="en-US" sz="2000" spc="100" dirty="0">
                  <a:latin typeface="+mn-ea"/>
                </a:rPr>
                <a:t>そのまま出品する　等</a:t>
              </a:r>
            </a:p>
          </p:txBody>
        </p:sp>
        <p:pic>
          <p:nvPicPr>
            <p:cNvPr id="25" name="図 24">
              <a:extLst>
                <a:ext uri="{FF2B5EF4-FFF2-40B4-BE49-F238E27FC236}">
                  <a16:creationId xmlns:a16="http://schemas.microsoft.com/office/drawing/2014/main" id="{062F17B6-9FF7-FA59-780D-B730B8F903E6}"/>
                </a:ext>
              </a:extLst>
            </p:cNvPr>
            <p:cNvPicPr>
              <a:picLocks noChangeAspect="1"/>
            </p:cNvPicPr>
            <p:nvPr/>
          </p:nvPicPr>
          <p:blipFill>
            <a:blip r:embed="rId5"/>
            <a:stretch>
              <a:fillRect/>
            </a:stretch>
          </p:blipFill>
          <p:spPr>
            <a:xfrm>
              <a:off x="2372992" y="2591046"/>
              <a:ext cx="2255716" cy="2682472"/>
            </a:xfrm>
            <a:prstGeom prst="rect">
              <a:avLst/>
            </a:prstGeom>
          </p:spPr>
        </p:pic>
      </p:grpSp>
    </p:spTree>
    <p:extLst>
      <p:ext uri="{BB962C8B-B14F-4D97-AF65-F5344CB8AC3E}">
        <p14:creationId xmlns:p14="http://schemas.microsoft.com/office/powerpoint/2010/main" val="2485087039"/>
      </p:ext>
    </p:extLst>
  </p:cSld>
  <p:clrMapOvr>
    <a:masterClrMapping/>
  </p:clrMapOvr>
</p:sld>
</file>

<file path=ppt/slides/slide6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9" name="グループ化 8">
            <a:extLst>
              <a:ext uri="{FF2B5EF4-FFF2-40B4-BE49-F238E27FC236}">
                <a16:creationId xmlns:a16="http://schemas.microsoft.com/office/drawing/2014/main" id="{FCAE577A-38E4-1BE3-02CD-7967436F9CE4}"/>
              </a:ext>
            </a:extLst>
          </p:cNvPr>
          <p:cNvGrpSpPr/>
          <p:nvPr/>
        </p:nvGrpSpPr>
        <p:grpSpPr>
          <a:xfrm>
            <a:off x="2777438" y="963221"/>
            <a:ext cx="14144992" cy="570468"/>
            <a:chOff x="3816093" y="963221"/>
            <a:chExt cx="14144992" cy="570468"/>
          </a:xfrm>
        </p:grpSpPr>
        <p:sp>
          <p:nvSpPr>
            <p:cNvPr id="10" name="テキスト ボックス 9">
              <a:extLst>
                <a:ext uri="{FF2B5EF4-FFF2-40B4-BE49-F238E27FC236}">
                  <a16:creationId xmlns:a16="http://schemas.microsoft.com/office/drawing/2014/main" id="{5EBCDDB5-7B3C-5AF2-8B76-546C7EAFC822}"/>
                </a:ext>
              </a:extLst>
            </p:cNvPr>
            <p:cNvSpPr txBox="1"/>
            <p:nvPr/>
          </p:nvSpPr>
          <p:spPr>
            <a:xfrm>
              <a:off x="6071612" y="1002234"/>
              <a:ext cx="11889473" cy="492443"/>
            </a:xfrm>
            <a:prstGeom prst="rect">
              <a:avLst/>
            </a:prstGeom>
            <a:noFill/>
          </p:spPr>
          <p:txBody>
            <a:bodyPr wrap="none" lIns="0" tIns="0" rIns="0" bIns="0" rtlCol="0" anchor="ctr">
              <a:spAutoFit/>
            </a:bodyPr>
            <a:lstStyle/>
            <a:p>
              <a:r>
                <a:rPr kumimoji="1" lang="ja-JP" altLang="en-US" sz="3200" spc="100" dirty="0">
                  <a:latin typeface="+mj-ea"/>
                  <a:ea typeface="+mj-ea"/>
                </a:rPr>
                <a:t>学生が自分で考えるべき場面で、安易に生成</a:t>
              </a:r>
              <a:r>
                <a:rPr kumimoji="1" lang="en-US" altLang="ja-JP" sz="3200" spc="100" dirty="0">
                  <a:latin typeface="+mj-ea"/>
                  <a:ea typeface="+mj-ea"/>
                </a:rPr>
                <a:t>AI</a:t>
              </a:r>
              <a:r>
                <a:rPr kumimoji="1" lang="ja-JP" altLang="en-US" sz="3200" spc="100" dirty="0">
                  <a:latin typeface="+mj-ea"/>
                  <a:ea typeface="+mj-ea"/>
                </a:rPr>
                <a:t>を使ってしまう</a:t>
              </a:r>
              <a:endParaRPr kumimoji="1" lang="en-US" altLang="ja-JP" sz="3200" spc="100" dirty="0">
                <a:latin typeface="+mj-ea"/>
                <a:ea typeface="+mj-ea"/>
              </a:endParaRPr>
            </a:p>
          </p:txBody>
        </p:sp>
        <p:sp>
          <p:nvSpPr>
            <p:cNvPr id="11" name="四角形: 角を丸くする 10">
              <a:extLst>
                <a:ext uri="{FF2B5EF4-FFF2-40B4-BE49-F238E27FC236}">
                  <a16:creationId xmlns:a16="http://schemas.microsoft.com/office/drawing/2014/main" id="{F3944A9E-D668-C0FB-6F1E-738F3AB229A9}"/>
                </a:ext>
              </a:extLst>
            </p:cNvPr>
            <p:cNvSpPr/>
            <p:nvPr/>
          </p:nvSpPr>
          <p:spPr>
            <a:xfrm>
              <a:off x="3816093" y="963221"/>
              <a:ext cx="1900702" cy="570468"/>
            </a:xfrm>
            <a:prstGeom prst="roundRect">
              <a:avLst>
                <a:gd name="adj" fmla="val 50000"/>
              </a:avLst>
            </a:prstGeom>
            <a:solidFill>
              <a:schemeClr val="accent3">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モラル❶</a:t>
              </a:r>
              <a:endParaRPr kumimoji="1" lang="ja-JP" altLang="en-US" sz="2400" spc="300" dirty="0">
                <a:solidFill>
                  <a:schemeClr val="tx1"/>
                </a:solidFill>
                <a:latin typeface="+mj-ea"/>
                <a:ea typeface="+mj-ea"/>
              </a:endParaRPr>
            </a:p>
          </p:txBody>
        </p:sp>
      </p:grpSp>
      <p:grpSp>
        <p:nvGrpSpPr>
          <p:cNvPr id="26" name="グループ化 25">
            <a:extLst>
              <a:ext uri="{FF2B5EF4-FFF2-40B4-BE49-F238E27FC236}">
                <a16:creationId xmlns:a16="http://schemas.microsoft.com/office/drawing/2014/main" id="{59DDFE32-E0B8-275E-8A0D-0841F484093A}"/>
              </a:ext>
            </a:extLst>
          </p:cNvPr>
          <p:cNvGrpSpPr/>
          <p:nvPr/>
        </p:nvGrpSpPr>
        <p:grpSpPr>
          <a:xfrm>
            <a:off x="2557301" y="2249957"/>
            <a:ext cx="14543030" cy="927733"/>
            <a:chOff x="9606536" y="5027356"/>
            <a:chExt cx="11405927" cy="727610"/>
          </a:xfrm>
          <a:solidFill>
            <a:schemeClr val="bg1"/>
          </a:solidFill>
        </p:grpSpPr>
        <p:sp>
          <p:nvSpPr>
            <p:cNvPr id="27" name="フリーフォーム: 図形 26">
              <a:extLst>
                <a:ext uri="{FF2B5EF4-FFF2-40B4-BE49-F238E27FC236}">
                  <a16:creationId xmlns:a16="http://schemas.microsoft.com/office/drawing/2014/main" id="{2AAB0FB5-6B30-7261-7C88-E1ED9D1AAE9E}"/>
                </a:ext>
              </a:extLst>
            </p:cNvPr>
            <p:cNvSpPr/>
            <p:nvPr/>
          </p:nvSpPr>
          <p:spPr>
            <a:xfrm rot="18743112" flipV="1">
              <a:off x="9599926" y="5120917"/>
              <a:ext cx="442922" cy="429702"/>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20168" cap="flat">
              <a:noFill/>
              <a:prstDash val="solid"/>
              <a:miter/>
            </a:ln>
          </p:spPr>
          <p:txBody>
            <a:bodyPr wrap="square" lIns="0" tIns="0" rIns="0" bIns="72000" rtlCol="0" anchor="t">
              <a:noAutofit/>
            </a:bodyPr>
            <a:lstStyle/>
            <a:p>
              <a:pPr algn="ctr">
                <a:lnSpc>
                  <a:spcPct val="130000"/>
                </a:lnSpc>
              </a:pPr>
              <a:endParaRPr lang="ja-JP" altLang="en-US" sz="3000" dirty="0">
                <a:latin typeface="+mj-ea"/>
                <a:ea typeface="+mj-ea"/>
              </a:endParaRPr>
            </a:p>
          </p:txBody>
        </p:sp>
        <p:sp>
          <p:nvSpPr>
            <p:cNvPr id="28" name="四角形: 角を丸くする 27">
              <a:extLst>
                <a:ext uri="{FF2B5EF4-FFF2-40B4-BE49-F238E27FC236}">
                  <a16:creationId xmlns:a16="http://schemas.microsoft.com/office/drawing/2014/main" id="{29E4510A-E796-81FA-AAAD-0A3AEA1A7F87}"/>
                </a:ext>
              </a:extLst>
            </p:cNvPr>
            <p:cNvSpPr/>
            <p:nvPr/>
          </p:nvSpPr>
          <p:spPr>
            <a:xfrm flipH="1">
              <a:off x="9778695" y="5027356"/>
              <a:ext cx="11233768" cy="727610"/>
            </a:xfrm>
            <a:prstGeom prst="roundRect">
              <a:avLst>
                <a:gd name="adj" fmla="val 9039"/>
              </a:avLst>
            </a:prstGeom>
            <a:grpFill/>
            <a:ln w="20168" cap="flat">
              <a:noFill/>
              <a:prstDash val="solid"/>
              <a:miter/>
            </a:ln>
          </p:spPr>
          <p:txBody>
            <a:bodyPr wrap="square" lIns="360000" tIns="180000" rIns="360000" bIns="180000" rtlCol="0" anchor="t">
              <a:spAutoFit/>
            </a:bodyPr>
            <a:lstStyle/>
            <a:p>
              <a:pPr>
                <a:lnSpc>
                  <a:spcPct val="120000"/>
                </a:lnSpc>
              </a:pPr>
              <a:r>
                <a:rPr lang="ja-JP" altLang="en-US" sz="3000" dirty="0">
                  <a:latin typeface="+mj-ea"/>
                  <a:ea typeface="+mj-ea"/>
                </a:rPr>
                <a:t>あなたは中学</a:t>
              </a:r>
              <a:r>
                <a:rPr lang="en-US" altLang="ja-JP" sz="3000" dirty="0">
                  <a:latin typeface="+mj-ea"/>
                  <a:ea typeface="+mj-ea"/>
                </a:rPr>
                <a:t>2</a:t>
              </a:r>
              <a:r>
                <a:rPr lang="ja-JP" altLang="en-US" sz="3000" dirty="0">
                  <a:latin typeface="+mj-ea"/>
                  <a:ea typeface="+mj-ea"/>
                </a:rPr>
                <a:t>年生です。</a:t>
              </a:r>
              <a:r>
                <a:rPr lang="en-US" altLang="ja-JP" sz="3000" dirty="0">
                  <a:latin typeface="+mj-ea"/>
                  <a:ea typeface="+mj-ea"/>
                </a:rPr>
                <a:t>『</a:t>
              </a:r>
              <a:r>
                <a:rPr lang="ja-JP" altLang="en-US" sz="3000" dirty="0">
                  <a:latin typeface="+mj-ea"/>
                  <a:ea typeface="+mj-ea"/>
                </a:rPr>
                <a:t>走れメロス</a:t>
              </a:r>
              <a:r>
                <a:rPr lang="en-US" altLang="ja-JP" sz="3000" dirty="0">
                  <a:latin typeface="+mj-ea"/>
                  <a:ea typeface="+mj-ea"/>
                </a:rPr>
                <a:t>』</a:t>
              </a:r>
              <a:r>
                <a:rPr lang="ja-JP" altLang="en-US" sz="3000" dirty="0">
                  <a:latin typeface="+mj-ea"/>
                  <a:ea typeface="+mj-ea"/>
                </a:rPr>
                <a:t>の読書感想文を書いてください。</a:t>
              </a:r>
            </a:p>
          </p:txBody>
        </p:sp>
      </p:grpSp>
      <p:grpSp>
        <p:nvGrpSpPr>
          <p:cNvPr id="37" name="グループ化 36">
            <a:extLst>
              <a:ext uri="{FF2B5EF4-FFF2-40B4-BE49-F238E27FC236}">
                <a16:creationId xmlns:a16="http://schemas.microsoft.com/office/drawing/2014/main" id="{EA219B43-BD30-876F-1D26-9B115B8EC50E}"/>
              </a:ext>
            </a:extLst>
          </p:cNvPr>
          <p:cNvGrpSpPr/>
          <p:nvPr/>
        </p:nvGrpSpPr>
        <p:grpSpPr>
          <a:xfrm flipH="1">
            <a:off x="2512200" y="3406208"/>
            <a:ext cx="14588129" cy="5768046"/>
            <a:chOff x="1187670" y="3607886"/>
            <a:chExt cx="14588129" cy="5732518"/>
          </a:xfrm>
          <a:solidFill>
            <a:schemeClr val="accent5">
              <a:lumMod val="40000"/>
              <a:lumOff val="60000"/>
            </a:schemeClr>
          </a:solidFill>
        </p:grpSpPr>
        <p:sp>
          <p:nvSpPr>
            <p:cNvPr id="38" name="四角形: 角を丸くする 37">
              <a:extLst>
                <a:ext uri="{FF2B5EF4-FFF2-40B4-BE49-F238E27FC236}">
                  <a16:creationId xmlns:a16="http://schemas.microsoft.com/office/drawing/2014/main" id="{58991BCC-C611-D11B-BEC5-56549F136243}"/>
                </a:ext>
              </a:extLst>
            </p:cNvPr>
            <p:cNvSpPr/>
            <p:nvPr/>
          </p:nvSpPr>
          <p:spPr>
            <a:xfrm flipH="1">
              <a:off x="1187670" y="3607886"/>
              <a:ext cx="14323521" cy="5732518"/>
            </a:xfrm>
            <a:prstGeom prst="roundRect">
              <a:avLst>
                <a:gd name="adj" fmla="val 2237"/>
              </a:avLst>
            </a:prstGeom>
            <a:grpFill/>
            <a:ln w="38100" cap="flat">
              <a:noFill/>
              <a:prstDash val="solid"/>
              <a:miter/>
            </a:ln>
          </p:spPr>
          <p:txBody>
            <a:bodyPr wrap="square" lIns="360000" tIns="216000" rIns="360000" bIns="180000" rtlCol="0" anchor="t">
              <a:spAutoFit/>
            </a:bodyPr>
            <a:lstStyle/>
            <a:p>
              <a:pPr>
                <a:lnSpc>
                  <a:spcPct val="120000"/>
                </a:lnSpc>
                <a:spcAft>
                  <a:spcPts val="1800"/>
                </a:spcAft>
              </a:pPr>
              <a:r>
                <a:rPr lang="en-US" altLang="ja-JP" sz="2200" dirty="0">
                  <a:latin typeface="+mn-ea"/>
                </a:rPr>
                <a:t>『</a:t>
              </a:r>
              <a:r>
                <a:rPr lang="ja-JP" altLang="en-US" sz="2200" dirty="0">
                  <a:latin typeface="+mn-ea"/>
                </a:rPr>
                <a:t>走れメロス</a:t>
              </a:r>
              <a:r>
                <a:rPr lang="en-US" altLang="ja-JP" sz="2200" dirty="0">
                  <a:latin typeface="+mn-ea"/>
                </a:rPr>
                <a:t>』</a:t>
              </a:r>
              <a:r>
                <a:rPr lang="ja-JP" altLang="en-US" sz="2200" dirty="0">
                  <a:latin typeface="+mn-ea"/>
                </a:rPr>
                <a:t>は宮沢賢治の名作で、忠義と友情の深さを描いた感動的な物語です。私が最も印象的だったのは主人公メロスの人間性とその行動の強さです。メロスの友情と忠誠心は、最も難しい状況でさえも変わらないことを教えてくれます。</a:t>
              </a:r>
            </a:p>
            <a:p>
              <a:pPr>
                <a:lnSpc>
                  <a:spcPct val="120000"/>
                </a:lnSpc>
                <a:spcAft>
                  <a:spcPts val="1800"/>
                </a:spcAft>
              </a:pPr>
              <a:r>
                <a:rPr lang="ja-JP" altLang="en-US" sz="2200" dirty="0">
                  <a:latin typeface="+mn-ea"/>
                </a:rPr>
                <a:t>物語の中で、メロスは暴君ディオニスに対して「友情とは何か」を証明するために、厳しい試練を受けます。</a:t>
              </a:r>
              <a:br>
                <a:rPr lang="ja-JP" altLang="en-US" sz="2200" dirty="0">
                  <a:latin typeface="+mn-ea"/>
                </a:rPr>
              </a:br>
              <a:r>
                <a:rPr lang="ja-JP" altLang="en-US" sz="2200" dirty="0">
                  <a:latin typeface="+mn-ea"/>
                </a:rPr>
                <a:t>それは彼の友達セリヌンティウスの命と引き換えに、結婚式に間に合うという約束を果たすというものでした。</a:t>
              </a:r>
              <a:br>
                <a:rPr lang="ja-JP" altLang="en-US" sz="2200" dirty="0">
                  <a:latin typeface="+mn-ea"/>
                </a:rPr>
              </a:br>
              <a:r>
                <a:rPr lang="ja-JP" altLang="en-US" sz="2200" dirty="0">
                  <a:latin typeface="+mn-ea"/>
                </a:rPr>
                <a:t>私はこの部分が特に心に響きました。メロスは自分自身を危険にさらしながらも、友達への約束を破ることなく、時間厳守で村に戻ってきます。その姿は、どんな困難な状況でも信念を持ち続けることの大切さを教えてくれます。</a:t>
              </a:r>
              <a:r>
                <a:rPr lang="en-US" altLang="ja-JP" sz="2200" dirty="0">
                  <a:latin typeface="+mn-ea"/>
                </a:rPr>
                <a:t>(</a:t>
              </a:r>
              <a:r>
                <a:rPr lang="ja-JP" altLang="en-US" sz="2200" dirty="0">
                  <a:latin typeface="+mn-ea"/>
                </a:rPr>
                <a:t>中略</a:t>
              </a:r>
              <a:r>
                <a:rPr lang="en-US" altLang="ja-JP" sz="2200" dirty="0">
                  <a:latin typeface="+mn-ea"/>
                </a:rPr>
                <a:t>)</a:t>
              </a:r>
            </a:p>
            <a:p>
              <a:pPr>
                <a:lnSpc>
                  <a:spcPct val="120000"/>
                </a:lnSpc>
                <a:spcAft>
                  <a:spcPts val="1800"/>
                </a:spcAft>
              </a:pPr>
              <a:r>
                <a:rPr lang="ja-JP" altLang="en-US" sz="2200" dirty="0">
                  <a:latin typeface="+mn-ea"/>
                </a:rPr>
                <a:t>全体として、</a:t>
              </a:r>
              <a:r>
                <a:rPr lang="en-US" altLang="ja-JP" sz="2200" dirty="0">
                  <a:latin typeface="+mn-ea"/>
                </a:rPr>
                <a:t>『</a:t>
              </a:r>
              <a:r>
                <a:rPr lang="ja-JP" altLang="en-US" sz="2200" dirty="0">
                  <a:latin typeface="+mn-ea"/>
                </a:rPr>
                <a:t>走れメロス</a:t>
              </a:r>
              <a:r>
                <a:rPr lang="en-US" altLang="ja-JP" sz="2200" dirty="0">
                  <a:latin typeface="+mn-ea"/>
                </a:rPr>
                <a:t>』</a:t>
              </a:r>
              <a:r>
                <a:rPr lang="ja-JP" altLang="en-US" sz="2200" dirty="0">
                  <a:latin typeface="+mn-ea"/>
                </a:rPr>
                <a:t>は人間の持つ美しい感情と強さを描いた作品で、読んで本当に良かったと感じています。</a:t>
              </a:r>
              <a:br>
                <a:rPr lang="ja-JP" altLang="en-US" sz="2200" dirty="0">
                  <a:latin typeface="+mn-ea"/>
                </a:rPr>
              </a:br>
              <a:r>
                <a:rPr lang="ja-JP" altLang="en-US" sz="2200" dirty="0">
                  <a:latin typeface="+mn-ea"/>
                </a:rPr>
                <a:t>私自身もメロスのように、友情を大切にし、誠実に生きていきたいと思います。</a:t>
              </a:r>
            </a:p>
          </p:txBody>
        </p:sp>
        <p:sp>
          <p:nvSpPr>
            <p:cNvPr id="39" name="フリーフォーム: 図形 38">
              <a:extLst>
                <a:ext uri="{FF2B5EF4-FFF2-40B4-BE49-F238E27FC236}">
                  <a16:creationId xmlns:a16="http://schemas.microsoft.com/office/drawing/2014/main" id="{A9D1E269-FACA-D189-E361-0386A966D855}"/>
                </a:ext>
              </a:extLst>
            </p:cNvPr>
            <p:cNvSpPr/>
            <p:nvPr/>
          </p:nvSpPr>
          <p:spPr>
            <a:xfrm rot="18743112" flipH="1">
              <a:off x="15219483" y="553997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38100" cap="flat">
              <a:noFill/>
              <a:prstDash val="solid"/>
              <a:miter/>
            </a:ln>
          </p:spPr>
          <p:txBody>
            <a:bodyPr wrap="square" lIns="0" tIns="0" rIns="0" bIns="72000" rtlCol="0" anchor="t">
              <a:noAutofit/>
            </a:bodyPr>
            <a:lstStyle/>
            <a:p>
              <a:pPr algn="ctr"/>
              <a:endParaRPr lang="ja-JP" altLang="en-US" sz="2400" dirty="0">
                <a:latin typeface="+mn-ea"/>
              </a:endParaRPr>
            </a:p>
          </p:txBody>
        </p:sp>
      </p:grpSp>
      <p:sp>
        <p:nvSpPr>
          <p:cNvPr id="40" name="テキスト ボックス 39">
            <a:extLst>
              <a:ext uri="{FF2B5EF4-FFF2-40B4-BE49-F238E27FC236}">
                <a16:creationId xmlns:a16="http://schemas.microsoft.com/office/drawing/2014/main" id="{707AD81D-0753-1875-0BFF-35F8BA74D52C}"/>
              </a:ext>
            </a:extLst>
          </p:cNvPr>
          <p:cNvSpPr txBox="1"/>
          <p:nvPr/>
        </p:nvSpPr>
        <p:spPr>
          <a:xfrm>
            <a:off x="372103" y="9832817"/>
            <a:ext cx="3645229"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a:t>
            </a:r>
          </a:p>
        </p:txBody>
      </p:sp>
      <p:sp>
        <p:nvSpPr>
          <p:cNvPr id="3" name="スライド番号プレースホルダー 2">
            <a:extLst>
              <a:ext uri="{FF2B5EF4-FFF2-40B4-BE49-F238E27FC236}">
                <a16:creationId xmlns:a16="http://schemas.microsoft.com/office/drawing/2014/main" id="{829DFE64-84DB-26FD-3E8D-529EA9CE4B3C}"/>
              </a:ext>
            </a:extLst>
          </p:cNvPr>
          <p:cNvSpPr>
            <a:spLocks noGrp="1"/>
          </p:cNvSpPr>
          <p:nvPr>
            <p:ph type="sldNum" sz="quarter" idx="11"/>
          </p:nvPr>
        </p:nvSpPr>
        <p:spPr>
          <a:xfrm>
            <a:off x="17695001" y="9786651"/>
            <a:ext cx="327013" cy="307777"/>
          </a:xfrm>
        </p:spPr>
        <p:txBody>
          <a:bodyPr/>
          <a:lstStyle/>
          <a:p>
            <a:r>
              <a:rPr lang="en-US" altLang="ja-JP"/>
              <a:t>64</a:t>
            </a:r>
            <a:endParaRPr lang="ja-JP" altLang="en-US" dirty="0"/>
          </a:p>
        </p:txBody>
      </p:sp>
      <p:pic>
        <p:nvPicPr>
          <p:cNvPr id="14" name="図 13">
            <a:extLst>
              <a:ext uri="{FF2B5EF4-FFF2-40B4-BE49-F238E27FC236}">
                <a16:creationId xmlns:a16="http://schemas.microsoft.com/office/drawing/2014/main" id="{A137406C-F4D3-03D4-2354-03F09F62F3DC}"/>
              </a:ext>
            </a:extLst>
          </p:cNvPr>
          <p:cNvPicPr>
            <a:picLocks noChangeAspect="1"/>
          </p:cNvPicPr>
          <p:nvPr/>
        </p:nvPicPr>
        <p:blipFill>
          <a:blip r:embed="rId3"/>
          <a:stretch>
            <a:fillRect/>
          </a:stretch>
        </p:blipFill>
        <p:spPr>
          <a:xfrm>
            <a:off x="891184" y="2407469"/>
            <a:ext cx="1481456" cy="1481456"/>
          </a:xfrm>
          <a:prstGeom prst="rect">
            <a:avLst/>
          </a:prstGeom>
        </p:spPr>
      </p:pic>
      <p:grpSp>
        <p:nvGrpSpPr>
          <p:cNvPr id="18" name="グループ化 17">
            <a:extLst>
              <a:ext uri="{FF2B5EF4-FFF2-40B4-BE49-F238E27FC236}">
                <a16:creationId xmlns:a16="http://schemas.microsoft.com/office/drawing/2014/main" id="{DB7390D3-65E9-E6E6-2D4D-2F735A2F073B}"/>
              </a:ext>
            </a:extLst>
          </p:cNvPr>
          <p:cNvGrpSpPr/>
          <p:nvPr/>
        </p:nvGrpSpPr>
        <p:grpSpPr>
          <a:xfrm>
            <a:off x="891184" y="4419626"/>
            <a:ext cx="1481456" cy="2016737"/>
            <a:chOff x="891184" y="4419626"/>
            <a:chExt cx="1481456" cy="2016737"/>
          </a:xfrm>
        </p:grpSpPr>
        <p:sp>
          <p:nvSpPr>
            <p:cNvPr id="57" name="テキスト ボックス 56">
              <a:extLst>
                <a:ext uri="{FF2B5EF4-FFF2-40B4-BE49-F238E27FC236}">
                  <a16:creationId xmlns:a16="http://schemas.microsoft.com/office/drawing/2014/main" id="{8BA3F52F-2585-18A3-2607-A70DA8212CE0}"/>
                </a:ext>
              </a:extLst>
            </p:cNvPr>
            <p:cNvSpPr txBox="1"/>
            <p:nvPr/>
          </p:nvSpPr>
          <p:spPr>
            <a:xfrm flipH="1">
              <a:off x="1432561" y="6005476"/>
              <a:ext cx="399148" cy="430887"/>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7" name="図 16">
              <a:extLst>
                <a:ext uri="{FF2B5EF4-FFF2-40B4-BE49-F238E27FC236}">
                  <a16:creationId xmlns:a16="http://schemas.microsoft.com/office/drawing/2014/main" id="{859B64E8-FFAF-B85E-030B-C8A541D44BA4}"/>
                </a:ext>
              </a:extLst>
            </p:cNvPr>
            <p:cNvPicPr>
              <a:picLocks noChangeAspect="1"/>
            </p:cNvPicPr>
            <p:nvPr/>
          </p:nvPicPr>
          <p:blipFill>
            <a:blip r:embed="rId4"/>
            <a:stretch>
              <a:fillRect/>
            </a:stretch>
          </p:blipFill>
          <p:spPr>
            <a:xfrm>
              <a:off x="891184" y="4419626"/>
              <a:ext cx="1481456" cy="1481456"/>
            </a:xfrm>
            <a:prstGeom prst="rect">
              <a:avLst/>
            </a:prstGeom>
          </p:spPr>
        </p:pic>
      </p:grpSp>
    </p:spTree>
    <p:extLst>
      <p:ext uri="{BB962C8B-B14F-4D97-AF65-F5344CB8AC3E}">
        <p14:creationId xmlns:p14="http://schemas.microsoft.com/office/powerpoint/2010/main" val="854520900"/>
      </p:ext>
    </p:extLst>
  </p:cSld>
  <p:clrMapOvr>
    <a:masterClrMapping/>
  </p:clrMapOvr>
</p:sld>
</file>

<file path=ppt/slides/slide6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2F2A4810-5E8D-ABF7-44C5-3860678CB449}"/>
              </a:ext>
            </a:extLst>
          </p:cNvPr>
          <p:cNvGrpSpPr/>
          <p:nvPr/>
        </p:nvGrpSpPr>
        <p:grpSpPr>
          <a:xfrm>
            <a:off x="2777438" y="963221"/>
            <a:ext cx="14144992" cy="570468"/>
            <a:chOff x="3816093" y="963221"/>
            <a:chExt cx="14144992" cy="570468"/>
          </a:xfrm>
        </p:grpSpPr>
        <p:sp>
          <p:nvSpPr>
            <p:cNvPr id="6" name="テキスト ボックス 5">
              <a:extLst>
                <a:ext uri="{FF2B5EF4-FFF2-40B4-BE49-F238E27FC236}">
                  <a16:creationId xmlns:a16="http://schemas.microsoft.com/office/drawing/2014/main" id="{C4C181C6-722E-7E14-2B39-C27B4A6EC194}"/>
                </a:ext>
              </a:extLst>
            </p:cNvPr>
            <p:cNvSpPr txBox="1"/>
            <p:nvPr/>
          </p:nvSpPr>
          <p:spPr>
            <a:xfrm>
              <a:off x="6071612" y="1002234"/>
              <a:ext cx="11889473" cy="492443"/>
            </a:xfrm>
            <a:prstGeom prst="rect">
              <a:avLst/>
            </a:prstGeom>
            <a:noFill/>
          </p:spPr>
          <p:txBody>
            <a:bodyPr wrap="none" lIns="0" tIns="0" rIns="0" bIns="0" rtlCol="0" anchor="ctr">
              <a:spAutoFit/>
            </a:bodyPr>
            <a:lstStyle/>
            <a:p>
              <a:r>
                <a:rPr kumimoji="1" lang="ja-JP" altLang="en-US" sz="3200" spc="100" dirty="0">
                  <a:latin typeface="+mj-ea"/>
                  <a:ea typeface="+mj-ea"/>
                </a:rPr>
                <a:t>生成</a:t>
              </a:r>
              <a:r>
                <a:rPr kumimoji="1" lang="en-US" altLang="ja-JP" sz="3200" spc="100" dirty="0">
                  <a:latin typeface="+mj-ea"/>
                  <a:ea typeface="+mj-ea"/>
                </a:rPr>
                <a:t>AI</a:t>
              </a:r>
              <a:r>
                <a:rPr kumimoji="1" lang="ja-JP" altLang="en-US" sz="3200" spc="100" dirty="0">
                  <a:latin typeface="+mj-ea"/>
                  <a:ea typeface="+mj-ea"/>
                </a:rPr>
                <a:t>が出力した偏見のある回答をそのまま使用してしまう</a:t>
              </a:r>
              <a:endParaRPr kumimoji="1" lang="en-US" altLang="ja-JP" sz="3200" spc="100" dirty="0">
                <a:latin typeface="+mj-ea"/>
                <a:ea typeface="+mj-ea"/>
              </a:endParaRPr>
            </a:p>
          </p:txBody>
        </p:sp>
        <p:sp>
          <p:nvSpPr>
            <p:cNvPr id="7" name="四角形: 角を丸くする 6">
              <a:extLst>
                <a:ext uri="{FF2B5EF4-FFF2-40B4-BE49-F238E27FC236}">
                  <a16:creationId xmlns:a16="http://schemas.microsoft.com/office/drawing/2014/main" id="{CBE034D3-A3A9-6B23-0EF5-BE200EBA5239}"/>
                </a:ext>
              </a:extLst>
            </p:cNvPr>
            <p:cNvSpPr/>
            <p:nvPr/>
          </p:nvSpPr>
          <p:spPr>
            <a:xfrm>
              <a:off x="3816093" y="963221"/>
              <a:ext cx="1900702" cy="570468"/>
            </a:xfrm>
            <a:prstGeom prst="roundRect">
              <a:avLst>
                <a:gd name="adj" fmla="val 50000"/>
              </a:avLst>
            </a:prstGeom>
            <a:solidFill>
              <a:schemeClr val="accent3">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モラル❷</a:t>
              </a:r>
              <a:endParaRPr kumimoji="1" lang="ja-JP" altLang="en-US" sz="2400" spc="300" dirty="0">
                <a:solidFill>
                  <a:schemeClr val="tx1"/>
                </a:solidFill>
                <a:latin typeface="+mj-ea"/>
                <a:ea typeface="+mj-ea"/>
              </a:endParaRPr>
            </a:p>
          </p:txBody>
        </p:sp>
      </p:grpSp>
      <p:sp>
        <p:nvSpPr>
          <p:cNvPr id="23" name="テキスト ボックス 22">
            <a:extLst>
              <a:ext uri="{FF2B5EF4-FFF2-40B4-BE49-F238E27FC236}">
                <a16:creationId xmlns:a16="http://schemas.microsoft.com/office/drawing/2014/main" id="{7D6CCAED-AC67-BF0F-2FB0-1C78D268916E}"/>
              </a:ext>
            </a:extLst>
          </p:cNvPr>
          <p:cNvSpPr txBox="1"/>
          <p:nvPr/>
        </p:nvSpPr>
        <p:spPr>
          <a:xfrm>
            <a:off x="372103" y="9832817"/>
            <a:ext cx="9807172"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a:t>
            </a:r>
            <a:r>
              <a:rPr kumimoji="1" lang="ja-JP" altLang="en-US" sz="1400" spc="100" dirty="0">
                <a:solidFill>
                  <a:schemeClr val="tx2"/>
                </a:solidFill>
                <a:latin typeface="+mn-ea"/>
              </a:rPr>
              <a:t>画像生成</a:t>
            </a:r>
            <a:r>
              <a:rPr kumimoji="1" lang="en-US" altLang="ja-JP" sz="1400" spc="100" dirty="0">
                <a:solidFill>
                  <a:schemeClr val="tx2"/>
                </a:solidFill>
                <a:latin typeface="+mn-ea"/>
              </a:rPr>
              <a:t>AI</a:t>
            </a:r>
            <a:r>
              <a:rPr kumimoji="1" lang="ja-JP" altLang="en-US" sz="1400" spc="100" dirty="0">
                <a:solidFill>
                  <a:schemeClr val="tx2"/>
                </a:solidFill>
                <a:latin typeface="+mn-ea"/>
              </a:rPr>
              <a:t>で生成。プロンプトとして、左の画像は「</a:t>
            </a:r>
            <a:r>
              <a:rPr kumimoji="1" lang="en-US" altLang="ja-JP" sz="1400" spc="100" dirty="0">
                <a:solidFill>
                  <a:schemeClr val="tx2"/>
                </a:solidFill>
                <a:latin typeface="+mn-ea"/>
              </a:rPr>
              <a:t>Various nurses</a:t>
            </a:r>
            <a:r>
              <a:rPr kumimoji="1" lang="ja-JP" altLang="en-US" sz="1400" spc="100" dirty="0">
                <a:solidFill>
                  <a:schemeClr val="tx2"/>
                </a:solidFill>
                <a:latin typeface="+mn-ea"/>
              </a:rPr>
              <a:t>」、右の画像は「国会議員」と入力</a:t>
            </a:r>
          </a:p>
        </p:txBody>
      </p:sp>
      <p:sp>
        <p:nvSpPr>
          <p:cNvPr id="33" name="テキスト ボックス 32">
            <a:extLst>
              <a:ext uri="{FF2B5EF4-FFF2-40B4-BE49-F238E27FC236}">
                <a16:creationId xmlns:a16="http://schemas.microsoft.com/office/drawing/2014/main" id="{5B74813D-CCE0-1745-5F54-A47911532BFA}"/>
              </a:ext>
            </a:extLst>
          </p:cNvPr>
          <p:cNvSpPr txBox="1"/>
          <p:nvPr/>
        </p:nvSpPr>
        <p:spPr>
          <a:xfrm>
            <a:off x="2255899" y="2213614"/>
            <a:ext cx="13776207" cy="556178"/>
          </a:xfrm>
          <a:prstGeom prst="rect">
            <a:avLst/>
          </a:prstGeom>
          <a:noFill/>
        </p:spPr>
        <p:txBody>
          <a:bodyPr wrap="none" lIns="0" tIns="0" rIns="0" bIns="0" rtlCol="0" anchor="t">
            <a:spAutoFit/>
          </a:bodyPr>
          <a:lstStyle/>
          <a:p>
            <a:pPr algn="ctr">
              <a:lnSpc>
                <a:spcPct val="120000"/>
              </a:lnSpc>
              <a:spcAft>
                <a:spcPts val="1500"/>
              </a:spcAft>
            </a:pPr>
            <a:r>
              <a:rPr kumimoji="1" lang="ja-JP" altLang="en-US" sz="3200" spc="50" dirty="0">
                <a:latin typeface="+mn-ea"/>
              </a:rPr>
              <a:t>画像生成</a:t>
            </a:r>
            <a:r>
              <a:rPr kumimoji="1" lang="en-US" altLang="ja-JP" sz="3200" spc="50" dirty="0">
                <a:latin typeface="+mn-ea"/>
              </a:rPr>
              <a:t>AI</a:t>
            </a:r>
            <a:r>
              <a:rPr kumimoji="1" lang="ja-JP" altLang="en-US" sz="3200" spc="50" dirty="0">
                <a:latin typeface="+mn-ea"/>
              </a:rPr>
              <a:t>で出力した以下の画像はいずれも</a:t>
            </a:r>
            <a:r>
              <a:rPr kumimoji="1" lang="ja-JP" altLang="en-US" sz="3200" b="1" spc="50" dirty="0">
                <a:solidFill>
                  <a:schemeClr val="accent3"/>
                </a:solidFill>
                <a:latin typeface="+mn-ea"/>
              </a:rPr>
              <a:t>性別</a:t>
            </a:r>
            <a:r>
              <a:rPr kumimoji="1" lang="ja-JP" altLang="en-US" sz="3200" spc="50" dirty="0">
                <a:latin typeface="+mn-ea"/>
              </a:rPr>
              <a:t>や</a:t>
            </a:r>
            <a:r>
              <a:rPr kumimoji="1" lang="ja-JP" altLang="en-US" sz="3200" b="1" spc="50" dirty="0">
                <a:solidFill>
                  <a:schemeClr val="accent3"/>
                </a:solidFill>
                <a:latin typeface="+mn-ea"/>
              </a:rPr>
              <a:t>人種</a:t>
            </a:r>
            <a:r>
              <a:rPr kumimoji="1" lang="ja-JP" altLang="en-US" sz="3200" spc="50" dirty="0">
                <a:latin typeface="+mn-ea"/>
              </a:rPr>
              <a:t>に偏りが見られる</a:t>
            </a:r>
          </a:p>
        </p:txBody>
      </p:sp>
      <p:sp>
        <p:nvSpPr>
          <p:cNvPr id="34" name="テキスト ボックス 33">
            <a:extLst>
              <a:ext uri="{FF2B5EF4-FFF2-40B4-BE49-F238E27FC236}">
                <a16:creationId xmlns:a16="http://schemas.microsoft.com/office/drawing/2014/main" id="{11E223E8-069A-ADD4-66A3-FE0BECBA6D93}"/>
              </a:ext>
            </a:extLst>
          </p:cNvPr>
          <p:cNvSpPr txBox="1"/>
          <p:nvPr/>
        </p:nvSpPr>
        <p:spPr>
          <a:xfrm>
            <a:off x="6071043" y="2866128"/>
            <a:ext cx="6145913" cy="347596"/>
          </a:xfrm>
          <a:prstGeom prst="rect">
            <a:avLst/>
          </a:prstGeom>
          <a:noFill/>
        </p:spPr>
        <p:txBody>
          <a:bodyPr wrap="none" lIns="0" tIns="0" rIns="0" bIns="0" rtlCol="0" anchor="t">
            <a:spAutoFit/>
          </a:bodyPr>
          <a:lstStyle/>
          <a:p>
            <a:pPr algn="ctr">
              <a:lnSpc>
                <a:spcPct val="120000"/>
              </a:lnSpc>
              <a:spcAft>
                <a:spcPts val="1500"/>
              </a:spcAft>
            </a:pPr>
            <a:r>
              <a:rPr kumimoji="1" lang="en-US" altLang="ja-JP" sz="2000" spc="50" dirty="0">
                <a:latin typeface="+mn-ea"/>
              </a:rPr>
              <a:t>※</a:t>
            </a:r>
            <a:r>
              <a:rPr kumimoji="1" lang="ja-JP" altLang="en-US" sz="2000" spc="50" dirty="0">
                <a:latin typeface="+mn-ea"/>
              </a:rPr>
              <a:t> 現在では、生成</a:t>
            </a:r>
            <a:r>
              <a:rPr kumimoji="1" lang="en-US" altLang="ja-JP" sz="2000" spc="50" dirty="0">
                <a:latin typeface="+mn-ea"/>
              </a:rPr>
              <a:t>AI</a:t>
            </a:r>
            <a:r>
              <a:rPr kumimoji="1" lang="ja-JP" altLang="en-US" sz="2000" spc="50" dirty="0">
                <a:latin typeface="+mn-ea"/>
              </a:rPr>
              <a:t>サービス側の改善が進んでいる</a:t>
            </a:r>
          </a:p>
        </p:txBody>
      </p:sp>
      <p:grpSp>
        <p:nvGrpSpPr>
          <p:cNvPr id="41" name="グループ化 40">
            <a:extLst>
              <a:ext uri="{FF2B5EF4-FFF2-40B4-BE49-F238E27FC236}">
                <a16:creationId xmlns:a16="http://schemas.microsoft.com/office/drawing/2014/main" id="{9652BC93-55C9-3CA8-800D-368FC8D338B0}"/>
              </a:ext>
            </a:extLst>
          </p:cNvPr>
          <p:cNvGrpSpPr/>
          <p:nvPr/>
        </p:nvGrpSpPr>
        <p:grpSpPr>
          <a:xfrm>
            <a:off x="891184" y="3567491"/>
            <a:ext cx="5143638" cy="5797206"/>
            <a:chOff x="1066662" y="3524986"/>
            <a:chExt cx="5143638" cy="5797206"/>
          </a:xfrm>
        </p:grpSpPr>
        <p:pic>
          <p:nvPicPr>
            <p:cNvPr id="42" name="図 41">
              <a:extLst>
                <a:ext uri="{FF2B5EF4-FFF2-40B4-BE49-F238E27FC236}">
                  <a16:creationId xmlns:a16="http://schemas.microsoft.com/office/drawing/2014/main" id="{8FD24165-1F93-790A-D070-92E490EEA877}"/>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1140550" y="4326330"/>
              <a:ext cx="4995862" cy="4995862"/>
            </a:xfrm>
            <a:prstGeom prst="rect">
              <a:avLst/>
            </a:prstGeom>
            <a:ln w="76200">
              <a:solidFill>
                <a:schemeClr val="bg1"/>
              </a:solidFill>
            </a:ln>
          </p:spPr>
        </p:pic>
        <p:sp>
          <p:nvSpPr>
            <p:cNvPr id="43" name="四角形: 上の 2 つの角を丸める 42">
              <a:extLst>
                <a:ext uri="{FF2B5EF4-FFF2-40B4-BE49-F238E27FC236}">
                  <a16:creationId xmlns:a16="http://schemas.microsoft.com/office/drawing/2014/main" id="{8AE1B93A-DFD2-0DAB-8137-2E4A452780A5}"/>
                </a:ext>
              </a:extLst>
            </p:cNvPr>
            <p:cNvSpPr/>
            <p:nvPr/>
          </p:nvSpPr>
          <p:spPr>
            <a:xfrm>
              <a:off x="1066662" y="3524986"/>
              <a:ext cx="5143638"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2800" spc="300" dirty="0">
                  <a:solidFill>
                    <a:schemeClr val="bg1"/>
                  </a:solidFill>
                  <a:latin typeface="+mj-ea"/>
                  <a:ea typeface="+mj-ea"/>
                </a:rPr>
                <a:t>看護師</a:t>
              </a:r>
              <a:endParaRPr kumimoji="1" lang="ja-JP" altLang="en-US" sz="2800" spc="300" dirty="0">
                <a:solidFill>
                  <a:schemeClr val="bg1"/>
                </a:solidFill>
                <a:latin typeface="+mj-ea"/>
                <a:ea typeface="+mj-ea"/>
              </a:endParaRPr>
            </a:p>
          </p:txBody>
        </p:sp>
      </p:grpSp>
      <p:grpSp>
        <p:nvGrpSpPr>
          <p:cNvPr id="44" name="グループ化 43">
            <a:extLst>
              <a:ext uri="{FF2B5EF4-FFF2-40B4-BE49-F238E27FC236}">
                <a16:creationId xmlns:a16="http://schemas.microsoft.com/office/drawing/2014/main" id="{03326C53-701D-AAAB-423C-1BBD82EF6232}"/>
              </a:ext>
            </a:extLst>
          </p:cNvPr>
          <p:cNvGrpSpPr/>
          <p:nvPr/>
        </p:nvGrpSpPr>
        <p:grpSpPr>
          <a:xfrm>
            <a:off x="6396702" y="3565241"/>
            <a:ext cx="5143638" cy="5799456"/>
            <a:chOff x="6572180" y="3522736"/>
            <a:chExt cx="5143638" cy="5799456"/>
          </a:xfrm>
        </p:grpSpPr>
        <p:pic>
          <p:nvPicPr>
            <p:cNvPr id="45" name="図 44">
              <a:extLst>
                <a:ext uri="{FF2B5EF4-FFF2-40B4-BE49-F238E27FC236}">
                  <a16:creationId xmlns:a16="http://schemas.microsoft.com/office/drawing/2014/main" id="{233B5961-34BA-F38B-BE61-F4E4FEAFF106}"/>
                </a:ext>
              </a:extLst>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6646068" y="4326330"/>
              <a:ext cx="4995862" cy="4995862"/>
            </a:xfrm>
            <a:prstGeom prst="rect">
              <a:avLst/>
            </a:prstGeom>
            <a:ln w="76200">
              <a:solidFill>
                <a:schemeClr val="bg1"/>
              </a:solidFill>
            </a:ln>
          </p:spPr>
        </p:pic>
        <p:sp>
          <p:nvSpPr>
            <p:cNvPr id="46" name="四角形: 上の 2 つの角を丸める 45">
              <a:extLst>
                <a:ext uri="{FF2B5EF4-FFF2-40B4-BE49-F238E27FC236}">
                  <a16:creationId xmlns:a16="http://schemas.microsoft.com/office/drawing/2014/main" id="{77437292-A3AA-2CFB-98E1-0370704269DF}"/>
                </a:ext>
              </a:extLst>
            </p:cNvPr>
            <p:cNvSpPr/>
            <p:nvPr/>
          </p:nvSpPr>
          <p:spPr>
            <a:xfrm>
              <a:off x="6572180" y="3522736"/>
              <a:ext cx="5143638"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2800" spc="300" dirty="0">
                  <a:solidFill>
                    <a:schemeClr val="bg1"/>
                  </a:solidFill>
                  <a:latin typeface="+mj-ea"/>
                  <a:ea typeface="+mj-ea"/>
                </a:rPr>
                <a:t>国会議員</a:t>
              </a:r>
              <a:endParaRPr kumimoji="1" lang="ja-JP" altLang="en-US" sz="2800" spc="300" dirty="0">
                <a:solidFill>
                  <a:schemeClr val="bg1"/>
                </a:solidFill>
                <a:latin typeface="+mj-ea"/>
                <a:ea typeface="+mj-ea"/>
              </a:endParaRPr>
            </a:p>
          </p:txBody>
        </p:sp>
      </p:grpSp>
      <p:grpSp>
        <p:nvGrpSpPr>
          <p:cNvPr id="47" name="グループ化 46">
            <a:extLst>
              <a:ext uri="{FF2B5EF4-FFF2-40B4-BE49-F238E27FC236}">
                <a16:creationId xmlns:a16="http://schemas.microsoft.com/office/drawing/2014/main" id="{FCA69779-BA3F-C788-9061-76A673C9919B}"/>
              </a:ext>
            </a:extLst>
          </p:cNvPr>
          <p:cNvGrpSpPr/>
          <p:nvPr/>
        </p:nvGrpSpPr>
        <p:grpSpPr>
          <a:xfrm>
            <a:off x="12049996" y="3731956"/>
            <a:ext cx="5415276" cy="2563628"/>
            <a:chOff x="759857" y="6998876"/>
            <a:chExt cx="5415276" cy="2563628"/>
          </a:xfrm>
        </p:grpSpPr>
        <p:sp>
          <p:nvSpPr>
            <p:cNvPr id="48" name="四角形: 上の 2 つの角を丸める 47">
              <a:extLst>
                <a:ext uri="{FF2B5EF4-FFF2-40B4-BE49-F238E27FC236}">
                  <a16:creationId xmlns:a16="http://schemas.microsoft.com/office/drawing/2014/main" id="{95AC1686-6945-B111-7452-764699D07003}"/>
                </a:ext>
              </a:extLst>
            </p:cNvPr>
            <p:cNvSpPr/>
            <p:nvPr/>
          </p:nvSpPr>
          <p:spPr>
            <a:xfrm>
              <a:off x="759857" y="6998876"/>
              <a:ext cx="1395440" cy="452554"/>
            </a:xfrm>
            <a:prstGeom prst="round2SameRect">
              <a:avLst>
                <a:gd name="adj1" fmla="val 17546"/>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Bad</a:t>
              </a:r>
              <a:endParaRPr kumimoji="1" lang="ja-JP" altLang="en-US" sz="2400" spc="300" dirty="0">
                <a:solidFill>
                  <a:schemeClr val="bg1"/>
                </a:solidFill>
                <a:latin typeface="+mj-ea"/>
                <a:ea typeface="+mj-ea"/>
              </a:endParaRPr>
            </a:p>
          </p:txBody>
        </p:sp>
        <p:sp>
          <p:nvSpPr>
            <p:cNvPr id="49" name="四角形: 上の 2 つの角を丸める 48">
              <a:extLst>
                <a:ext uri="{FF2B5EF4-FFF2-40B4-BE49-F238E27FC236}">
                  <a16:creationId xmlns:a16="http://schemas.microsoft.com/office/drawing/2014/main" id="{4978C06B-2D4F-B52A-0697-311B6ED7CF9E}"/>
                </a:ext>
              </a:extLst>
            </p:cNvPr>
            <p:cNvSpPr/>
            <p:nvPr/>
          </p:nvSpPr>
          <p:spPr>
            <a:xfrm>
              <a:off x="759857" y="7460078"/>
              <a:ext cx="5415276" cy="2102426"/>
            </a:xfrm>
            <a:prstGeom prst="round2SameRect">
              <a:avLst>
                <a:gd name="adj1" fmla="val 0"/>
                <a:gd name="adj2" fmla="val 3042"/>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88000" rIns="216000" bIns="288000" rtlCol="0" anchor="t">
              <a:spAutoFit/>
            </a:bodyPr>
            <a:lstStyle/>
            <a:p>
              <a:pPr>
                <a:lnSpc>
                  <a:spcPct val="120000"/>
                </a:lnSpc>
                <a:spcAft>
                  <a:spcPts val="1000"/>
                </a:spcAft>
                <a:buClr>
                  <a:schemeClr val="accent3"/>
                </a:buClr>
              </a:pPr>
              <a:r>
                <a:rPr kumimoji="1" lang="ja-JP" altLang="en-US" sz="2800" spc="100" dirty="0">
                  <a:solidFill>
                    <a:schemeClr val="tx1"/>
                  </a:solidFill>
                  <a:latin typeface="+mn-ea"/>
                </a:rPr>
                <a:t>複数人の看護師の画像作成を指示したところ、</a:t>
              </a:r>
              <a:r>
                <a:rPr kumimoji="1" lang="ja-JP" altLang="en-US" sz="2800" b="1" spc="100" dirty="0">
                  <a:solidFill>
                    <a:schemeClr val="accent3"/>
                  </a:solidFill>
                  <a:latin typeface="+mj-ea"/>
                  <a:ea typeface="+mj-ea"/>
                </a:rPr>
                <a:t>女性ばかり</a:t>
              </a:r>
              <a:r>
                <a:rPr kumimoji="1" lang="ja-JP" altLang="en-US" sz="2800" spc="100" dirty="0">
                  <a:solidFill>
                    <a:schemeClr val="tx1"/>
                  </a:solidFill>
                  <a:latin typeface="+mn-ea"/>
                </a:rPr>
                <a:t>が出力され、</a:t>
              </a:r>
              <a:r>
                <a:rPr kumimoji="1" lang="ja-JP" altLang="en-US" sz="2800" b="1" spc="100" dirty="0">
                  <a:solidFill>
                    <a:schemeClr val="accent3"/>
                  </a:solidFill>
                  <a:latin typeface="+mj-ea"/>
                  <a:ea typeface="+mj-ea"/>
                </a:rPr>
                <a:t>人種にも偏り</a:t>
              </a:r>
            </a:p>
          </p:txBody>
        </p:sp>
      </p:grpSp>
      <p:grpSp>
        <p:nvGrpSpPr>
          <p:cNvPr id="50" name="グループ化 49">
            <a:extLst>
              <a:ext uri="{FF2B5EF4-FFF2-40B4-BE49-F238E27FC236}">
                <a16:creationId xmlns:a16="http://schemas.microsoft.com/office/drawing/2014/main" id="{74D151D6-F54F-6CD2-09D2-E2375DD0B301}"/>
              </a:ext>
            </a:extLst>
          </p:cNvPr>
          <p:cNvGrpSpPr/>
          <p:nvPr/>
        </p:nvGrpSpPr>
        <p:grpSpPr>
          <a:xfrm>
            <a:off x="12049996" y="6672133"/>
            <a:ext cx="5415276" cy="2563628"/>
            <a:chOff x="759857" y="6998876"/>
            <a:chExt cx="5415276" cy="2563628"/>
          </a:xfrm>
        </p:grpSpPr>
        <p:sp>
          <p:nvSpPr>
            <p:cNvPr id="51" name="四角形: 上の 2 つの角を丸める 50">
              <a:extLst>
                <a:ext uri="{FF2B5EF4-FFF2-40B4-BE49-F238E27FC236}">
                  <a16:creationId xmlns:a16="http://schemas.microsoft.com/office/drawing/2014/main" id="{58B56C47-1B5E-45E1-F52E-8B760D1AD896}"/>
                </a:ext>
              </a:extLst>
            </p:cNvPr>
            <p:cNvSpPr/>
            <p:nvPr/>
          </p:nvSpPr>
          <p:spPr>
            <a:xfrm>
              <a:off x="759857" y="6998876"/>
              <a:ext cx="1395440" cy="452554"/>
            </a:xfrm>
            <a:prstGeom prst="round2SameRect">
              <a:avLst>
                <a:gd name="adj1" fmla="val 17546"/>
                <a:gd name="adj2" fmla="val 0"/>
              </a:avLst>
            </a:prstGeom>
            <a:solidFill>
              <a:schemeClr val="accent3"/>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180000" tIns="36000" rIns="144000" bIns="18000" rtlCol="0" anchor="b">
              <a:spAutoFit/>
            </a:bodyPr>
            <a:lstStyle/>
            <a:p>
              <a:r>
                <a:rPr lang="ja-JP" altLang="en-US" sz="2400" spc="300" dirty="0">
                  <a:solidFill>
                    <a:schemeClr val="bg1"/>
                  </a:solidFill>
                  <a:latin typeface="+mj-ea"/>
                  <a:ea typeface="+mj-ea"/>
                </a:rPr>
                <a:t>✕</a:t>
              </a:r>
              <a:r>
                <a:rPr lang="en-US" altLang="ja-JP" sz="2400" spc="300" dirty="0">
                  <a:solidFill>
                    <a:schemeClr val="bg1"/>
                  </a:solidFill>
                  <a:latin typeface="+mj-ea"/>
                  <a:ea typeface="+mj-ea"/>
                </a:rPr>
                <a:t>Bad</a:t>
              </a:r>
              <a:endParaRPr kumimoji="1" lang="ja-JP" altLang="en-US" sz="2400" spc="300" dirty="0">
                <a:solidFill>
                  <a:schemeClr val="bg1"/>
                </a:solidFill>
                <a:latin typeface="+mj-ea"/>
                <a:ea typeface="+mj-ea"/>
              </a:endParaRPr>
            </a:p>
          </p:txBody>
        </p:sp>
        <p:sp>
          <p:nvSpPr>
            <p:cNvPr id="52" name="四角形: 上の 2 つの角を丸める 51">
              <a:extLst>
                <a:ext uri="{FF2B5EF4-FFF2-40B4-BE49-F238E27FC236}">
                  <a16:creationId xmlns:a16="http://schemas.microsoft.com/office/drawing/2014/main" id="{7A10634D-FB5B-2565-28AD-269821C099E9}"/>
                </a:ext>
              </a:extLst>
            </p:cNvPr>
            <p:cNvSpPr/>
            <p:nvPr/>
          </p:nvSpPr>
          <p:spPr>
            <a:xfrm>
              <a:off x="759857" y="7460078"/>
              <a:ext cx="5415276" cy="2102426"/>
            </a:xfrm>
            <a:prstGeom prst="round2SameRect">
              <a:avLst>
                <a:gd name="adj1" fmla="val 0"/>
                <a:gd name="adj2" fmla="val 3042"/>
              </a:avLst>
            </a:prstGeom>
            <a:solidFill>
              <a:schemeClr val="bg1"/>
            </a:solidFill>
            <a:ln w="381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square" lIns="216000" tIns="288000" rIns="216000" bIns="288000" rtlCol="0" anchor="t">
              <a:spAutoFit/>
            </a:bodyPr>
            <a:lstStyle/>
            <a:p>
              <a:pPr>
                <a:lnSpc>
                  <a:spcPct val="120000"/>
                </a:lnSpc>
                <a:spcAft>
                  <a:spcPts val="1000"/>
                </a:spcAft>
                <a:buClr>
                  <a:schemeClr val="accent3"/>
                </a:buClr>
              </a:pPr>
              <a:r>
                <a:rPr kumimoji="1" lang="ja-JP" altLang="en-US" sz="2800" spc="100" dirty="0">
                  <a:solidFill>
                    <a:schemeClr val="tx1"/>
                  </a:solidFill>
                  <a:latin typeface="+mn-ea"/>
                </a:rPr>
                <a:t>国会議員の画像作成を指示したところ、</a:t>
              </a:r>
              <a:r>
                <a:rPr kumimoji="1" lang="ja-JP" altLang="en-US" sz="2800" b="1" spc="100" dirty="0">
                  <a:solidFill>
                    <a:schemeClr val="accent3"/>
                  </a:solidFill>
                  <a:latin typeface="+mj-ea"/>
                  <a:ea typeface="+mj-ea"/>
                </a:rPr>
                <a:t>男性ばかり</a:t>
              </a:r>
              <a:r>
                <a:rPr kumimoji="1" lang="ja-JP" altLang="en-US" sz="2800" spc="100" dirty="0">
                  <a:solidFill>
                    <a:schemeClr val="tx1"/>
                  </a:solidFill>
                  <a:latin typeface="+mn-ea"/>
                </a:rPr>
                <a:t>が出力され、</a:t>
              </a:r>
              <a:r>
                <a:rPr kumimoji="1" lang="ja-JP" altLang="en-US" sz="2800" b="1" spc="100" dirty="0">
                  <a:solidFill>
                    <a:schemeClr val="accent3"/>
                  </a:solidFill>
                  <a:latin typeface="+mj-ea"/>
                  <a:ea typeface="+mj-ea"/>
                </a:rPr>
                <a:t>人種にも偏り</a:t>
              </a:r>
            </a:p>
          </p:txBody>
        </p:sp>
      </p:grpSp>
      <p:sp>
        <p:nvSpPr>
          <p:cNvPr id="3" name="スライド番号プレースホルダー 2">
            <a:extLst>
              <a:ext uri="{FF2B5EF4-FFF2-40B4-BE49-F238E27FC236}">
                <a16:creationId xmlns:a16="http://schemas.microsoft.com/office/drawing/2014/main" id="{AE39538E-3A85-67E1-4C32-770C43725A2E}"/>
              </a:ext>
            </a:extLst>
          </p:cNvPr>
          <p:cNvSpPr>
            <a:spLocks noGrp="1"/>
          </p:cNvSpPr>
          <p:nvPr>
            <p:ph type="sldNum" sz="quarter" idx="11"/>
          </p:nvPr>
        </p:nvSpPr>
        <p:spPr>
          <a:xfrm>
            <a:off x="17695001" y="9786651"/>
            <a:ext cx="327013" cy="307777"/>
          </a:xfrm>
        </p:spPr>
        <p:txBody>
          <a:bodyPr/>
          <a:lstStyle/>
          <a:p>
            <a:r>
              <a:rPr lang="en-US" altLang="ja-JP"/>
              <a:t>65</a:t>
            </a:r>
            <a:endParaRPr lang="ja-JP" altLang="en-US" dirty="0"/>
          </a:p>
        </p:txBody>
      </p:sp>
    </p:spTree>
    <p:extLst>
      <p:ext uri="{BB962C8B-B14F-4D97-AF65-F5344CB8AC3E}">
        <p14:creationId xmlns:p14="http://schemas.microsoft.com/office/powerpoint/2010/main" val="1616962495"/>
      </p:ext>
    </p:extLst>
  </p:cSld>
  <p:clrMapOvr>
    <a:masterClrMapping/>
  </p:clrMapOvr>
</p:sld>
</file>

<file path=ppt/slides/slide6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5" name="グループ化 4">
            <a:extLst>
              <a:ext uri="{FF2B5EF4-FFF2-40B4-BE49-F238E27FC236}">
                <a16:creationId xmlns:a16="http://schemas.microsoft.com/office/drawing/2014/main" id="{C4A4D706-3DFB-673E-8C39-283774B96CEB}"/>
              </a:ext>
            </a:extLst>
          </p:cNvPr>
          <p:cNvGrpSpPr/>
          <p:nvPr/>
        </p:nvGrpSpPr>
        <p:grpSpPr>
          <a:xfrm>
            <a:off x="2443937" y="963221"/>
            <a:ext cx="14617878" cy="570468"/>
            <a:chOff x="3816093" y="963221"/>
            <a:chExt cx="14617878" cy="570468"/>
          </a:xfrm>
        </p:grpSpPr>
        <p:sp>
          <p:nvSpPr>
            <p:cNvPr id="6" name="テキスト ボックス 5">
              <a:extLst>
                <a:ext uri="{FF2B5EF4-FFF2-40B4-BE49-F238E27FC236}">
                  <a16:creationId xmlns:a16="http://schemas.microsoft.com/office/drawing/2014/main" id="{E3CBC957-A68A-2829-C678-B1308901ED6A}"/>
                </a:ext>
              </a:extLst>
            </p:cNvPr>
            <p:cNvSpPr txBox="1"/>
            <p:nvPr/>
          </p:nvSpPr>
          <p:spPr>
            <a:xfrm>
              <a:off x="6071612" y="1017623"/>
              <a:ext cx="12362359" cy="461665"/>
            </a:xfrm>
            <a:prstGeom prst="rect">
              <a:avLst/>
            </a:prstGeom>
            <a:noFill/>
          </p:spPr>
          <p:txBody>
            <a:bodyPr wrap="none" lIns="0" tIns="0" rIns="0" bIns="0" rtlCol="0" anchor="ctr">
              <a:spAutoFit/>
            </a:bodyPr>
            <a:lstStyle/>
            <a:p>
              <a:r>
                <a:rPr kumimoji="1" lang="ja-JP" altLang="en-US" sz="3000" spc="100" dirty="0">
                  <a:latin typeface="+mj-ea"/>
                  <a:ea typeface="+mj-ea"/>
                </a:rPr>
                <a:t>中国では、生成</a:t>
              </a:r>
              <a:r>
                <a:rPr kumimoji="1" lang="en-US" altLang="ja-JP" sz="3000" spc="100" dirty="0">
                  <a:latin typeface="+mj-ea"/>
                  <a:ea typeface="+mj-ea"/>
                </a:rPr>
                <a:t>AI</a:t>
              </a:r>
              <a:r>
                <a:rPr kumimoji="1" lang="ja-JP" altLang="en-US" sz="3000" spc="100" dirty="0">
                  <a:latin typeface="+mj-ea"/>
                  <a:ea typeface="+mj-ea"/>
                </a:rPr>
                <a:t>で他人の顔を生成し、金銭をだまし取る詐欺が発生</a:t>
              </a:r>
              <a:endParaRPr kumimoji="1" lang="en-US" altLang="ja-JP" sz="3000" spc="100" dirty="0">
                <a:latin typeface="+mj-ea"/>
                <a:ea typeface="+mj-ea"/>
              </a:endParaRPr>
            </a:p>
          </p:txBody>
        </p:sp>
        <p:sp>
          <p:nvSpPr>
            <p:cNvPr id="7" name="四角形: 角を丸くする 6">
              <a:extLst>
                <a:ext uri="{FF2B5EF4-FFF2-40B4-BE49-F238E27FC236}">
                  <a16:creationId xmlns:a16="http://schemas.microsoft.com/office/drawing/2014/main" id="{B3B6182A-B2C9-9FD0-B45F-626163FA65D8}"/>
                </a:ext>
              </a:extLst>
            </p:cNvPr>
            <p:cNvSpPr/>
            <p:nvPr/>
          </p:nvSpPr>
          <p:spPr>
            <a:xfrm>
              <a:off x="3816093" y="963221"/>
              <a:ext cx="1900702" cy="570468"/>
            </a:xfrm>
            <a:prstGeom prst="roundRect">
              <a:avLst>
                <a:gd name="adj" fmla="val 50000"/>
              </a:avLst>
            </a:prstGeom>
            <a:solidFill>
              <a:schemeClr val="accent3">
                <a:lumMod val="20000"/>
                <a:lumOff val="80000"/>
              </a:schemeClr>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lang="ja-JP" altLang="en-US" sz="2400" spc="300" dirty="0">
                  <a:solidFill>
                    <a:schemeClr val="tx1"/>
                  </a:solidFill>
                  <a:latin typeface="+mj-ea"/>
                  <a:ea typeface="+mj-ea"/>
                </a:rPr>
                <a:t>モラル❸</a:t>
              </a:r>
              <a:endParaRPr kumimoji="1" lang="ja-JP" altLang="en-US" sz="2400" spc="300" dirty="0">
                <a:solidFill>
                  <a:schemeClr val="tx1"/>
                </a:solidFill>
                <a:latin typeface="+mj-ea"/>
                <a:ea typeface="+mj-ea"/>
              </a:endParaRPr>
            </a:p>
          </p:txBody>
        </p:sp>
      </p:grpSp>
      <p:sp>
        <p:nvSpPr>
          <p:cNvPr id="8" name="テキスト ボックス 7">
            <a:extLst>
              <a:ext uri="{FF2B5EF4-FFF2-40B4-BE49-F238E27FC236}">
                <a16:creationId xmlns:a16="http://schemas.microsoft.com/office/drawing/2014/main" id="{22841098-9947-9129-B82D-D586ECB39428}"/>
              </a:ext>
            </a:extLst>
          </p:cNvPr>
          <p:cNvSpPr txBox="1"/>
          <p:nvPr/>
        </p:nvSpPr>
        <p:spPr>
          <a:xfrm>
            <a:off x="2636611" y="2213614"/>
            <a:ext cx="13014781" cy="1147109"/>
          </a:xfrm>
          <a:prstGeom prst="rect">
            <a:avLst/>
          </a:prstGeom>
          <a:noFill/>
        </p:spPr>
        <p:txBody>
          <a:bodyPr wrap="none" lIns="0" tIns="0" rIns="0" bIns="0" rtlCol="0" anchor="t">
            <a:spAutoFit/>
          </a:bodyPr>
          <a:lstStyle/>
          <a:p>
            <a:pPr>
              <a:lnSpc>
                <a:spcPct val="120000"/>
              </a:lnSpc>
              <a:spcAft>
                <a:spcPts val="1500"/>
              </a:spcAft>
            </a:pPr>
            <a:r>
              <a:rPr kumimoji="1" lang="en-US" altLang="ja-JP" sz="3200" spc="50" dirty="0">
                <a:latin typeface="+mn-ea"/>
              </a:rPr>
              <a:t>2023</a:t>
            </a:r>
            <a:r>
              <a:rPr kumimoji="1" lang="ja-JP" altLang="en-US" sz="3200" spc="50" dirty="0">
                <a:latin typeface="+mn-ea"/>
              </a:rPr>
              <a:t>年</a:t>
            </a:r>
            <a:r>
              <a:rPr kumimoji="1" lang="en-US" altLang="ja-JP" sz="3200" spc="50" dirty="0">
                <a:latin typeface="+mn-ea"/>
              </a:rPr>
              <a:t>4</a:t>
            </a:r>
            <a:r>
              <a:rPr kumimoji="1" lang="ja-JP" altLang="en-US" sz="3200" spc="50" dirty="0">
                <a:latin typeface="+mn-ea"/>
              </a:rPr>
              <a:t>月、中国では、生成</a:t>
            </a:r>
            <a:r>
              <a:rPr kumimoji="1" lang="en-US" altLang="ja-JP" sz="3200" spc="50" dirty="0">
                <a:latin typeface="+mn-ea"/>
              </a:rPr>
              <a:t>AI</a:t>
            </a:r>
            <a:r>
              <a:rPr kumimoji="1" lang="ja-JP" altLang="en-US" sz="3200" spc="50" dirty="0">
                <a:latin typeface="+mn-ea"/>
              </a:rPr>
              <a:t>を悪用して</a:t>
            </a:r>
            <a:r>
              <a:rPr kumimoji="1" lang="ja-JP" altLang="en-US" sz="3200" spc="50" dirty="0">
                <a:solidFill>
                  <a:schemeClr val="accent3"/>
                </a:solidFill>
                <a:latin typeface="+mj-ea"/>
                <a:ea typeface="+mj-ea"/>
              </a:rPr>
              <a:t>実在の友人の顔を生成</a:t>
            </a:r>
            <a:r>
              <a:rPr kumimoji="1" lang="ja-JP" altLang="en-US" sz="3200" spc="50" dirty="0">
                <a:latin typeface="+mn-ea"/>
              </a:rPr>
              <a:t>し、</a:t>
            </a:r>
            <a:br>
              <a:rPr kumimoji="1" lang="en-US" altLang="ja-JP" sz="3200" spc="50" dirty="0">
                <a:latin typeface="+mn-ea"/>
              </a:rPr>
            </a:br>
            <a:r>
              <a:rPr kumimoji="1" lang="en-US" altLang="ja-JP" sz="3200" spc="50" dirty="0">
                <a:latin typeface="+mn-ea"/>
              </a:rPr>
              <a:t>8,400</a:t>
            </a:r>
            <a:r>
              <a:rPr kumimoji="1" lang="ja-JP" altLang="en-US" sz="3200" spc="50" dirty="0">
                <a:latin typeface="+mn-ea"/>
              </a:rPr>
              <a:t>万円以上をだまし取る事件が発生</a:t>
            </a:r>
          </a:p>
        </p:txBody>
      </p:sp>
      <p:sp>
        <p:nvSpPr>
          <p:cNvPr id="3" name="スライド番号プレースホルダー 2">
            <a:extLst>
              <a:ext uri="{FF2B5EF4-FFF2-40B4-BE49-F238E27FC236}">
                <a16:creationId xmlns:a16="http://schemas.microsoft.com/office/drawing/2014/main" id="{C328A1D6-09BE-3463-1330-F07D35A4C0D6}"/>
              </a:ext>
            </a:extLst>
          </p:cNvPr>
          <p:cNvSpPr>
            <a:spLocks noGrp="1"/>
          </p:cNvSpPr>
          <p:nvPr>
            <p:ph type="sldNum" sz="quarter" idx="11"/>
          </p:nvPr>
        </p:nvSpPr>
        <p:spPr>
          <a:xfrm>
            <a:off x="17695001" y="9786651"/>
            <a:ext cx="327013" cy="307777"/>
          </a:xfrm>
        </p:spPr>
        <p:txBody>
          <a:bodyPr/>
          <a:lstStyle/>
          <a:p>
            <a:r>
              <a:rPr lang="en-US" altLang="ja-JP"/>
              <a:t>66</a:t>
            </a:r>
            <a:endParaRPr lang="ja-JP" altLang="en-US" dirty="0"/>
          </a:p>
        </p:txBody>
      </p:sp>
      <p:grpSp>
        <p:nvGrpSpPr>
          <p:cNvPr id="11" name="グループ化 10">
            <a:extLst>
              <a:ext uri="{FF2B5EF4-FFF2-40B4-BE49-F238E27FC236}">
                <a16:creationId xmlns:a16="http://schemas.microsoft.com/office/drawing/2014/main" id="{87F8D94E-4FBF-2157-2625-62026354ADE8}"/>
              </a:ext>
            </a:extLst>
          </p:cNvPr>
          <p:cNvGrpSpPr/>
          <p:nvPr/>
        </p:nvGrpSpPr>
        <p:grpSpPr>
          <a:xfrm>
            <a:off x="1324741" y="3716723"/>
            <a:ext cx="15638518" cy="5690034"/>
            <a:chOff x="1324741" y="3716723"/>
            <a:chExt cx="15638518" cy="5690034"/>
          </a:xfrm>
        </p:grpSpPr>
        <p:grpSp>
          <p:nvGrpSpPr>
            <p:cNvPr id="4" name="グループ化 3">
              <a:extLst>
                <a:ext uri="{FF2B5EF4-FFF2-40B4-BE49-F238E27FC236}">
                  <a16:creationId xmlns:a16="http://schemas.microsoft.com/office/drawing/2014/main" id="{ECC145B7-12BA-DD0E-58DA-80AF9BDA7C2B}"/>
                </a:ext>
              </a:extLst>
            </p:cNvPr>
            <p:cNvGrpSpPr/>
            <p:nvPr/>
          </p:nvGrpSpPr>
          <p:grpSpPr>
            <a:xfrm>
              <a:off x="1324741" y="3716723"/>
              <a:ext cx="15638518" cy="5690034"/>
              <a:chOff x="-413403" y="3800810"/>
              <a:chExt cx="14017300" cy="5690034"/>
            </a:xfrm>
          </p:grpSpPr>
          <p:sp>
            <p:nvSpPr>
              <p:cNvPr id="13" name="四角形: 角を丸くする 12">
                <a:extLst>
                  <a:ext uri="{FF2B5EF4-FFF2-40B4-BE49-F238E27FC236}">
                    <a16:creationId xmlns:a16="http://schemas.microsoft.com/office/drawing/2014/main" id="{84161D13-1C44-2F9E-B44F-20E5FD759589}"/>
                  </a:ext>
                </a:extLst>
              </p:cNvPr>
              <p:cNvSpPr/>
              <p:nvPr/>
            </p:nvSpPr>
            <p:spPr>
              <a:xfrm>
                <a:off x="-413403" y="3800810"/>
                <a:ext cx="14017300" cy="5690034"/>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14" name="四角形: 上の 2 つの角を丸める 13">
                <a:extLst>
                  <a:ext uri="{FF2B5EF4-FFF2-40B4-BE49-F238E27FC236}">
                    <a16:creationId xmlns:a16="http://schemas.microsoft.com/office/drawing/2014/main" id="{4E3614A6-3E32-5032-50AE-1BAC72F31C97}"/>
                  </a:ext>
                </a:extLst>
              </p:cNvPr>
              <p:cNvSpPr/>
              <p:nvPr/>
            </p:nvSpPr>
            <p:spPr>
              <a:xfrm>
                <a:off x="-413403" y="3800810"/>
                <a:ext cx="14017300" cy="743585"/>
              </a:xfrm>
              <a:prstGeom prst="round2SameRect">
                <a:avLst>
                  <a:gd name="adj1" fmla="val 12810"/>
                  <a:gd name="adj2" fmla="val 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kumimoji="1" lang="ja-JP" altLang="en-US" sz="2800" spc="300" dirty="0">
                    <a:solidFill>
                      <a:schemeClr val="bg1"/>
                    </a:solidFill>
                    <a:latin typeface="+mj-ea"/>
                    <a:ea typeface="+mj-ea"/>
                  </a:rPr>
                  <a:t>詐欺の内容</a:t>
                </a:r>
              </a:p>
            </p:txBody>
          </p:sp>
        </p:grpSp>
        <p:sp>
          <p:nvSpPr>
            <p:cNvPr id="30" name="テキスト ボックス 29">
              <a:extLst>
                <a:ext uri="{FF2B5EF4-FFF2-40B4-BE49-F238E27FC236}">
                  <a16:creationId xmlns:a16="http://schemas.microsoft.com/office/drawing/2014/main" id="{06669CD1-D0EB-122E-DC0F-182C654C8FB8}"/>
                </a:ext>
              </a:extLst>
            </p:cNvPr>
            <p:cNvSpPr txBox="1"/>
            <p:nvPr/>
          </p:nvSpPr>
          <p:spPr>
            <a:xfrm>
              <a:off x="1729664" y="4968956"/>
              <a:ext cx="7006884" cy="3929153"/>
            </a:xfrm>
            <a:prstGeom prst="rect">
              <a:avLst/>
            </a:prstGeom>
            <a:noFill/>
          </p:spPr>
          <p:txBody>
            <a:bodyPr wrap="square" lIns="0" tIns="0" rIns="0" bIns="0" rtlCol="0" anchor="t">
              <a:spAutoFit/>
            </a:bodyPr>
            <a:lstStyle/>
            <a:p>
              <a:pPr marL="457200" indent="-457200">
                <a:lnSpc>
                  <a:spcPct val="120000"/>
                </a:lnSpc>
                <a:spcAft>
                  <a:spcPts val="1500"/>
                </a:spcAft>
                <a:buClr>
                  <a:schemeClr val="accent3">
                    <a:lumMod val="60000"/>
                    <a:lumOff val="40000"/>
                  </a:schemeClr>
                </a:buClr>
                <a:buFont typeface="Wingdings" panose="05000000000000000000" pitchFamily="2" charset="2"/>
                <a:buChar char="l"/>
              </a:pPr>
              <a:r>
                <a:rPr kumimoji="1" lang="ja-JP" altLang="en-US" sz="2800" spc="50" dirty="0">
                  <a:latin typeface="+mn-ea"/>
                </a:rPr>
                <a:t>被害者は、友人からビデオ通話で</a:t>
              </a:r>
              <a:br>
                <a:rPr kumimoji="1" lang="ja-JP" altLang="en-US" sz="2800" spc="50" dirty="0">
                  <a:latin typeface="+mn-ea"/>
                </a:rPr>
              </a:br>
              <a:r>
                <a:rPr kumimoji="1" lang="ja-JP" altLang="en-US" sz="2800" spc="50" dirty="0">
                  <a:latin typeface="+mn-ea"/>
                </a:rPr>
                <a:t>「入札の保証金を貸してほしい」と</a:t>
              </a:r>
              <a:br>
                <a:rPr kumimoji="1" lang="ja-JP" altLang="en-US" sz="2800" spc="50" dirty="0">
                  <a:latin typeface="+mn-ea"/>
                </a:rPr>
              </a:br>
              <a:r>
                <a:rPr kumimoji="1" lang="ja-JP" altLang="en-US" sz="2800" spc="50" dirty="0">
                  <a:latin typeface="+mn-ea"/>
                </a:rPr>
                <a:t>依頼され、指定された口座に入金</a:t>
              </a:r>
              <a:endParaRPr kumimoji="1" lang="en-US" altLang="ja-JP" sz="2800" spc="50" dirty="0">
                <a:latin typeface="+mn-ea"/>
              </a:endParaRPr>
            </a:p>
            <a:p>
              <a:pPr marL="457200" indent="-457200">
                <a:lnSpc>
                  <a:spcPct val="120000"/>
                </a:lnSpc>
                <a:spcAft>
                  <a:spcPts val="1500"/>
                </a:spcAft>
                <a:buClr>
                  <a:schemeClr val="accent3">
                    <a:lumMod val="60000"/>
                    <a:lumOff val="40000"/>
                  </a:schemeClr>
                </a:buClr>
                <a:buFont typeface="Wingdings" panose="05000000000000000000" pitchFamily="2" charset="2"/>
                <a:buChar char="l"/>
              </a:pPr>
              <a:r>
                <a:rPr kumimoji="1" lang="ja-JP" altLang="en-US" sz="2800" spc="50" dirty="0">
                  <a:latin typeface="+mn-ea"/>
                </a:rPr>
                <a:t>容疑者は、被害者の友人の</a:t>
              </a:r>
              <a:br>
                <a:rPr kumimoji="1" lang="en-US" altLang="ja-JP" sz="2800" spc="50" dirty="0">
                  <a:latin typeface="+mn-ea"/>
                </a:rPr>
              </a:br>
              <a:r>
                <a:rPr kumimoji="1" lang="ja-JP" altLang="en-US" sz="2800" spc="50" dirty="0">
                  <a:latin typeface="+mn-ea"/>
                </a:rPr>
                <a:t>アカウントを盗み、</a:t>
              </a:r>
              <a:br>
                <a:rPr kumimoji="1" lang="en-US" altLang="ja-JP" sz="2800" spc="50" dirty="0">
                  <a:latin typeface="+mn-ea"/>
                </a:rPr>
              </a:br>
              <a:r>
                <a:rPr kumimoji="1" lang="ja-JP" altLang="en-US" sz="3200" spc="50" dirty="0">
                  <a:solidFill>
                    <a:schemeClr val="accent3"/>
                  </a:solidFill>
                  <a:latin typeface="+mj-ea"/>
                  <a:ea typeface="+mj-ea"/>
                </a:rPr>
                <a:t>顔や声を特定し</a:t>
              </a:r>
              <a:r>
                <a:rPr kumimoji="1" lang="en-US" altLang="ja-JP" sz="3200" spc="50" dirty="0">
                  <a:solidFill>
                    <a:schemeClr val="accent3"/>
                  </a:solidFill>
                  <a:latin typeface="+mj-ea"/>
                  <a:ea typeface="+mj-ea"/>
                </a:rPr>
                <a:t>AI</a:t>
              </a:r>
              <a:r>
                <a:rPr kumimoji="1" lang="ja-JP" altLang="en-US" sz="3200" spc="50" dirty="0">
                  <a:solidFill>
                    <a:schemeClr val="accent3"/>
                  </a:solidFill>
                  <a:latin typeface="+mj-ea"/>
                  <a:ea typeface="+mj-ea"/>
                </a:rPr>
                <a:t>で生成した</a:t>
              </a:r>
              <a:br>
                <a:rPr kumimoji="1" lang="en-US" altLang="ja-JP" sz="3200" spc="50" dirty="0">
                  <a:solidFill>
                    <a:schemeClr val="accent3"/>
                  </a:solidFill>
                  <a:latin typeface="+mj-ea"/>
                  <a:ea typeface="+mj-ea"/>
                </a:rPr>
              </a:br>
              <a:r>
                <a:rPr kumimoji="1" lang="ja-JP" altLang="en-US" sz="2800" spc="50" dirty="0">
                  <a:latin typeface="+mn-ea"/>
                </a:rPr>
                <a:t>可能性がある</a:t>
              </a:r>
            </a:p>
          </p:txBody>
        </p:sp>
        <p:pic>
          <p:nvPicPr>
            <p:cNvPr id="10" name="図 9">
              <a:extLst>
                <a:ext uri="{FF2B5EF4-FFF2-40B4-BE49-F238E27FC236}">
                  <a16:creationId xmlns:a16="http://schemas.microsoft.com/office/drawing/2014/main" id="{BEB86A12-898B-415C-DA5B-5BA5F009E5A6}"/>
                </a:ext>
              </a:extLst>
            </p:cNvPr>
            <p:cNvPicPr>
              <a:picLocks noChangeAspect="1"/>
            </p:cNvPicPr>
            <p:nvPr/>
          </p:nvPicPr>
          <p:blipFill>
            <a:blip r:embed="rId3"/>
            <a:stretch>
              <a:fillRect/>
            </a:stretch>
          </p:blipFill>
          <p:spPr>
            <a:xfrm>
              <a:off x="8595485" y="5412448"/>
              <a:ext cx="7888908" cy="3042168"/>
            </a:xfrm>
            <a:prstGeom prst="rect">
              <a:avLst/>
            </a:prstGeom>
          </p:spPr>
        </p:pic>
      </p:grpSp>
      <p:sp>
        <p:nvSpPr>
          <p:cNvPr id="9" name="テキスト ボックス 8">
            <a:extLst>
              <a:ext uri="{FF2B5EF4-FFF2-40B4-BE49-F238E27FC236}">
                <a16:creationId xmlns:a16="http://schemas.microsoft.com/office/drawing/2014/main" id="{7FF25759-1653-ADC8-167A-1070675BFAAE}"/>
              </a:ext>
            </a:extLst>
          </p:cNvPr>
          <p:cNvSpPr txBox="1"/>
          <p:nvPr/>
        </p:nvSpPr>
        <p:spPr>
          <a:xfrm>
            <a:off x="372103" y="9832817"/>
            <a:ext cx="5368457" cy="215444"/>
          </a:xfrm>
          <a:prstGeom prst="rect">
            <a:avLst/>
          </a:prstGeom>
          <a:noFill/>
        </p:spPr>
        <p:txBody>
          <a:bodyPr wrap="none" lIns="0" tIns="0" rIns="0" bIns="0" rtlCol="0">
            <a:spAutoFit/>
          </a:bodyPr>
          <a:lstStyle/>
          <a:p>
            <a:pPr algn="l"/>
            <a:r>
              <a:rPr kumimoji="1" lang="fr-FR" altLang="ja-JP" sz="1400" spc="100" dirty="0">
                <a:solidFill>
                  <a:schemeClr val="tx2"/>
                </a:solidFill>
                <a:latin typeface="+mn-ea"/>
              </a:rPr>
              <a:t>Source: </a:t>
            </a:r>
            <a:r>
              <a:rPr kumimoji="1" lang="fr-FR" altLang="ja-JP" sz="1400" spc="100" dirty="0">
                <a:solidFill>
                  <a:schemeClr val="tx2"/>
                </a:solidFill>
                <a:latin typeface="+mn-ea"/>
                <a:hlinkClick r:id="rId4">
                  <a:extLst>
                    <a:ext uri="{A12FA001-AC4F-418D-AE19-62706E023703}">
                      <ahyp:hlinkClr xmlns:ahyp="http://schemas.microsoft.com/office/drawing/2018/hyperlinkcolor" val="tx"/>
                    </a:ext>
                  </a:extLst>
                </a:hlinkClick>
              </a:rPr>
              <a:t>https://newsdig.tbs.co.jp/articles/-/507779</a:t>
            </a:r>
            <a:endParaRPr kumimoji="1" lang="fr-FR" altLang="ja-JP" sz="1400" spc="100" dirty="0">
              <a:solidFill>
                <a:schemeClr val="tx2"/>
              </a:solidFill>
              <a:latin typeface="+mn-ea"/>
            </a:endParaRPr>
          </a:p>
        </p:txBody>
      </p:sp>
    </p:spTree>
    <p:extLst>
      <p:ext uri="{BB962C8B-B14F-4D97-AF65-F5344CB8AC3E}">
        <p14:creationId xmlns:p14="http://schemas.microsoft.com/office/powerpoint/2010/main" val="2518533810"/>
      </p:ext>
    </p:extLst>
  </p:cSld>
  <p:clrMapOvr>
    <a:masterClrMapping/>
  </p:clrMapOvr>
</p:sld>
</file>

<file path=ppt/slides/slide6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34C89271-3493-1A74-E619-125B87743A8D}"/>
              </a:ext>
            </a:extLst>
          </p:cNvPr>
          <p:cNvSpPr txBox="1"/>
          <p:nvPr/>
        </p:nvSpPr>
        <p:spPr>
          <a:xfrm>
            <a:off x="754084" y="2365580"/>
            <a:ext cx="5845132" cy="1520801"/>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生成</a:t>
            </a:r>
            <a:r>
              <a:rPr kumimoji="1" lang="en-US" altLang="ja-JP" sz="2800" spc="50" dirty="0">
                <a:latin typeface="+mn-ea"/>
              </a:rPr>
              <a:t>AI</a:t>
            </a:r>
            <a:r>
              <a:rPr kumimoji="1" lang="ja-JP" altLang="en-US" sz="2800" spc="50" dirty="0">
                <a:latin typeface="+mn-ea"/>
              </a:rPr>
              <a:t>を活用するときの倫理に関する説明として、適切なものはどれか。</a:t>
            </a:r>
            <a:r>
              <a:rPr kumimoji="1" lang="ja-JP" altLang="en-US" sz="2800" spc="50" dirty="0">
                <a:solidFill>
                  <a:schemeClr val="accent3"/>
                </a:solidFill>
                <a:latin typeface="+mn-ea"/>
              </a:rPr>
              <a:t>全て</a:t>
            </a:r>
            <a:r>
              <a:rPr kumimoji="1" lang="ja-JP" altLang="en-US" sz="2800" spc="50" dirty="0">
                <a:latin typeface="+mn-ea"/>
              </a:rPr>
              <a:t>選んでください。</a:t>
            </a:r>
          </a:p>
        </p:txBody>
      </p:sp>
      <p:grpSp>
        <p:nvGrpSpPr>
          <p:cNvPr id="4" name="グループ化 3">
            <a:extLst>
              <a:ext uri="{FF2B5EF4-FFF2-40B4-BE49-F238E27FC236}">
                <a16:creationId xmlns:a16="http://schemas.microsoft.com/office/drawing/2014/main" id="{7A7660A8-2276-864E-9F2B-1DE97E0F1D63}"/>
              </a:ext>
            </a:extLst>
          </p:cNvPr>
          <p:cNvGrpSpPr/>
          <p:nvPr/>
        </p:nvGrpSpPr>
        <p:grpSpPr>
          <a:xfrm>
            <a:off x="7945117" y="724103"/>
            <a:ext cx="9032839" cy="8837206"/>
            <a:chOff x="7945117" y="728997"/>
            <a:chExt cx="9032839" cy="8837206"/>
          </a:xfrm>
        </p:grpSpPr>
        <p:grpSp>
          <p:nvGrpSpPr>
            <p:cNvPr id="5" name="グループ化 4">
              <a:extLst>
                <a:ext uri="{FF2B5EF4-FFF2-40B4-BE49-F238E27FC236}">
                  <a16:creationId xmlns:a16="http://schemas.microsoft.com/office/drawing/2014/main" id="{7601BD5D-E817-7BA7-FAEC-2700D1E9B47D}"/>
                </a:ext>
              </a:extLst>
            </p:cNvPr>
            <p:cNvGrpSpPr/>
            <p:nvPr/>
          </p:nvGrpSpPr>
          <p:grpSpPr>
            <a:xfrm>
              <a:off x="7945117" y="728997"/>
              <a:ext cx="9032839" cy="1800000"/>
              <a:chOff x="7945117" y="1234999"/>
              <a:chExt cx="9032839" cy="1800000"/>
            </a:xfrm>
          </p:grpSpPr>
          <p:sp>
            <p:nvSpPr>
              <p:cNvPr id="15" name="テキスト ボックス 14">
                <a:extLst>
                  <a:ext uri="{FF2B5EF4-FFF2-40B4-BE49-F238E27FC236}">
                    <a16:creationId xmlns:a16="http://schemas.microsoft.com/office/drawing/2014/main" id="{3AB4E8ED-7D75-0E41-297E-F16B035B0E14}"/>
                  </a:ext>
                </a:extLst>
              </p:cNvPr>
              <p:cNvSpPr txBox="1"/>
              <p:nvPr userDrawn="1"/>
            </p:nvSpPr>
            <p:spPr>
              <a:xfrm>
                <a:off x="8916454" y="1907822"/>
                <a:ext cx="8061502"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本来自分が行うべきことまで生成</a:t>
                </a:r>
                <a:r>
                  <a:rPr kumimoji="1" lang="en-US" altLang="ja-JP" sz="2800" spc="50" dirty="0">
                    <a:latin typeface="+mn-ea"/>
                    <a:ea typeface="+mn-ea"/>
                  </a:rPr>
                  <a:t>AI</a:t>
                </a:r>
                <a:r>
                  <a:rPr kumimoji="1" lang="ja-JP" altLang="en-US" sz="2800" spc="50" dirty="0">
                    <a:latin typeface="+mn-ea"/>
                    <a:ea typeface="+mn-ea"/>
                  </a:rPr>
                  <a:t>任せにしない</a:t>
                </a:r>
              </a:p>
            </p:txBody>
          </p:sp>
          <p:sp>
            <p:nvSpPr>
              <p:cNvPr id="16" name="テキスト ボックス 15">
                <a:extLst>
                  <a:ext uri="{FF2B5EF4-FFF2-40B4-BE49-F238E27FC236}">
                    <a16:creationId xmlns:a16="http://schemas.microsoft.com/office/drawing/2014/main" id="{4D602D2F-C11D-4361-FE4D-FE4CBC75B07D}"/>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6" name="グループ化 5">
              <a:extLst>
                <a:ext uri="{FF2B5EF4-FFF2-40B4-BE49-F238E27FC236}">
                  <a16:creationId xmlns:a16="http://schemas.microsoft.com/office/drawing/2014/main" id="{25E71DE3-3C40-9E2F-2CA3-DE7562CBE6F6}"/>
                </a:ext>
              </a:extLst>
            </p:cNvPr>
            <p:cNvGrpSpPr/>
            <p:nvPr/>
          </p:nvGrpSpPr>
          <p:grpSpPr>
            <a:xfrm>
              <a:off x="7945117" y="3074733"/>
              <a:ext cx="8281030" cy="1800000"/>
              <a:chOff x="7945117" y="3367623"/>
              <a:chExt cx="8281030" cy="1800000"/>
            </a:xfrm>
          </p:grpSpPr>
          <p:sp>
            <p:nvSpPr>
              <p:cNvPr id="13" name="テキスト ボックス 12">
                <a:extLst>
                  <a:ext uri="{FF2B5EF4-FFF2-40B4-BE49-F238E27FC236}">
                    <a16:creationId xmlns:a16="http://schemas.microsoft.com/office/drawing/2014/main" id="{619A9E36-F642-B16C-A940-D4C8BF4A3DE4}"/>
                  </a:ext>
                </a:extLst>
              </p:cNvPr>
              <p:cNvSpPr txBox="1"/>
              <p:nvPr/>
            </p:nvSpPr>
            <p:spPr>
              <a:xfrm>
                <a:off x="8916454" y="3803458"/>
                <a:ext cx="7309693"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自分の考えと異なる専門家を攻撃するための</a:t>
                </a:r>
                <a:br>
                  <a:rPr kumimoji="1" lang="en-US" altLang="ja-JP" sz="2800" spc="50" dirty="0">
                    <a:latin typeface="+mn-ea"/>
                    <a:ea typeface="+mn-ea"/>
                  </a:rPr>
                </a:br>
                <a:r>
                  <a:rPr kumimoji="1" lang="en-US" altLang="ja-JP" sz="2800" spc="50" dirty="0">
                    <a:latin typeface="+mn-ea"/>
                    <a:ea typeface="+mn-ea"/>
                  </a:rPr>
                  <a:t>SNS</a:t>
                </a:r>
                <a:r>
                  <a:rPr kumimoji="1" lang="ja-JP" altLang="en-US" sz="2800" spc="50" dirty="0">
                    <a:latin typeface="+mn-ea"/>
                    <a:ea typeface="+mn-ea"/>
                  </a:rPr>
                  <a:t>文案を生成</a:t>
                </a:r>
                <a:r>
                  <a:rPr kumimoji="1" lang="en-US" altLang="ja-JP" sz="2800" spc="50" dirty="0">
                    <a:latin typeface="+mn-ea"/>
                    <a:ea typeface="+mn-ea"/>
                  </a:rPr>
                  <a:t>AI</a:t>
                </a:r>
                <a:r>
                  <a:rPr kumimoji="1" lang="ja-JP" altLang="en-US" sz="2800" spc="50" dirty="0">
                    <a:latin typeface="+mn-ea"/>
                    <a:ea typeface="+mn-ea"/>
                  </a:rPr>
                  <a:t>で作成する</a:t>
                </a:r>
              </a:p>
            </p:txBody>
          </p:sp>
          <p:sp>
            <p:nvSpPr>
              <p:cNvPr id="14" name="テキスト ボックス 13">
                <a:extLst>
                  <a:ext uri="{FF2B5EF4-FFF2-40B4-BE49-F238E27FC236}">
                    <a16:creationId xmlns:a16="http://schemas.microsoft.com/office/drawing/2014/main" id="{E3C37841-0165-3AC1-E10D-F29909793ABE}"/>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7" name="グループ化 6">
              <a:extLst>
                <a:ext uri="{FF2B5EF4-FFF2-40B4-BE49-F238E27FC236}">
                  <a16:creationId xmlns:a16="http://schemas.microsoft.com/office/drawing/2014/main" id="{EDA2AF27-A071-8992-9755-0222954B71B8}"/>
                </a:ext>
              </a:extLst>
            </p:cNvPr>
            <p:cNvGrpSpPr/>
            <p:nvPr/>
          </p:nvGrpSpPr>
          <p:grpSpPr>
            <a:xfrm>
              <a:off x="7945117" y="5420469"/>
              <a:ext cx="9012000" cy="1800000"/>
              <a:chOff x="7945117" y="5500579"/>
              <a:chExt cx="9012000" cy="1800000"/>
            </a:xfrm>
          </p:grpSpPr>
          <p:sp>
            <p:nvSpPr>
              <p:cNvPr id="11" name="テキスト ボックス 10">
                <a:extLst>
                  <a:ext uri="{FF2B5EF4-FFF2-40B4-BE49-F238E27FC236}">
                    <a16:creationId xmlns:a16="http://schemas.microsoft.com/office/drawing/2014/main" id="{CC6EF934-C63C-0E78-4E69-EA0A09D95838}"/>
                  </a:ext>
                </a:extLst>
              </p:cNvPr>
              <p:cNvSpPr txBox="1"/>
              <p:nvPr/>
            </p:nvSpPr>
            <p:spPr>
              <a:xfrm>
                <a:off x="8916454" y="6173402"/>
                <a:ext cx="804066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を仕事や勉強には決して使うべきではない</a:t>
                </a:r>
              </a:p>
            </p:txBody>
          </p:sp>
          <p:sp>
            <p:nvSpPr>
              <p:cNvPr id="12" name="テキスト ボックス 11">
                <a:extLst>
                  <a:ext uri="{FF2B5EF4-FFF2-40B4-BE49-F238E27FC236}">
                    <a16:creationId xmlns:a16="http://schemas.microsoft.com/office/drawing/2014/main" id="{B5D8450E-7D91-93F5-33CA-03579760A5B0}"/>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8" name="グループ化 7">
              <a:extLst>
                <a:ext uri="{FF2B5EF4-FFF2-40B4-BE49-F238E27FC236}">
                  <a16:creationId xmlns:a16="http://schemas.microsoft.com/office/drawing/2014/main" id="{E2195966-156D-A89A-D745-6F82EC30174D}"/>
                </a:ext>
              </a:extLst>
            </p:cNvPr>
            <p:cNvGrpSpPr/>
            <p:nvPr/>
          </p:nvGrpSpPr>
          <p:grpSpPr>
            <a:xfrm>
              <a:off x="7945117" y="7766203"/>
              <a:ext cx="8301870" cy="1800000"/>
              <a:chOff x="7945117" y="7633369"/>
              <a:chExt cx="8301870" cy="1800000"/>
            </a:xfrm>
          </p:grpSpPr>
          <p:sp>
            <p:nvSpPr>
              <p:cNvPr id="9" name="テキスト ボックス 8">
                <a:extLst>
                  <a:ext uri="{FF2B5EF4-FFF2-40B4-BE49-F238E27FC236}">
                    <a16:creationId xmlns:a16="http://schemas.microsoft.com/office/drawing/2014/main" id="{7F58819E-46FB-8418-462F-F397C56F2985}"/>
                  </a:ext>
                </a:extLst>
              </p:cNvPr>
              <p:cNvSpPr txBox="1"/>
              <p:nvPr/>
            </p:nvSpPr>
            <p:spPr>
              <a:xfrm>
                <a:off x="8916454" y="8306192"/>
                <a:ext cx="733053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を非倫理的な行為や犯罪に悪用しない</a:t>
                </a:r>
              </a:p>
            </p:txBody>
          </p:sp>
          <p:sp>
            <p:nvSpPr>
              <p:cNvPr id="10" name="テキスト ボックス 9">
                <a:extLst>
                  <a:ext uri="{FF2B5EF4-FFF2-40B4-BE49-F238E27FC236}">
                    <a16:creationId xmlns:a16="http://schemas.microsoft.com/office/drawing/2014/main" id="{50E2BFE6-CDBD-A1D2-C9DC-BD80C4338F42}"/>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 name="スライド番号プレースホルダー 1">
            <a:extLst>
              <a:ext uri="{FF2B5EF4-FFF2-40B4-BE49-F238E27FC236}">
                <a16:creationId xmlns:a16="http://schemas.microsoft.com/office/drawing/2014/main" id="{76A9346C-2C13-7568-775F-FB15402F6076}"/>
              </a:ext>
            </a:extLst>
          </p:cNvPr>
          <p:cNvSpPr>
            <a:spLocks noGrp="1"/>
          </p:cNvSpPr>
          <p:nvPr>
            <p:ph type="sldNum" sz="quarter" idx="11"/>
          </p:nvPr>
        </p:nvSpPr>
        <p:spPr>
          <a:xfrm>
            <a:off x="17695001" y="9786651"/>
            <a:ext cx="327013" cy="307777"/>
          </a:xfrm>
        </p:spPr>
        <p:txBody>
          <a:bodyPr/>
          <a:lstStyle/>
          <a:p>
            <a:r>
              <a:rPr lang="en-US" altLang="ja-JP"/>
              <a:t>67</a:t>
            </a:r>
            <a:endParaRPr lang="ja-JP" altLang="en-US" dirty="0"/>
          </a:p>
        </p:txBody>
      </p:sp>
    </p:spTree>
    <p:extLst>
      <p:ext uri="{BB962C8B-B14F-4D97-AF65-F5344CB8AC3E}">
        <p14:creationId xmlns:p14="http://schemas.microsoft.com/office/powerpoint/2010/main" val="2474316029"/>
      </p:ext>
    </p:extLst>
  </p:cSld>
  <p:clrMapOvr>
    <a:masterClrMapping/>
  </p:clrMapOvr>
</p:sld>
</file>

<file path=ppt/slides/slide6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DE89E302-B1EB-1853-3E9D-B5557BC1251C}"/>
              </a:ext>
            </a:extLst>
          </p:cNvPr>
          <p:cNvGrpSpPr/>
          <p:nvPr/>
        </p:nvGrpSpPr>
        <p:grpSpPr>
          <a:xfrm>
            <a:off x="7945117" y="724103"/>
            <a:ext cx="9467253" cy="8837206"/>
            <a:chOff x="7945117" y="728997"/>
            <a:chExt cx="9467253" cy="8837206"/>
          </a:xfrm>
        </p:grpSpPr>
        <p:grpSp>
          <p:nvGrpSpPr>
            <p:cNvPr id="4" name="グループ化 3">
              <a:extLst>
                <a:ext uri="{FF2B5EF4-FFF2-40B4-BE49-F238E27FC236}">
                  <a16:creationId xmlns:a16="http://schemas.microsoft.com/office/drawing/2014/main" id="{90892D14-D600-728B-6E51-5AC00E856E57}"/>
                </a:ext>
              </a:extLst>
            </p:cNvPr>
            <p:cNvGrpSpPr/>
            <p:nvPr/>
          </p:nvGrpSpPr>
          <p:grpSpPr>
            <a:xfrm>
              <a:off x="7945117" y="728997"/>
              <a:ext cx="9032839" cy="1800000"/>
              <a:chOff x="7945117" y="1234999"/>
              <a:chExt cx="9032839" cy="1800000"/>
            </a:xfrm>
          </p:grpSpPr>
          <p:sp>
            <p:nvSpPr>
              <p:cNvPr id="14" name="テキスト ボックス 13">
                <a:extLst>
                  <a:ext uri="{FF2B5EF4-FFF2-40B4-BE49-F238E27FC236}">
                    <a16:creationId xmlns:a16="http://schemas.microsoft.com/office/drawing/2014/main" id="{5B792459-7C1E-B98F-0FE1-A1AF562F6F10}"/>
                  </a:ext>
                </a:extLst>
              </p:cNvPr>
              <p:cNvSpPr txBox="1"/>
              <p:nvPr userDrawn="1"/>
            </p:nvSpPr>
            <p:spPr>
              <a:xfrm>
                <a:off x="8916454" y="1907822"/>
                <a:ext cx="8061502"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本来自分が行うべきことまで生成</a:t>
                </a:r>
                <a:r>
                  <a:rPr kumimoji="1" lang="en-US" altLang="ja-JP" sz="2800" spc="50" dirty="0">
                    <a:latin typeface="+mn-ea"/>
                    <a:ea typeface="+mn-ea"/>
                  </a:rPr>
                  <a:t>AI</a:t>
                </a:r>
                <a:r>
                  <a:rPr kumimoji="1" lang="ja-JP" altLang="en-US" sz="2800" spc="50" dirty="0">
                    <a:latin typeface="+mn-ea"/>
                    <a:ea typeface="+mn-ea"/>
                  </a:rPr>
                  <a:t>任せにしない</a:t>
                </a:r>
              </a:p>
            </p:txBody>
          </p:sp>
          <p:sp>
            <p:nvSpPr>
              <p:cNvPr id="15" name="テキスト ボックス 14">
                <a:extLst>
                  <a:ext uri="{FF2B5EF4-FFF2-40B4-BE49-F238E27FC236}">
                    <a16:creationId xmlns:a16="http://schemas.microsoft.com/office/drawing/2014/main" id="{F4917A9A-825D-9FB8-92EF-9F69F308D15E}"/>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5" name="グループ化 4">
              <a:extLst>
                <a:ext uri="{FF2B5EF4-FFF2-40B4-BE49-F238E27FC236}">
                  <a16:creationId xmlns:a16="http://schemas.microsoft.com/office/drawing/2014/main" id="{ADFF9704-5BA2-024F-3220-ED276ADF7380}"/>
                </a:ext>
              </a:extLst>
            </p:cNvPr>
            <p:cNvGrpSpPr/>
            <p:nvPr/>
          </p:nvGrpSpPr>
          <p:grpSpPr>
            <a:xfrm>
              <a:off x="7945117" y="3074733"/>
              <a:ext cx="7936385" cy="1800000"/>
              <a:chOff x="7945117" y="3367623"/>
              <a:chExt cx="7936385" cy="1800000"/>
            </a:xfrm>
          </p:grpSpPr>
          <p:sp>
            <p:nvSpPr>
              <p:cNvPr id="12" name="テキスト ボックス 11">
                <a:extLst>
                  <a:ext uri="{FF2B5EF4-FFF2-40B4-BE49-F238E27FC236}">
                    <a16:creationId xmlns:a16="http://schemas.microsoft.com/office/drawing/2014/main" id="{9C1752A9-3F41-91FB-A0A8-2C902668345E}"/>
                  </a:ext>
                </a:extLst>
              </p:cNvPr>
              <p:cNvSpPr txBox="1"/>
              <p:nvPr/>
            </p:nvSpPr>
            <p:spPr>
              <a:xfrm>
                <a:off x="8916454" y="3566471"/>
                <a:ext cx="6965048" cy="1402307"/>
              </a:xfrm>
              <a:prstGeom prst="rect">
                <a:avLst/>
              </a:prstGeom>
              <a:noFill/>
            </p:spPr>
            <p:txBody>
              <a:bodyPr wrap="none" lIns="0" tIns="0" rIns="0" bIns="0" rtlCol="0" anchor="ctr">
                <a:spAutoFit/>
              </a:bodyPr>
              <a:lstStyle/>
              <a:p>
                <a:pPr algn="l">
                  <a:lnSpc>
                    <a:spcPct val="110000"/>
                  </a:lnSpc>
                </a:pPr>
                <a:r>
                  <a:rPr kumimoji="1" lang="en-US" altLang="ja-JP" sz="2800" spc="50" dirty="0">
                    <a:solidFill>
                      <a:schemeClr val="accent3"/>
                    </a:solidFill>
                    <a:latin typeface="+mn-ea"/>
                    <a:ea typeface="+mn-ea"/>
                  </a:rPr>
                  <a:t>【</a:t>
                </a:r>
                <a:r>
                  <a:rPr kumimoji="1" lang="ja-JP" altLang="en-US" sz="2800" spc="50" dirty="0">
                    <a:solidFill>
                      <a:schemeClr val="accent3"/>
                    </a:solidFill>
                    <a:latin typeface="+mn-ea"/>
                    <a:ea typeface="+mn-ea"/>
                  </a:rPr>
                  <a:t>解説</a:t>
                </a:r>
                <a:r>
                  <a:rPr kumimoji="1" lang="en-US" altLang="ja-JP" sz="2800" spc="50" dirty="0">
                    <a:solidFill>
                      <a:schemeClr val="accent3"/>
                    </a:solidFill>
                    <a:latin typeface="+mn-ea"/>
                    <a:ea typeface="+mn-ea"/>
                  </a:rPr>
                  <a:t>】</a:t>
                </a:r>
                <a:br>
                  <a:rPr kumimoji="1" lang="en-US" altLang="ja-JP" sz="2800" spc="50" dirty="0">
                    <a:solidFill>
                      <a:schemeClr val="accent3"/>
                    </a:solidFill>
                    <a:latin typeface="+mn-ea"/>
                    <a:ea typeface="+mn-ea"/>
                  </a:rPr>
                </a:br>
                <a:r>
                  <a:rPr kumimoji="1" lang="ja-JP" altLang="en-US" sz="2800" spc="50" dirty="0">
                    <a:solidFill>
                      <a:schemeClr val="accent3"/>
                    </a:solidFill>
                    <a:latin typeface="+mn-ea"/>
                    <a:ea typeface="+mn-ea"/>
                  </a:rPr>
                  <a:t>生成</a:t>
                </a:r>
                <a:r>
                  <a:rPr kumimoji="1" lang="en-US" altLang="ja-JP" sz="2800" spc="50" dirty="0">
                    <a:solidFill>
                      <a:schemeClr val="accent3"/>
                    </a:solidFill>
                    <a:latin typeface="+mn-ea"/>
                    <a:ea typeface="+mn-ea"/>
                  </a:rPr>
                  <a:t>AI</a:t>
                </a:r>
                <a:r>
                  <a:rPr kumimoji="1" lang="ja-JP" altLang="en-US" sz="2800" spc="50" dirty="0">
                    <a:solidFill>
                      <a:schemeClr val="accent3"/>
                    </a:solidFill>
                    <a:latin typeface="+mn-ea"/>
                    <a:ea typeface="+mn-ea"/>
                  </a:rPr>
                  <a:t>を使って他人を誹謗中傷することは</a:t>
                </a:r>
                <a:br>
                  <a:rPr kumimoji="1" lang="en-US" altLang="ja-JP" sz="2800" spc="50" dirty="0">
                    <a:solidFill>
                      <a:schemeClr val="accent3"/>
                    </a:solidFill>
                    <a:latin typeface="+mn-ea"/>
                    <a:ea typeface="+mn-ea"/>
                  </a:rPr>
                </a:br>
                <a:r>
                  <a:rPr kumimoji="1" lang="ja-JP" altLang="en-US" sz="2800" spc="50" dirty="0">
                    <a:solidFill>
                      <a:schemeClr val="accent3"/>
                    </a:solidFill>
                    <a:latin typeface="+mn-ea"/>
                    <a:ea typeface="+mn-ea"/>
                  </a:rPr>
                  <a:t>モラルに反する</a:t>
                </a:r>
              </a:p>
            </p:txBody>
          </p:sp>
          <p:sp>
            <p:nvSpPr>
              <p:cNvPr id="13" name="テキスト ボックス 12">
                <a:extLst>
                  <a:ext uri="{FF2B5EF4-FFF2-40B4-BE49-F238E27FC236}">
                    <a16:creationId xmlns:a16="http://schemas.microsoft.com/office/drawing/2014/main" id="{B40FB3AC-1159-CB0A-8DBD-3BEABC7A1101}"/>
                  </a:ext>
                </a:extLst>
              </p:cNvPr>
              <p:cNvSpPr txBox="1">
                <a:spLocks/>
              </p:cNvSpPr>
              <p:nvPr/>
            </p:nvSpPr>
            <p:spPr>
              <a:xfrm>
                <a:off x="7945117" y="3367623"/>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6" name="グループ化 5">
              <a:extLst>
                <a:ext uri="{FF2B5EF4-FFF2-40B4-BE49-F238E27FC236}">
                  <a16:creationId xmlns:a16="http://schemas.microsoft.com/office/drawing/2014/main" id="{1D03423C-FCF6-A10E-964E-8C02EE7F6F18}"/>
                </a:ext>
              </a:extLst>
            </p:cNvPr>
            <p:cNvGrpSpPr/>
            <p:nvPr/>
          </p:nvGrpSpPr>
          <p:grpSpPr>
            <a:xfrm>
              <a:off x="7945117" y="5420469"/>
              <a:ext cx="9467253" cy="1800000"/>
              <a:chOff x="7945117" y="5500579"/>
              <a:chExt cx="9467253" cy="1800000"/>
            </a:xfrm>
          </p:grpSpPr>
          <p:sp>
            <p:nvSpPr>
              <p:cNvPr id="10" name="テキスト ボックス 9">
                <a:extLst>
                  <a:ext uri="{FF2B5EF4-FFF2-40B4-BE49-F238E27FC236}">
                    <a16:creationId xmlns:a16="http://schemas.microsoft.com/office/drawing/2014/main" id="{CDA41300-8DB7-4D91-B4A7-7714BF637003}"/>
                  </a:ext>
                </a:extLst>
              </p:cNvPr>
              <p:cNvSpPr txBox="1"/>
              <p:nvPr/>
            </p:nvSpPr>
            <p:spPr>
              <a:xfrm>
                <a:off x="8916454" y="5749535"/>
                <a:ext cx="8495916" cy="130208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仕事や勉強において生成</a:t>
                </a:r>
                <a:r>
                  <a:rPr kumimoji="1" lang="en-US" altLang="ja-JP" sz="2600" spc="50" dirty="0">
                    <a:solidFill>
                      <a:schemeClr val="accent3"/>
                    </a:solidFill>
                    <a:latin typeface="+mn-ea"/>
                    <a:ea typeface="+mn-ea"/>
                  </a:rPr>
                  <a:t>AI</a:t>
                </a:r>
                <a:r>
                  <a:rPr kumimoji="1" lang="ja-JP" altLang="en-US" sz="2600" spc="50" dirty="0">
                    <a:solidFill>
                      <a:schemeClr val="accent3"/>
                    </a:solidFill>
                    <a:latin typeface="+mn-ea"/>
                    <a:ea typeface="+mn-ea"/>
                  </a:rPr>
                  <a:t>を一切使用してはいけない</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訳ではない。目的に沿って適切に活用することが重要。</a:t>
                </a:r>
              </a:p>
            </p:txBody>
          </p:sp>
          <p:sp>
            <p:nvSpPr>
              <p:cNvPr id="11" name="テキスト ボックス 10">
                <a:extLst>
                  <a:ext uri="{FF2B5EF4-FFF2-40B4-BE49-F238E27FC236}">
                    <a16:creationId xmlns:a16="http://schemas.microsoft.com/office/drawing/2014/main" id="{1DD955ED-5D99-F54F-5134-98E35C60D351}"/>
                  </a:ext>
                </a:extLst>
              </p:cNvPr>
              <p:cNvSpPr txBox="1">
                <a:spLocks/>
              </p:cNvSpPr>
              <p:nvPr/>
            </p:nvSpPr>
            <p:spPr>
              <a:xfrm>
                <a:off x="7945117" y="550057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7" name="グループ化 6">
              <a:extLst>
                <a:ext uri="{FF2B5EF4-FFF2-40B4-BE49-F238E27FC236}">
                  <a16:creationId xmlns:a16="http://schemas.microsoft.com/office/drawing/2014/main" id="{A81F2547-BB54-2BAA-93A6-E96AE85A44EB}"/>
                </a:ext>
              </a:extLst>
            </p:cNvPr>
            <p:cNvGrpSpPr/>
            <p:nvPr/>
          </p:nvGrpSpPr>
          <p:grpSpPr>
            <a:xfrm>
              <a:off x="7945117" y="7766203"/>
              <a:ext cx="8301870" cy="1800000"/>
              <a:chOff x="7945117" y="7633369"/>
              <a:chExt cx="8301870" cy="1800000"/>
            </a:xfrm>
          </p:grpSpPr>
          <p:sp>
            <p:nvSpPr>
              <p:cNvPr id="8" name="テキスト ボックス 7">
                <a:extLst>
                  <a:ext uri="{FF2B5EF4-FFF2-40B4-BE49-F238E27FC236}">
                    <a16:creationId xmlns:a16="http://schemas.microsoft.com/office/drawing/2014/main" id="{70374570-1B5B-FE09-85E3-FBD13A7E7551}"/>
                  </a:ext>
                </a:extLst>
              </p:cNvPr>
              <p:cNvSpPr txBox="1"/>
              <p:nvPr/>
            </p:nvSpPr>
            <p:spPr>
              <a:xfrm>
                <a:off x="8916454" y="8306192"/>
                <a:ext cx="733053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a:t>
                </a:r>
                <a:r>
                  <a:rPr kumimoji="1" lang="en-US" altLang="ja-JP" sz="2800" spc="50" dirty="0">
                    <a:latin typeface="+mn-ea"/>
                    <a:ea typeface="+mn-ea"/>
                  </a:rPr>
                  <a:t>AI</a:t>
                </a:r>
                <a:r>
                  <a:rPr kumimoji="1" lang="ja-JP" altLang="en-US" sz="2800" spc="50" dirty="0">
                    <a:latin typeface="+mn-ea"/>
                    <a:ea typeface="+mn-ea"/>
                  </a:rPr>
                  <a:t>を非倫理的な行為や犯罪に悪用しない</a:t>
                </a:r>
              </a:p>
            </p:txBody>
          </p:sp>
          <p:sp>
            <p:nvSpPr>
              <p:cNvPr id="9" name="テキスト ボックス 8">
                <a:extLst>
                  <a:ext uri="{FF2B5EF4-FFF2-40B4-BE49-F238E27FC236}">
                    <a16:creationId xmlns:a16="http://schemas.microsoft.com/office/drawing/2014/main" id="{6766BCDD-C595-CD54-974F-32C62B1240CC}"/>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grpSp>
        <p:nvGrpSpPr>
          <p:cNvPr id="16" name="グループ化 15">
            <a:extLst>
              <a:ext uri="{FF2B5EF4-FFF2-40B4-BE49-F238E27FC236}">
                <a16:creationId xmlns:a16="http://schemas.microsoft.com/office/drawing/2014/main" id="{18229B1B-1631-0D08-79B0-E5D284BCCFFC}"/>
              </a:ext>
            </a:extLst>
          </p:cNvPr>
          <p:cNvGrpSpPr/>
          <p:nvPr/>
        </p:nvGrpSpPr>
        <p:grpSpPr>
          <a:xfrm>
            <a:off x="2073291" y="2604635"/>
            <a:ext cx="3206716" cy="1170649"/>
            <a:chOff x="1991495" y="2670256"/>
            <a:chExt cx="2862607" cy="1045028"/>
          </a:xfrm>
        </p:grpSpPr>
        <p:sp>
          <p:nvSpPr>
            <p:cNvPr id="17" name="四角形: 角を丸くする 16">
              <a:extLst>
                <a:ext uri="{FF2B5EF4-FFF2-40B4-BE49-F238E27FC236}">
                  <a16:creationId xmlns:a16="http://schemas.microsoft.com/office/drawing/2014/main" id="{C1E13740-CAD5-51F0-17EB-0469B933DB1C}"/>
                </a:ext>
              </a:extLst>
            </p:cNvPr>
            <p:cNvSpPr/>
            <p:nvPr/>
          </p:nvSpPr>
          <p:spPr>
            <a:xfrm>
              <a:off x="1991495" y="2670256"/>
              <a:ext cx="1045028" cy="1045028"/>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18" name="テキスト ボックス 17">
              <a:extLst>
                <a:ext uri="{FF2B5EF4-FFF2-40B4-BE49-F238E27FC236}">
                  <a16:creationId xmlns:a16="http://schemas.microsoft.com/office/drawing/2014/main" id="{FECF0ADB-E9DE-4413-A852-6A25C9E42B6F}"/>
                </a:ext>
              </a:extLst>
            </p:cNvPr>
            <p:cNvSpPr txBox="1">
              <a:spLocks/>
            </p:cNvSpPr>
            <p:nvPr/>
          </p:nvSpPr>
          <p:spPr>
            <a:xfrm>
              <a:off x="3360686"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19" name="テキスト ボックス 18">
              <a:extLst>
                <a:ext uri="{FF2B5EF4-FFF2-40B4-BE49-F238E27FC236}">
                  <a16:creationId xmlns:a16="http://schemas.microsoft.com/office/drawing/2014/main" id="{E790195F-BECC-21FC-8CE0-02CAD796D15B}"/>
                </a:ext>
              </a:extLst>
            </p:cNvPr>
            <p:cNvSpPr txBox="1">
              <a:spLocks/>
            </p:cNvSpPr>
            <p:nvPr/>
          </p:nvSpPr>
          <p:spPr>
            <a:xfrm>
              <a:off x="4206102"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エ</a:t>
              </a:r>
              <a:endParaRPr kumimoji="1" lang="ja-JP" altLang="en-US" sz="2800" b="1" spc="300" dirty="0">
                <a:solidFill>
                  <a:schemeClr val="bg1"/>
                </a:solidFill>
                <a:latin typeface="+mn-ea"/>
              </a:endParaRPr>
            </a:p>
          </p:txBody>
        </p:sp>
      </p:grpSp>
      <p:sp>
        <p:nvSpPr>
          <p:cNvPr id="20" name="正方形/長方形 19">
            <a:extLst>
              <a:ext uri="{FF2B5EF4-FFF2-40B4-BE49-F238E27FC236}">
                <a16:creationId xmlns:a16="http://schemas.microsoft.com/office/drawing/2014/main" id="{39D01146-C7D4-E7CA-5103-8CEC8340C033}"/>
              </a:ext>
            </a:extLst>
          </p:cNvPr>
          <p:cNvSpPr/>
          <p:nvPr/>
        </p:nvSpPr>
        <p:spPr>
          <a:xfrm>
            <a:off x="499243" y="4052243"/>
            <a:ext cx="6342992" cy="341082"/>
          </a:xfrm>
          <a:prstGeom prst="rect">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87DFF447-FABF-9E6D-4662-AB7655E75178}"/>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楕円 21">
            <a:extLst>
              <a:ext uri="{FF2B5EF4-FFF2-40B4-BE49-F238E27FC236}">
                <a16:creationId xmlns:a16="http://schemas.microsoft.com/office/drawing/2014/main" id="{BDED6D0D-7C16-1D13-FD2B-46203743F1DB}"/>
              </a:ext>
            </a:extLst>
          </p:cNvPr>
          <p:cNvSpPr/>
          <p:nvPr/>
        </p:nvSpPr>
        <p:spPr>
          <a:xfrm>
            <a:off x="11855837" y="7823872"/>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 name="スライド番号プレースホルダー 1">
            <a:extLst>
              <a:ext uri="{FF2B5EF4-FFF2-40B4-BE49-F238E27FC236}">
                <a16:creationId xmlns:a16="http://schemas.microsoft.com/office/drawing/2014/main" id="{25222D12-9D8E-38FA-FF29-91EBCAE12D35}"/>
              </a:ext>
            </a:extLst>
          </p:cNvPr>
          <p:cNvSpPr>
            <a:spLocks noGrp="1"/>
          </p:cNvSpPr>
          <p:nvPr>
            <p:ph type="sldNum" sz="quarter" idx="11"/>
          </p:nvPr>
        </p:nvSpPr>
        <p:spPr>
          <a:xfrm>
            <a:off x="17695001" y="9786651"/>
            <a:ext cx="327013" cy="307777"/>
          </a:xfrm>
        </p:spPr>
        <p:txBody>
          <a:bodyPr/>
          <a:lstStyle/>
          <a:p>
            <a:r>
              <a:rPr lang="en-US" altLang="ja-JP"/>
              <a:t>68</a:t>
            </a:r>
            <a:endParaRPr lang="ja-JP" altLang="en-US" dirty="0"/>
          </a:p>
        </p:txBody>
      </p:sp>
    </p:spTree>
    <p:extLst>
      <p:ext uri="{BB962C8B-B14F-4D97-AF65-F5344CB8AC3E}">
        <p14:creationId xmlns:p14="http://schemas.microsoft.com/office/powerpoint/2010/main" val="1041069291"/>
      </p:ext>
    </p:extLst>
  </p:cSld>
  <p:clrMapOvr>
    <a:masterClrMapping/>
  </p:clrMapOvr>
</p:sld>
</file>

<file path=ppt/slides/slide6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テキスト ボックス 2">
            <a:extLst>
              <a:ext uri="{FF2B5EF4-FFF2-40B4-BE49-F238E27FC236}">
                <a16:creationId xmlns:a16="http://schemas.microsoft.com/office/drawing/2014/main" id="{664566CE-3C68-3A8F-66C5-49EC4AF9387F}"/>
              </a:ext>
            </a:extLst>
          </p:cNvPr>
          <p:cNvSpPr txBox="1"/>
          <p:nvPr/>
        </p:nvSpPr>
        <p:spPr>
          <a:xfrm>
            <a:off x="754084" y="2365580"/>
            <a:ext cx="5845132" cy="2554930"/>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画像生成</a:t>
            </a:r>
            <a:r>
              <a:rPr kumimoji="1" lang="en-US" altLang="ja-JP" sz="2800" spc="50" dirty="0">
                <a:latin typeface="+mn-ea"/>
              </a:rPr>
              <a:t>AI</a:t>
            </a:r>
            <a:r>
              <a:rPr kumimoji="1" lang="ja-JP" altLang="en-US" sz="2800" spc="50" dirty="0">
                <a:latin typeface="+mn-ea"/>
              </a:rPr>
              <a:t>で「料理をしている人」の画像を生成したところ、全て女性のイラストや写真であったときの</a:t>
            </a:r>
            <a:br>
              <a:rPr kumimoji="1" lang="en-US" altLang="ja-JP" sz="2800" spc="50" dirty="0">
                <a:latin typeface="+mn-ea"/>
              </a:rPr>
            </a:br>
            <a:r>
              <a:rPr kumimoji="1" lang="ja-JP" altLang="en-US" sz="2800" spc="50" dirty="0">
                <a:latin typeface="+mn-ea"/>
              </a:rPr>
              <a:t>対応として適切なものはどれか。</a:t>
            </a:r>
            <a:br>
              <a:rPr lang="en-US" altLang="ja-JP" sz="2800" spc="50" dirty="0">
                <a:latin typeface="+mn-ea"/>
              </a:rPr>
            </a:br>
            <a:r>
              <a:rPr kumimoji="1" lang="ja-JP" altLang="en-US" sz="2800" spc="50" dirty="0">
                <a:solidFill>
                  <a:schemeClr val="accent3"/>
                </a:solidFill>
                <a:latin typeface="+mn-ea"/>
              </a:rPr>
              <a:t>全て</a:t>
            </a:r>
            <a:r>
              <a:rPr kumimoji="1" lang="ja-JP" altLang="en-US" sz="2800" spc="50" dirty="0">
                <a:latin typeface="+mn-ea"/>
              </a:rPr>
              <a:t>選んでください。</a:t>
            </a:r>
          </a:p>
        </p:txBody>
      </p:sp>
      <p:grpSp>
        <p:nvGrpSpPr>
          <p:cNvPr id="4" name="グループ化 3">
            <a:extLst>
              <a:ext uri="{FF2B5EF4-FFF2-40B4-BE49-F238E27FC236}">
                <a16:creationId xmlns:a16="http://schemas.microsoft.com/office/drawing/2014/main" id="{209E4D7F-E6EA-02D1-41F1-B789E7DAEAFF}"/>
              </a:ext>
            </a:extLst>
          </p:cNvPr>
          <p:cNvGrpSpPr/>
          <p:nvPr/>
        </p:nvGrpSpPr>
        <p:grpSpPr>
          <a:xfrm>
            <a:off x="7945117" y="724103"/>
            <a:ext cx="9111386" cy="8837206"/>
            <a:chOff x="7945117" y="728997"/>
            <a:chExt cx="9111386" cy="8837206"/>
          </a:xfrm>
        </p:grpSpPr>
        <p:grpSp>
          <p:nvGrpSpPr>
            <p:cNvPr id="5" name="グループ化 4">
              <a:extLst>
                <a:ext uri="{FF2B5EF4-FFF2-40B4-BE49-F238E27FC236}">
                  <a16:creationId xmlns:a16="http://schemas.microsoft.com/office/drawing/2014/main" id="{145668D3-23FA-7CC4-C45F-06E40D9CBFBE}"/>
                </a:ext>
              </a:extLst>
            </p:cNvPr>
            <p:cNvGrpSpPr/>
            <p:nvPr/>
          </p:nvGrpSpPr>
          <p:grpSpPr>
            <a:xfrm>
              <a:off x="7945117" y="728997"/>
              <a:ext cx="9032839" cy="1800000"/>
              <a:chOff x="7945117" y="1234999"/>
              <a:chExt cx="9032839" cy="1800000"/>
            </a:xfrm>
          </p:grpSpPr>
          <p:sp>
            <p:nvSpPr>
              <p:cNvPr id="15" name="テキスト ボックス 14">
                <a:extLst>
                  <a:ext uri="{FF2B5EF4-FFF2-40B4-BE49-F238E27FC236}">
                    <a16:creationId xmlns:a16="http://schemas.microsoft.com/office/drawing/2014/main" id="{EED7DEA6-B89E-7A91-8049-7F35238F20E5}"/>
                  </a:ext>
                </a:extLst>
              </p:cNvPr>
              <p:cNvSpPr txBox="1"/>
              <p:nvPr userDrawn="1"/>
            </p:nvSpPr>
            <p:spPr>
              <a:xfrm>
                <a:off x="8916454" y="1907822"/>
                <a:ext cx="8061502"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された内容に偏りがないか自分で考えてみる</a:t>
                </a:r>
              </a:p>
            </p:txBody>
          </p:sp>
          <p:sp>
            <p:nvSpPr>
              <p:cNvPr id="16" name="テキスト ボックス 15">
                <a:extLst>
                  <a:ext uri="{FF2B5EF4-FFF2-40B4-BE49-F238E27FC236}">
                    <a16:creationId xmlns:a16="http://schemas.microsoft.com/office/drawing/2014/main" id="{C8A320BA-AF52-80A9-C4B0-8D6C9CE2E2C2}"/>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6" name="グループ化 5">
              <a:extLst>
                <a:ext uri="{FF2B5EF4-FFF2-40B4-BE49-F238E27FC236}">
                  <a16:creationId xmlns:a16="http://schemas.microsoft.com/office/drawing/2014/main" id="{563105A5-1B6A-4255-1019-D99A905910EF}"/>
                </a:ext>
              </a:extLst>
            </p:cNvPr>
            <p:cNvGrpSpPr/>
            <p:nvPr/>
          </p:nvGrpSpPr>
          <p:grpSpPr>
            <a:xfrm>
              <a:off x="7945117" y="3074733"/>
              <a:ext cx="9012000" cy="1800000"/>
              <a:chOff x="7945117" y="3367623"/>
              <a:chExt cx="9012000" cy="1800000"/>
            </a:xfrm>
          </p:grpSpPr>
          <p:sp>
            <p:nvSpPr>
              <p:cNvPr id="13" name="テキスト ボックス 12">
                <a:extLst>
                  <a:ext uri="{FF2B5EF4-FFF2-40B4-BE49-F238E27FC236}">
                    <a16:creationId xmlns:a16="http://schemas.microsoft.com/office/drawing/2014/main" id="{CED7B455-55BF-30B7-D1C5-5BCA57F56051}"/>
                  </a:ext>
                </a:extLst>
              </p:cNvPr>
              <p:cNvSpPr txBox="1"/>
              <p:nvPr/>
            </p:nvSpPr>
            <p:spPr>
              <a:xfrm>
                <a:off x="8916454" y="3803458"/>
                <a:ext cx="8040663"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された内容は常に中立的なものであるため、</a:t>
                </a:r>
                <a:br>
                  <a:rPr kumimoji="1" lang="en-US" altLang="ja-JP" sz="2800" spc="50" dirty="0">
                    <a:latin typeface="+mn-ea"/>
                    <a:ea typeface="+mn-ea"/>
                  </a:rPr>
                </a:br>
                <a:r>
                  <a:rPr kumimoji="1" lang="ja-JP" altLang="en-US" sz="2800" spc="50" dirty="0">
                    <a:latin typeface="+mn-ea"/>
                    <a:ea typeface="+mn-ea"/>
                  </a:rPr>
                  <a:t>そのまま活用する</a:t>
                </a:r>
              </a:p>
            </p:txBody>
          </p:sp>
          <p:sp>
            <p:nvSpPr>
              <p:cNvPr id="14" name="テキスト ボックス 13">
                <a:extLst>
                  <a:ext uri="{FF2B5EF4-FFF2-40B4-BE49-F238E27FC236}">
                    <a16:creationId xmlns:a16="http://schemas.microsoft.com/office/drawing/2014/main" id="{0275924E-D175-7BD9-C928-CA6F234170B3}"/>
                  </a:ext>
                </a:extLst>
              </p:cNvPr>
              <p:cNvSpPr txBox="1">
                <a:spLocks/>
              </p:cNvSpPr>
              <p:nvPr/>
            </p:nvSpPr>
            <p:spPr>
              <a:xfrm>
                <a:off x="7945117" y="3367623"/>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7" name="グループ化 6">
              <a:extLst>
                <a:ext uri="{FF2B5EF4-FFF2-40B4-BE49-F238E27FC236}">
                  <a16:creationId xmlns:a16="http://schemas.microsoft.com/office/drawing/2014/main" id="{97796A04-3448-C136-91CE-F5606CF3B95F}"/>
                </a:ext>
              </a:extLst>
            </p:cNvPr>
            <p:cNvGrpSpPr/>
            <p:nvPr/>
          </p:nvGrpSpPr>
          <p:grpSpPr>
            <a:xfrm>
              <a:off x="7945117" y="5420469"/>
              <a:ext cx="9012000" cy="1800000"/>
              <a:chOff x="7945117" y="5500579"/>
              <a:chExt cx="9012000" cy="1800000"/>
            </a:xfrm>
          </p:grpSpPr>
          <p:sp>
            <p:nvSpPr>
              <p:cNvPr id="11" name="テキスト ボックス 10">
                <a:extLst>
                  <a:ext uri="{FF2B5EF4-FFF2-40B4-BE49-F238E27FC236}">
                    <a16:creationId xmlns:a16="http://schemas.microsoft.com/office/drawing/2014/main" id="{09055DA9-C25D-C091-42B4-5E9F5FB53CB0}"/>
                  </a:ext>
                </a:extLst>
              </p:cNvPr>
              <p:cNvSpPr txBox="1"/>
              <p:nvPr/>
            </p:nvSpPr>
            <p:spPr>
              <a:xfrm>
                <a:off x="8916454" y="6173402"/>
                <a:ext cx="804066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性別を限定しないで生成するよう改めて指示する</a:t>
                </a:r>
              </a:p>
            </p:txBody>
          </p:sp>
          <p:sp>
            <p:nvSpPr>
              <p:cNvPr id="12" name="テキスト ボックス 11">
                <a:extLst>
                  <a:ext uri="{FF2B5EF4-FFF2-40B4-BE49-F238E27FC236}">
                    <a16:creationId xmlns:a16="http://schemas.microsoft.com/office/drawing/2014/main" id="{A304D4F4-EC19-52B5-12F8-D1B8B0E61754}"/>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8" name="グループ化 7">
              <a:extLst>
                <a:ext uri="{FF2B5EF4-FFF2-40B4-BE49-F238E27FC236}">
                  <a16:creationId xmlns:a16="http://schemas.microsoft.com/office/drawing/2014/main" id="{FA845A4E-789E-3684-315E-17A0A3568F96}"/>
                </a:ext>
              </a:extLst>
            </p:cNvPr>
            <p:cNvGrpSpPr/>
            <p:nvPr/>
          </p:nvGrpSpPr>
          <p:grpSpPr>
            <a:xfrm>
              <a:off x="7945117" y="7766203"/>
              <a:ext cx="9111386" cy="1800000"/>
              <a:chOff x="7945117" y="7633369"/>
              <a:chExt cx="9111386" cy="1800000"/>
            </a:xfrm>
          </p:grpSpPr>
          <p:sp>
            <p:nvSpPr>
              <p:cNvPr id="9" name="テキスト ボックス 8">
                <a:extLst>
                  <a:ext uri="{FF2B5EF4-FFF2-40B4-BE49-F238E27FC236}">
                    <a16:creationId xmlns:a16="http://schemas.microsoft.com/office/drawing/2014/main" id="{3134DC90-A1BD-4DC2-F954-709EA6D8A249}"/>
                  </a:ext>
                </a:extLst>
              </p:cNvPr>
              <p:cNvSpPr txBox="1"/>
              <p:nvPr/>
            </p:nvSpPr>
            <p:spPr>
              <a:xfrm>
                <a:off x="8916454" y="8069204"/>
                <a:ext cx="8140049" cy="928331"/>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再度同じ指示をして、</a:t>
                </a:r>
                <a:r>
                  <a:rPr kumimoji="1" lang="en-US" altLang="ja-JP" sz="2800" spc="50" dirty="0">
                    <a:latin typeface="+mn-ea"/>
                    <a:ea typeface="+mn-ea"/>
                  </a:rPr>
                  <a:t>1</a:t>
                </a:r>
                <a:r>
                  <a:rPr kumimoji="1" lang="ja-JP" altLang="en-US" sz="2800" spc="50" dirty="0">
                    <a:latin typeface="+mn-ea"/>
                    <a:ea typeface="+mn-ea"/>
                  </a:rPr>
                  <a:t>回目と</a:t>
                </a:r>
                <a:r>
                  <a:rPr kumimoji="1" lang="en-US" altLang="ja-JP" sz="2800" spc="50" dirty="0">
                    <a:latin typeface="+mn-ea"/>
                    <a:ea typeface="+mn-ea"/>
                  </a:rPr>
                  <a:t>2</a:t>
                </a:r>
                <a:r>
                  <a:rPr kumimoji="1" lang="ja-JP" altLang="en-US" sz="2800" spc="50" dirty="0">
                    <a:latin typeface="+mn-ea"/>
                    <a:ea typeface="+mn-ea"/>
                  </a:rPr>
                  <a:t>回目で生成された</a:t>
                </a:r>
                <a:br>
                  <a:rPr kumimoji="1" lang="en-US" altLang="ja-JP" sz="2800" spc="50" dirty="0">
                    <a:latin typeface="+mn-ea"/>
                    <a:ea typeface="+mn-ea"/>
                  </a:rPr>
                </a:br>
                <a:r>
                  <a:rPr kumimoji="1" lang="ja-JP" altLang="en-US" sz="2800" spc="50" dirty="0">
                    <a:latin typeface="+mn-ea"/>
                    <a:ea typeface="+mn-ea"/>
                  </a:rPr>
                  <a:t>画像を混ぜて使う</a:t>
                </a:r>
              </a:p>
            </p:txBody>
          </p:sp>
          <p:sp>
            <p:nvSpPr>
              <p:cNvPr id="10" name="テキスト ボックス 9">
                <a:extLst>
                  <a:ext uri="{FF2B5EF4-FFF2-40B4-BE49-F238E27FC236}">
                    <a16:creationId xmlns:a16="http://schemas.microsoft.com/office/drawing/2014/main" id="{F87C2390-0EF7-C85F-B6AF-E3C0D8DBB023}"/>
                  </a:ext>
                </a:extLst>
              </p:cNvPr>
              <p:cNvSpPr txBox="1">
                <a:spLocks/>
              </p:cNvSpPr>
              <p:nvPr/>
            </p:nvSpPr>
            <p:spPr>
              <a:xfrm>
                <a:off x="7945117" y="763336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pic>
        <p:nvPicPr>
          <p:cNvPr id="17" name="図 1">
            <a:extLst>
              <a:ext uri="{FF2B5EF4-FFF2-40B4-BE49-F238E27FC236}">
                <a16:creationId xmlns:a16="http://schemas.microsoft.com/office/drawing/2014/main" id="{90182A39-9758-8B86-8B38-68B2AD13D41B}"/>
              </a:ext>
            </a:extLst>
          </p:cNvPr>
          <p:cNvPicPr>
            <a:picLocks noChangeAspect="1"/>
          </p:cNvPicPr>
          <p:nvPr/>
        </p:nvPicPr>
        <p:blipFill>
          <a:blip r:embed="rId3"/>
          <a:stretch>
            <a:fillRect/>
          </a:stretch>
        </p:blipFill>
        <p:spPr>
          <a:xfrm>
            <a:off x="1553561" y="5318071"/>
            <a:ext cx="4246179" cy="4390637"/>
          </a:xfrm>
          <a:prstGeom prst="rect">
            <a:avLst/>
          </a:prstGeom>
        </p:spPr>
      </p:pic>
      <p:sp>
        <p:nvSpPr>
          <p:cNvPr id="2" name="スライド番号プレースホルダー 1">
            <a:extLst>
              <a:ext uri="{FF2B5EF4-FFF2-40B4-BE49-F238E27FC236}">
                <a16:creationId xmlns:a16="http://schemas.microsoft.com/office/drawing/2014/main" id="{CA97A48E-00D6-F7CA-FF35-B6A7AD530521}"/>
              </a:ext>
            </a:extLst>
          </p:cNvPr>
          <p:cNvSpPr>
            <a:spLocks noGrp="1"/>
          </p:cNvSpPr>
          <p:nvPr>
            <p:ph type="sldNum" sz="quarter" idx="11"/>
          </p:nvPr>
        </p:nvSpPr>
        <p:spPr>
          <a:xfrm>
            <a:off x="17695001" y="9786651"/>
            <a:ext cx="327013" cy="307777"/>
          </a:xfrm>
        </p:spPr>
        <p:txBody>
          <a:bodyPr/>
          <a:lstStyle/>
          <a:p>
            <a:r>
              <a:rPr lang="en-US" altLang="ja-JP"/>
              <a:t>69</a:t>
            </a:r>
            <a:endParaRPr lang="ja-JP" altLang="en-US" dirty="0"/>
          </a:p>
        </p:txBody>
      </p:sp>
    </p:spTree>
    <p:extLst>
      <p:ext uri="{BB962C8B-B14F-4D97-AF65-F5344CB8AC3E}">
        <p14:creationId xmlns:p14="http://schemas.microsoft.com/office/powerpoint/2010/main" val="117211178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四角形: 角を丸くする 23">
            <a:extLst>
              <a:ext uri="{FF2B5EF4-FFF2-40B4-BE49-F238E27FC236}">
                <a16:creationId xmlns:a16="http://schemas.microsoft.com/office/drawing/2014/main" id="{3F6C98EC-8B50-3B19-83FD-19FF55A31E7B}"/>
              </a:ext>
            </a:extLst>
          </p:cNvPr>
          <p:cNvSpPr/>
          <p:nvPr/>
        </p:nvSpPr>
        <p:spPr>
          <a:xfrm>
            <a:off x="9776389" y="1786072"/>
            <a:ext cx="6862272" cy="7665578"/>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3" name="四角形: 角を丸くする 22">
            <a:extLst>
              <a:ext uri="{FF2B5EF4-FFF2-40B4-BE49-F238E27FC236}">
                <a16:creationId xmlns:a16="http://schemas.microsoft.com/office/drawing/2014/main" id="{0F6DDE65-FC0B-4F0F-3720-6681C0174D0F}"/>
              </a:ext>
            </a:extLst>
          </p:cNvPr>
          <p:cNvSpPr/>
          <p:nvPr/>
        </p:nvSpPr>
        <p:spPr>
          <a:xfrm>
            <a:off x="1649339" y="1786072"/>
            <a:ext cx="6862272" cy="7620686"/>
          </a:xfrm>
          <a:prstGeom prst="roundRect">
            <a:avLst>
              <a:gd name="adj" fmla="val 209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タイトル 5">
            <a:extLst>
              <a:ext uri="{FF2B5EF4-FFF2-40B4-BE49-F238E27FC236}">
                <a16:creationId xmlns:a16="http://schemas.microsoft.com/office/drawing/2014/main" id="{A938D241-5A16-FF33-8A9B-329AAF07D9DB}"/>
              </a:ext>
            </a:extLst>
          </p:cNvPr>
          <p:cNvSpPr>
            <a:spLocks noGrp="1"/>
          </p:cNvSpPr>
          <p:nvPr>
            <p:ph type="title"/>
          </p:nvPr>
        </p:nvSpPr>
        <p:spPr>
          <a:xfrm>
            <a:off x="891741" y="506301"/>
            <a:ext cx="2579232" cy="492443"/>
          </a:xfrm>
        </p:spPr>
        <p:txBody>
          <a:bodyPr/>
          <a:lstStyle/>
          <a:p>
            <a:r>
              <a:rPr lang="ja-JP" altLang="en-US" dirty="0"/>
              <a:t>生成</a:t>
            </a:r>
            <a:r>
              <a:rPr lang="en-US" altLang="ja-JP" dirty="0"/>
              <a:t>AI</a:t>
            </a:r>
            <a:r>
              <a:rPr lang="ja-JP" altLang="en-US" dirty="0"/>
              <a:t>の特徴</a:t>
            </a:r>
          </a:p>
        </p:txBody>
      </p:sp>
      <p:sp>
        <p:nvSpPr>
          <p:cNvPr id="5" name="四角形: 角を丸くする 4">
            <a:extLst>
              <a:ext uri="{FF2B5EF4-FFF2-40B4-BE49-F238E27FC236}">
                <a16:creationId xmlns:a16="http://schemas.microsoft.com/office/drawing/2014/main" id="{B436863B-A4CB-8901-C466-B5533CCA17EA}"/>
              </a:ext>
            </a:extLst>
          </p:cNvPr>
          <p:cNvSpPr/>
          <p:nvPr/>
        </p:nvSpPr>
        <p:spPr>
          <a:xfrm>
            <a:off x="4066556" y="1414279"/>
            <a:ext cx="2027841"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18000" rIns="216000" bIns="18000" rtlCol="0" anchor="ctr">
            <a:spAutoFit/>
          </a:bodyPr>
          <a:lstStyle/>
          <a:p>
            <a:pPr algn="ctr"/>
            <a:r>
              <a:rPr kumimoji="1" lang="ja-JP" altLang="en-US" sz="3200" spc="200" dirty="0">
                <a:solidFill>
                  <a:schemeClr val="bg1"/>
                </a:solidFill>
                <a:latin typeface="+mj-ea"/>
                <a:ea typeface="+mj-ea"/>
              </a:rPr>
              <a:t>生成物</a:t>
            </a:r>
          </a:p>
        </p:txBody>
      </p:sp>
      <p:sp>
        <p:nvSpPr>
          <p:cNvPr id="14" name="四角形: 角を丸くする 13">
            <a:extLst>
              <a:ext uri="{FF2B5EF4-FFF2-40B4-BE49-F238E27FC236}">
                <a16:creationId xmlns:a16="http://schemas.microsoft.com/office/drawing/2014/main" id="{4A1D0FA8-EDE6-12AD-87B1-2FF23B75EC9F}"/>
              </a:ext>
            </a:extLst>
          </p:cNvPr>
          <p:cNvSpPr/>
          <p:nvPr/>
        </p:nvSpPr>
        <p:spPr>
          <a:xfrm>
            <a:off x="11982981" y="1414279"/>
            <a:ext cx="2449091" cy="743585"/>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88000" tIns="18000" rIns="216000" bIns="18000" rtlCol="0" anchor="ctr">
            <a:spAutoFit/>
          </a:bodyPr>
          <a:lstStyle/>
          <a:p>
            <a:pPr algn="ctr"/>
            <a:r>
              <a:rPr lang="ja-JP" altLang="en-US" sz="3200" spc="200" dirty="0">
                <a:solidFill>
                  <a:schemeClr val="bg1"/>
                </a:solidFill>
                <a:latin typeface="+mj-ea"/>
                <a:ea typeface="+mj-ea"/>
              </a:rPr>
              <a:t>指示方法</a:t>
            </a:r>
            <a:endParaRPr kumimoji="1" lang="ja-JP" altLang="en-US" sz="3200" spc="200" dirty="0">
              <a:solidFill>
                <a:schemeClr val="bg1"/>
              </a:solidFill>
              <a:latin typeface="+mj-ea"/>
              <a:ea typeface="+mj-ea"/>
            </a:endParaRPr>
          </a:p>
        </p:txBody>
      </p:sp>
      <p:sp>
        <p:nvSpPr>
          <p:cNvPr id="4" name="テキスト ボックス 3">
            <a:extLst>
              <a:ext uri="{FF2B5EF4-FFF2-40B4-BE49-F238E27FC236}">
                <a16:creationId xmlns:a16="http://schemas.microsoft.com/office/drawing/2014/main" id="{31374529-0F0B-97E5-D108-6CDDF935DB7E}"/>
              </a:ext>
            </a:extLst>
          </p:cNvPr>
          <p:cNvSpPr txBox="1"/>
          <p:nvPr/>
        </p:nvSpPr>
        <p:spPr>
          <a:xfrm>
            <a:off x="2310486" y="5881107"/>
            <a:ext cx="5539978" cy="3125086"/>
          </a:xfrm>
          <a:prstGeom prst="rect">
            <a:avLst/>
          </a:prstGeom>
          <a:noFill/>
        </p:spPr>
        <p:txBody>
          <a:bodyPr wrap="none" lIns="0" tIns="0" rIns="0" bIns="0" rtlCol="0">
            <a:spAutoFit/>
          </a:bodyPr>
          <a:lstStyle/>
          <a:p>
            <a:pPr marL="457200" indent="-457200">
              <a:lnSpc>
                <a:spcPct val="120000"/>
              </a:lnSpc>
              <a:spcAft>
                <a:spcPts val="1600"/>
              </a:spcAft>
              <a:buClr>
                <a:schemeClr val="accent1"/>
              </a:buClr>
              <a:buFont typeface="Wingdings" panose="05000000000000000000" pitchFamily="2" charset="2"/>
              <a:buChar char="l"/>
            </a:pPr>
            <a:r>
              <a:rPr kumimoji="1" lang="ja-JP" altLang="en-US" sz="3200" spc="100" dirty="0">
                <a:solidFill>
                  <a:schemeClr val="accent2"/>
                </a:solidFill>
                <a:latin typeface="+mj-ea"/>
                <a:ea typeface="+mj-ea"/>
              </a:rPr>
              <a:t>文章・画像・動画 </a:t>
            </a:r>
            <a:r>
              <a:rPr kumimoji="1" lang="ja-JP" altLang="en-US" sz="2400" spc="100" dirty="0">
                <a:solidFill>
                  <a:schemeClr val="accent2"/>
                </a:solidFill>
                <a:latin typeface="+mj-ea"/>
                <a:ea typeface="+mj-ea"/>
              </a:rPr>
              <a:t>など</a:t>
            </a:r>
            <a:br>
              <a:rPr kumimoji="1" lang="en-US" altLang="ja-JP" sz="3200" spc="100" dirty="0">
                <a:solidFill>
                  <a:schemeClr val="accent2"/>
                </a:solidFill>
                <a:latin typeface="+mj-ea"/>
                <a:ea typeface="+mj-ea"/>
              </a:rPr>
            </a:br>
            <a:r>
              <a:rPr kumimoji="1" lang="ja-JP" altLang="en-US" sz="3200" spc="100" dirty="0">
                <a:latin typeface="+mn-ea"/>
              </a:rPr>
              <a:t>幅広く作成可能</a:t>
            </a:r>
            <a:endParaRPr kumimoji="1" lang="en-US" altLang="ja-JP" sz="3200" spc="100" dirty="0">
              <a:latin typeface="+mn-ea"/>
            </a:endParaRPr>
          </a:p>
          <a:p>
            <a:pPr marL="457200" indent="-457200">
              <a:lnSpc>
                <a:spcPct val="120000"/>
              </a:lnSpc>
              <a:spcAft>
                <a:spcPts val="1600"/>
              </a:spcAft>
              <a:buClr>
                <a:schemeClr val="accent1"/>
              </a:buClr>
              <a:buFont typeface="Wingdings" panose="05000000000000000000" pitchFamily="2" charset="2"/>
              <a:buChar char="l"/>
            </a:pPr>
            <a:r>
              <a:rPr kumimoji="1" lang="ja-JP" altLang="en-US" sz="3200" spc="100" dirty="0">
                <a:solidFill>
                  <a:schemeClr val="accent2"/>
                </a:solidFill>
                <a:latin typeface="+mj-ea"/>
                <a:ea typeface="+mj-ea"/>
              </a:rPr>
              <a:t>文脈を理解した回答</a:t>
            </a:r>
            <a:r>
              <a:rPr kumimoji="1" lang="ja-JP" altLang="en-US" sz="3200" spc="100" dirty="0">
                <a:latin typeface="+mn-ea"/>
              </a:rPr>
              <a:t>や、</a:t>
            </a:r>
            <a:br>
              <a:rPr kumimoji="1" lang="en-US" altLang="ja-JP" sz="3200" spc="100" dirty="0">
                <a:latin typeface="+mn-ea"/>
              </a:rPr>
            </a:br>
            <a:r>
              <a:rPr kumimoji="1" lang="ja-JP" altLang="en-US" sz="3200" spc="100" dirty="0">
                <a:solidFill>
                  <a:schemeClr val="accent2"/>
                </a:solidFill>
                <a:latin typeface="+mj-ea"/>
                <a:ea typeface="+mj-ea"/>
              </a:rPr>
              <a:t>人間が思いつかない回答</a:t>
            </a:r>
            <a:r>
              <a:rPr kumimoji="1" lang="ja-JP" altLang="en-US" sz="3200" spc="100" dirty="0">
                <a:latin typeface="+mn-ea"/>
              </a:rPr>
              <a:t>を</a:t>
            </a:r>
            <a:br>
              <a:rPr kumimoji="1" lang="en-US" altLang="ja-JP" sz="3200" spc="100" dirty="0">
                <a:latin typeface="+mn-ea"/>
              </a:rPr>
            </a:br>
            <a:r>
              <a:rPr kumimoji="1" lang="ja-JP" altLang="en-US" sz="3200" spc="100" dirty="0">
                <a:latin typeface="+mn-ea"/>
              </a:rPr>
              <a:t>作ることができる</a:t>
            </a:r>
          </a:p>
        </p:txBody>
      </p:sp>
      <p:sp>
        <p:nvSpPr>
          <p:cNvPr id="13" name="テキスト ボックス 12">
            <a:extLst>
              <a:ext uri="{FF2B5EF4-FFF2-40B4-BE49-F238E27FC236}">
                <a16:creationId xmlns:a16="http://schemas.microsoft.com/office/drawing/2014/main" id="{D4A9E5C0-14BD-F136-A3E4-3598E8B1DF5B}"/>
              </a:ext>
            </a:extLst>
          </p:cNvPr>
          <p:cNvSpPr txBox="1"/>
          <p:nvPr/>
        </p:nvSpPr>
        <p:spPr>
          <a:xfrm>
            <a:off x="10437536" y="5881107"/>
            <a:ext cx="5539978" cy="3125086"/>
          </a:xfrm>
          <a:prstGeom prst="rect">
            <a:avLst/>
          </a:prstGeom>
          <a:noFill/>
        </p:spPr>
        <p:txBody>
          <a:bodyPr wrap="none" lIns="0" tIns="0" rIns="0" bIns="0" rtlCol="0">
            <a:spAutoFit/>
          </a:bodyPr>
          <a:lstStyle/>
          <a:p>
            <a:pPr marL="457200" indent="-457200">
              <a:lnSpc>
                <a:spcPct val="120000"/>
              </a:lnSpc>
              <a:spcAft>
                <a:spcPts val="1600"/>
              </a:spcAft>
              <a:buClr>
                <a:schemeClr val="accent1"/>
              </a:buClr>
              <a:buFont typeface="Wingdings" panose="05000000000000000000" pitchFamily="2" charset="2"/>
              <a:buChar char="l"/>
            </a:pPr>
            <a:r>
              <a:rPr kumimoji="1" lang="ja-JP" altLang="en-US" sz="3200" spc="100" dirty="0">
                <a:latin typeface="+mn-ea"/>
              </a:rPr>
              <a:t>高度な技術は必要なく、</a:t>
            </a:r>
            <a:br>
              <a:rPr kumimoji="1" lang="en-US" altLang="ja-JP" sz="3200" spc="100" dirty="0">
                <a:latin typeface="+mn-ea"/>
              </a:rPr>
            </a:br>
            <a:r>
              <a:rPr kumimoji="1" lang="ja-JP" altLang="en-US" sz="3200" spc="100" dirty="0">
                <a:solidFill>
                  <a:schemeClr val="accent2"/>
                </a:solidFill>
                <a:latin typeface="+mj-ea"/>
                <a:ea typeface="+mj-ea"/>
              </a:rPr>
              <a:t>簡単に使える</a:t>
            </a:r>
            <a:endParaRPr kumimoji="1" lang="en-US" altLang="ja-JP" sz="3200" spc="100" dirty="0">
              <a:solidFill>
                <a:schemeClr val="accent2"/>
              </a:solidFill>
              <a:latin typeface="+mj-ea"/>
              <a:ea typeface="+mj-ea"/>
            </a:endParaRPr>
          </a:p>
          <a:p>
            <a:pPr marL="457200" indent="-457200">
              <a:lnSpc>
                <a:spcPct val="120000"/>
              </a:lnSpc>
              <a:spcAft>
                <a:spcPts val="1600"/>
              </a:spcAft>
              <a:buClr>
                <a:schemeClr val="accent1"/>
              </a:buClr>
              <a:buFont typeface="Wingdings" panose="05000000000000000000" pitchFamily="2" charset="2"/>
              <a:buChar char="l"/>
            </a:pPr>
            <a:r>
              <a:rPr kumimoji="1" lang="ja-JP" altLang="en-US" sz="3200" spc="100" dirty="0">
                <a:latin typeface="+mn-ea"/>
              </a:rPr>
              <a:t>文章のほか、</a:t>
            </a:r>
            <a:br>
              <a:rPr kumimoji="1" lang="en-US" altLang="ja-JP" sz="3200" spc="100" dirty="0">
                <a:latin typeface="+mn-ea"/>
              </a:rPr>
            </a:br>
            <a:r>
              <a:rPr kumimoji="1" lang="ja-JP" altLang="en-US" sz="3200" spc="100" dirty="0">
                <a:solidFill>
                  <a:schemeClr val="accent2"/>
                </a:solidFill>
                <a:latin typeface="+mj-ea"/>
                <a:ea typeface="+mj-ea"/>
              </a:rPr>
              <a:t>画像・音声・グラフ</a:t>
            </a:r>
            <a:r>
              <a:rPr kumimoji="1" lang="ja-JP" altLang="en-US" sz="2400" spc="100" dirty="0">
                <a:solidFill>
                  <a:schemeClr val="accent2"/>
                </a:solidFill>
                <a:latin typeface="+mj-ea"/>
                <a:ea typeface="+mj-ea"/>
              </a:rPr>
              <a:t>など </a:t>
            </a:r>
            <a:r>
              <a:rPr kumimoji="1" lang="ja-JP" altLang="en-US" sz="3200" spc="100" dirty="0">
                <a:latin typeface="+mn-ea"/>
              </a:rPr>
              <a:t>を</a:t>
            </a:r>
            <a:br>
              <a:rPr kumimoji="1" lang="en-US" altLang="ja-JP" sz="3200" spc="100" dirty="0">
                <a:latin typeface="+mn-ea"/>
              </a:rPr>
            </a:br>
            <a:r>
              <a:rPr kumimoji="1" lang="ja-JP" altLang="en-US" sz="3200" spc="100" dirty="0">
                <a:latin typeface="+mn-ea"/>
              </a:rPr>
              <a:t>入力しても回答を得られる</a:t>
            </a:r>
          </a:p>
        </p:txBody>
      </p:sp>
      <p:sp>
        <p:nvSpPr>
          <p:cNvPr id="3" name="スライド番号プレースホルダー 2">
            <a:extLst>
              <a:ext uri="{FF2B5EF4-FFF2-40B4-BE49-F238E27FC236}">
                <a16:creationId xmlns:a16="http://schemas.microsoft.com/office/drawing/2014/main" id="{D1DAAA7B-1AE6-3D6B-BDF8-E7D3BAA40214}"/>
              </a:ext>
            </a:extLst>
          </p:cNvPr>
          <p:cNvSpPr>
            <a:spLocks noGrp="1"/>
          </p:cNvSpPr>
          <p:nvPr>
            <p:ph type="sldNum" sz="quarter" idx="11"/>
          </p:nvPr>
        </p:nvSpPr>
        <p:spPr>
          <a:xfrm>
            <a:off x="17776755" y="9786651"/>
            <a:ext cx="163506" cy="307777"/>
          </a:xfrm>
        </p:spPr>
        <p:txBody>
          <a:bodyPr/>
          <a:lstStyle/>
          <a:p>
            <a:r>
              <a:rPr lang="en-US" altLang="ja-JP"/>
              <a:t>7</a:t>
            </a:r>
            <a:endParaRPr lang="ja-JP" altLang="en-US" dirty="0"/>
          </a:p>
        </p:txBody>
      </p:sp>
      <p:pic>
        <p:nvPicPr>
          <p:cNvPr id="8" name="図 7">
            <a:extLst>
              <a:ext uri="{FF2B5EF4-FFF2-40B4-BE49-F238E27FC236}">
                <a16:creationId xmlns:a16="http://schemas.microsoft.com/office/drawing/2014/main" id="{2D3059E0-834B-C0AC-1229-025C7730665E}"/>
              </a:ext>
            </a:extLst>
          </p:cNvPr>
          <p:cNvPicPr>
            <a:picLocks noChangeAspect="1"/>
          </p:cNvPicPr>
          <p:nvPr/>
        </p:nvPicPr>
        <p:blipFill>
          <a:blip r:embed="rId3"/>
          <a:stretch>
            <a:fillRect/>
          </a:stretch>
        </p:blipFill>
        <p:spPr>
          <a:xfrm>
            <a:off x="11264449" y="2474269"/>
            <a:ext cx="3883489" cy="3121423"/>
          </a:xfrm>
          <a:prstGeom prst="rect">
            <a:avLst/>
          </a:prstGeom>
        </p:spPr>
      </p:pic>
      <p:pic>
        <p:nvPicPr>
          <p:cNvPr id="11" name="図 10">
            <a:extLst>
              <a:ext uri="{FF2B5EF4-FFF2-40B4-BE49-F238E27FC236}">
                <a16:creationId xmlns:a16="http://schemas.microsoft.com/office/drawing/2014/main" id="{E04C1621-D9C3-21DF-279C-66102F5ECB8B}"/>
              </a:ext>
            </a:extLst>
          </p:cNvPr>
          <p:cNvPicPr>
            <a:picLocks noChangeAspect="1"/>
          </p:cNvPicPr>
          <p:nvPr/>
        </p:nvPicPr>
        <p:blipFill>
          <a:blip r:embed="rId4"/>
          <a:stretch>
            <a:fillRect/>
          </a:stretch>
        </p:blipFill>
        <p:spPr>
          <a:xfrm>
            <a:off x="2729267" y="2646540"/>
            <a:ext cx="4767485" cy="2615411"/>
          </a:xfrm>
          <a:prstGeom prst="rect">
            <a:avLst/>
          </a:prstGeom>
        </p:spPr>
      </p:pic>
    </p:spTree>
    <p:extLst>
      <p:ext uri="{BB962C8B-B14F-4D97-AF65-F5344CB8AC3E}">
        <p14:creationId xmlns:p14="http://schemas.microsoft.com/office/powerpoint/2010/main" val="2970470834"/>
      </p:ext>
    </p:extLst>
  </p:cSld>
  <p:clrMapOvr>
    <a:masterClrMapping/>
  </p:clrMapOvr>
</p:sld>
</file>

<file path=ppt/slides/slide7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 name="グループ化 2">
            <a:extLst>
              <a:ext uri="{FF2B5EF4-FFF2-40B4-BE49-F238E27FC236}">
                <a16:creationId xmlns:a16="http://schemas.microsoft.com/office/drawing/2014/main" id="{E169F19F-D085-1D8D-518F-BE3BB08CA0BD}"/>
              </a:ext>
            </a:extLst>
          </p:cNvPr>
          <p:cNvGrpSpPr/>
          <p:nvPr/>
        </p:nvGrpSpPr>
        <p:grpSpPr>
          <a:xfrm>
            <a:off x="2073291" y="2604635"/>
            <a:ext cx="3206716" cy="1170649"/>
            <a:chOff x="1991495" y="2670256"/>
            <a:chExt cx="2862607" cy="1045028"/>
          </a:xfrm>
        </p:grpSpPr>
        <p:sp>
          <p:nvSpPr>
            <p:cNvPr id="4" name="四角形: 角を丸くする 3">
              <a:extLst>
                <a:ext uri="{FF2B5EF4-FFF2-40B4-BE49-F238E27FC236}">
                  <a16:creationId xmlns:a16="http://schemas.microsoft.com/office/drawing/2014/main" id="{A2D9402B-024D-9B93-473D-7F0D37C75C3F}"/>
                </a:ext>
              </a:extLst>
            </p:cNvPr>
            <p:cNvSpPr/>
            <p:nvPr/>
          </p:nvSpPr>
          <p:spPr>
            <a:xfrm>
              <a:off x="1991495" y="2670256"/>
              <a:ext cx="1045028" cy="1045028"/>
            </a:xfrm>
            <a:prstGeom prst="roundRect">
              <a:avLst>
                <a:gd name="adj" fmla="val 6686"/>
              </a:avLst>
            </a:prstGeom>
            <a:solidFill>
              <a:schemeClr val="bg1"/>
            </a:solidFill>
            <a:ln w="63500">
              <a:solidFill>
                <a:schemeClr val="accent3"/>
              </a:solid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lang="ja-JP" altLang="en-US" sz="3200" dirty="0">
                  <a:solidFill>
                    <a:schemeClr val="accent3"/>
                  </a:solidFill>
                  <a:latin typeface="+mj-ea"/>
                  <a:ea typeface="+mj-ea"/>
                </a:rPr>
                <a:t>正解</a:t>
              </a:r>
              <a:endParaRPr kumimoji="1" lang="ja-JP" altLang="en-US" sz="3200" dirty="0">
                <a:solidFill>
                  <a:schemeClr val="accent3"/>
                </a:solidFill>
                <a:latin typeface="+mj-ea"/>
                <a:ea typeface="+mj-ea"/>
              </a:endParaRPr>
            </a:p>
          </p:txBody>
        </p:sp>
        <p:sp>
          <p:nvSpPr>
            <p:cNvPr id="5" name="テキスト ボックス 4">
              <a:extLst>
                <a:ext uri="{FF2B5EF4-FFF2-40B4-BE49-F238E27FC236}">
                  <a16:creationId xmlns:a16="http://schemas.microsoft.com/office/drawing/2014/main" id="{F749F0A9-91F7-9FE6-350B-E11C6D99662C}"/>
                </a:ext>
              </a:extLst>
            </p:cNvPr>
            <p:cNvSpPr txBox="1">
              <a:spLocks/>
            </p:cNvSpPr>
            <p:nvPr/>
          </p:nvSpPr>
          <p:spPr>
            <a:xfrm>
              <a:off x="3360686"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sp>
          <p:nvSpPr>
            <p:cNvPr id="6" name="テキスト ボックス 5">
              <a:extLst>
                <a:ext uri="{FF2B5EF4-FFF2-40B4-BE49-F238E27FC236}">
                  <a16:creationId xmlns:a16="http://schemas.microsoft.com/office/drawing/2014/main" id="{E65E9C0B-B0C6-8E5B-5AAB-BCD5E9584696}"/>
                </a:ext>
              </a:extLst>
            </p:cNvPr>
            <p:cNvSpPr txBox="1">
              <a:spLocks/>
            </p:cNvSpPr>
            <p:nvPr/>
          </p:nvSpPr>
          <p:spPr>
            <a:xfrm>
              <a:off x="4206102" y="2869583"/>
              <a:ext cx="648000" cy="646373"/>
            </a:xfrm>
            <a:prstGeom prst="roundRect">
              <a:avLst>
                <a:gd name="adj" fmla="val 11087"/>
              </a:avLst>
            </a:prstGeom>
            <a:solidFill>
              <a:schemeClr val="tx1"/>
            </a:solidFill>
            <a:ln w="31750">
              <a:noFill/>
            </a:ln>
          </p:spPr>
          <p:txBody>
            <a:bodyPr wrap="none" lIns="0" tIns="0" rIns="0" bIns="0" rtlCol="0" anchor="ctr">
              <a:noAutofit/>
            </a:bodyPr>
            <a:lstStyle/>
            <a:p>
              <a:pPr algn="ctr"/>
              <a:r>
                <a:rPr lang="ja-JP" altLang="en-US" sz="2800" b="1" spc="300" dirty="0">
                  <a:solidFill>
                    <a:schemeClr val="bg1"/>
                  </a:solidFill>
                  <a:latin typeface="+mn-ea"/>
                </a:rPr>
                <a:t>ウ</a:t>
              </a:r>
              <a:endParaRPr kumimoji="1" lang="ja-JP" altLang="en-US" sz="2800" b="1" spc="300" dirty="0">
                <a:solidFill>
                  <a:schemeClr val="bg1"/>
                </a:solidFill>
                <a:latin typeface="+mn-ea"/>
              </a:endParaRPr>
            </a:p>
          </p:txBody>
        </p:sp>
      </p:grpSp>
      <p:grpSp>
        <p:nvGrpSpPr>
          <p:cNvPr id="7" name="グループ化 6">
            <a:extLst>
              <a:ext uri="{FF2B5EF4-FFF2-40B4-BE49-F238E27FC236}">
                <a16:creationId xmlns:a16="http://schemas.microsoft.com/office/drawing/2014/main" id="{625CE659-CD25-879C-40F3-3F415A84C308}"/>
              </a:ext>
            </a:extLst>
          </p:cNvPr>
          <p:cNvGrpSpPr/>
          <p:nvPr/>
        </p:nvGrpSpPr>
        <p:grpSpPr>
          <a:xfrm>
            <a:off x="7945117" y="724103"/>
            <a:ext cx="9484886" cy="8837206"/>
            <a:chOff x="7945117" y="728997"/>
            <a:chExt cx="9484886" cy="8837206"/>
          </a:xfrm>
        </p:grpSpPr>
        <p:grpSp>
          <p:nvGrpSpPr>
            <p:cNvPr id="8" name="グループ化 7">
              <a:extLst>
                <a:ext uri="{FF2B5EF4-FFF2-40B4-BE49-F238E27FC236}">
                  <a16:creationId xmlns:a16="http://schemas.microsoft.com/office/drawing/2014/main" id="{803BEB1A-EA63-D226-A323-3D0847554214}"/>
                </a:ext>
              </a:extLst>
            </p:cNvPr>
            <p:cNvGrpSpPr/>
            <p:nvPr/>
          </p:nvGrpSpPr>
          <p:grpSpPr>
            <a:xfrm>
              <a:off x="7945117" y="728997"/>
              <a:ext cx="9032839" cy="1800000"/>
              <a:chOff x="7945117" y="1234999"/>
              <a:chExt cx="9032839" cy="1800000"/>
            </a:xfrm>
          </p:grpSpPr>
          <p:sp>
            <p:nvSpPr>
              <p:cNvPr id="18" name="テキスト ボックス 17">
                <a:extLst>
                  <a:ext uri="{FF2B5EF4-FFF2-40B4-BE49-F238E27FC236}">
                    <a16:creationId xmlns:a16="http://schemas.microsoft.com/office/drawing/2014/main" id="{6964D211-A559-4ECF-3B95-39C3513180A8}"/>
                  </a:ext>
                </a:extLst>
              </p:cNvPr>
              <p:cNvSpPr txBox="1"/>
              <p:nvPr userDrawn="1"/>
            </p:nvSpPr>
            <p:spPr>
              <a:xfrm>
                <a:off x="8916454" y="1907822"/>
                <a:ext cx="8061502"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生成された内容に偏りがないか自分で考えてみる</a:t>
                </a:r>
              </a:p>
            </p:txBody>
          </p:sp>
          <p:sp>
            <p:nvSpPr>
              <p:cNvPr id="19" name="テキスト ボックス 18">
                <a:extLst>
                  <a:ext uri="{FF2B5EF4-FFF2-40B4-BE49-F238E27FC236}">
                    <a16:creationId xmlns:a16="http://schemas.microsoft.com/office/drawing/2014/main" id="{382E8764-6C9B-1CFB-2A21-5409526A1FCE}"/>
                  </a:ext>
                </a:extLst>
              </p:cNvPr>
              <p:cNvSpPr txBox="1">
                <a:spLocks/>
              </p:cNvSpPr>
              <p:nvPr userDrawn="1"/>
            </p:nvSpPr>
            <p:spPr>
              <a:xfrm>
                <a:off x="7945117" y="123499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ア</a:t>
                </a:r>
              </a:p>
            </p:txBody>
          </p:sp>
        </p:grpSp>
        <p:grpSp>
          <p:nvGrpSpPr>
            <p:cNvPr id="9" name="グループ化 8">
              <a:extLst>
                <a:ext uri="{FF2B5EF4-FFF2-40B4-BE49-F238E27FC236}">
                  <a16:creationId xmlns:a16="http://schemas.microsoft.com/office/drawing/2014/main" id="{5ACB43D1-89C7-F8E6-5454-743A9E13DA99}"/>
                </a:ext>
              </a:extLst>
            </p:cNvPr>
            <p:cNvGrpSpPr/>
            <p:nvPr/>
          </p:nvGrpSpPr>
          <p:grpSpPr>
            <a:xfrm>
              <a:off x="7945117" y="3074733"/>
              <a:ext cx="9484886" cy="1800000"/>
              <a:chOff x="7945117" y="3367623"/>
              <a:chExt cx="9484886" cy="1800000"/>
            </a:xfrm>
          </p:grpSpPr>
          <p:sp>
            <p:nvSpPr>
              <p:cNvPr id="16" name="テキスト ボックス 15">
                <a:extLst>
                  <a:ext uri="{FF2B5EF4-FFF2-40B4-BE49-F238E27FC236}">
                    <a16:creationId xmlns:a16="http://schemas.microsoft.com/office/drawing/2014/main" id="{0F253960-989C-9BD4-51F2-E5D088304C10}"/>
                  </a:ext>
                </a:extLst>
              </p:cNvPr>
              <p:cNvSpPr txBox="1"/>
              <p:nvPr/>
            </p:nvSpPr>
            <p:spPr>
              <a:xfrm>
                <a:off x="8916454" y="3396520"/>
                <a:ext cx="8513549" cy="174220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生成</a:t>
                </a:r>
                <a:r>
                  <a:rPr kumimoji="1" lang="en-US" altLang="ja-JP" sz="2600" spc="50" dirty="0">
                    <a:solidFill>
                      <a:schemeClr val="accent3"/>
                    </a:solidFill>
                    <a:latin typeface="+mn-ea"/>
                    <a:ea typeface="+mn-ea"/>
                  </a:rPr>
                  <a:t>AI</a:t>
                </a:r>
                <a:r>
                  <a:rPr kumimoji="1" lang="ja-JP" altLang="en-US" sz="2600" spc="50" dirty="0">
                    <a:solidFill>
                      <a:schemeClr val="accent3"/>
                    </a:solidFill>
                    <a:latin typeface="+mn-ea"/>
                    <a:ea typeface="+mn-ea"/>
                  </a:rPr>
                  <a:t>は大量の学習データから文脈に沿った結果を生成</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する単なるツールであるため、生成内容が常に中立的で</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あるとは限らない</a:t>
                </a:r>
              </a:p>
            </p:txBody>
          </p:sp>
          <p:sp>
            <p:nvSpPr>
              <p:cNvPr id="17" name="テキスト ボックス 16">
                <a:extLst>
                  <a:ext uri="{FF2B5EF4-FFF2-40B4-BE49-F238E27FC236}">
                    <a16:creationId xmlns:a16="http://schemas.microsoft.com/office/drawing/2014/main" id="{8A776B26-BB7B-8BE2-F337-D7E69FE685DF}"/>
                  </a:ext>
                </a:extLst>
              </p:cNvPr>
              <p:cNvSpPr txBox="1">
                <a:spLocks/>
              </p:cNvSpPr>
              <p:nvPr/>
            </p:nvSpPr>
            <p:spPr>
              <a:xfrm>
                <a:off x="7945117" y="3367623"/>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lang="ja-JP" altLang="en-US" sz="2800" b="1" spc="300" dirty="0">
                    <a:solidFill>
                      <a:schemeClr val="bg1"/>
                    </a:solidFill>
                    <a:latin typeface="+mn-ea"/>
                  </a:rPr>
                  <a:t>イ</a:t>
                </a:r>
                <a:endParaRPr kumimoji="1" lang="ja-JP" altLang="en-US" sz="2800" b="1" spc="300" dirty="0">
                  <a:solidFill>
                    <a:schemeClr val="bg1"/>
                  </a:solidFill>
                  <a:latin typeface="+mn-ea"/>
                </a:endParaRPr>
              </a:p>
            </p:txBody>
          </p:sp>
        </p:grpSp>
        <p:grpSp>
          <p:nvGrpSpPr>
            <p:cNvPr id="10" name="グループ化 9">
              <a:extLst>
                <a:ext uri="{FF2B5EF4-FFF2-40B4-BE49-F238E27FC236}">
                  <a16:creationId xmlns:a16="http://schemas.microsoft.com/office/drawing/2014/main" id="{C80490F3-01C7-3C53-DE46-E68C82B63969}"/>
                </a:ext>
              </a:extLst>
            </p:cNvPr>
            <p:cNvGrpSpPr/>
            <p:nvPr/>
          </p:nvGrpSpPr>
          <p:grpSpPr>
            <a:xfrm>
              <a:off x="7945117" y="5420469"/>
              <a:ext cx="9012000" cy="1800000"/>
              <a:chOff x="7945117" y="5500579"/>
              <a:chExt cx="9012000" cy="1800000"/>
            </a:xfrm>
          </p:grpSpPr>
          <p:sp>
            <p:nvSpPr>
              <p:cNvPr id="14" name="テキスト ボックス 13">
                <a:extLst>
                  <a:ext uri="{FF2B5EF4-FFF2-40B4-BE49-F238E27FC236}">
                    <a16:creationId xmlns:a16="http://schemas.microsoft.com/office/drawing/2014/main" id="{597FC3B1-FDC3-8E86-2520-573DDABE44D7}"/>
                  </a:ext>
                </a:extLst>
              </p:cNvPr>
              <p:cNvSpPr txBox="1"/>
              <p:nvPr/>
            </p:nvSpPr>
            <p:spPr>
              <a:xfrm>
                <a:off x="8916454" y="6173402"/>
                <a:ext cx="8040663" cy="454355"/>
              </a:xfrm>
              <a:prstGeom prst="rect">
                <a:avLst/>
              </a:prstGeom>
              <a:noFill/>
            </p:spPr>
            <p:txBody>
              <a:bodyPr wrap="none" lIns="0" tIns="0" rIns="0" bIns="0" rtlCol="0" anchor="ctr">
                <a:spAutoFit/>
              </a:bodyPr>
              <a:lstStyle/>
              <a:p>
                <a:pPr algn="l">
                  <a:lnSpc>
                    <a:spcPct val="110000"/>
                  </a:lnSpc>
                </a:pPr>
                <a:r>
                  <a:rPr kumimoji="1" lang="ja-JP" altLang="en-US" sz="2800" spc="50" dirty="0">
                    <a:latin typeface="+mn-ea"/>
                    <a:ea typeface="+mn-ea"/>
                  </a:rPr>
                  <a:t>性別を限定しないで生成するよう改めて指示する</a:t>
                </a:r>
              </a:p>
            </p:txBody>
          </p:sp>
          <p:sp>
            <p:nvSpPr>
              <p:cNvPr id="15" name="テキスト ボックス 14">
                <a:extLst>
                  <a:ext uri="{FF2B5EF4-FFF2-40B4-BE49-F238E27FC236}">
                    <a16:creationId xmlns:a16="http://schemas.microsoft.com/office/drawing/2014/main" id="{983891DB-1A43-7837-313B-C6C77D93DD45}"/>
                  </a:ext>
                </a:extLst>
              </p:cNvPr>
              <p:cNvSpPr txBox="1">
                <a:spLocks/>
              </p:cNvSpPr>
              <p:nvPr/>
            </p:nvSpPr>
            <p:spPr>
              <a:xfrm>
                <a:off x="7945117" y="5500579"/>
                <a:ext cx="663591" cy="1800000"/>
              </a:xfrm>
              <a:prstGeom prst="roundRect">
                <a:avLst>
                  <a:gd name="adj" fmla="val 11087"/>
                </a:avLst>
              </a:prstGeom>
              <a:solidFill>
                <a:schemeClr val="tx1"/>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ウ</a:t>
                </a:r>
              </a:p>
            </p:txBody>
          </p:sp>
        </p:grpSp>
        <p:grpSp>
          <p:nvGrpSpPr>
            <p:cNvPr id="11" name="グループ化 10">
              <a:extLst>
                <a:ext uri="{FF2B5EF4-FFF2-40B4-BE49-F238E27FC236}">
                  <a16:creationId xmlns:a16="http://schemas.microsoft.com/office/drawing/2014/main" id="{1C7EBFD7-2782-E968-2F86-4F883447B96A}"/>
                </a:ext>
              </a:extLst>
            </p:cNvPr>
            <p:cNvGrpSpPr/>
            <p:nvPr/>
          </p:nvGrpSpPr>
          <p:grpSpPr>
            <a:xfrm>
              <a:off x="7945117" y="7766203"/>
              <a:ext cx="8107906" cy="1800000"/>
              <a:chOff x="7945117" y="7633369"/>
              <a:chExt cx="8107906" cy="1800000"/>
            </a:xfrm>
          </p:grpSpPr>
          <p:sp>
            <p:nvSpPr>
              <p:cNvPr id="12" name="テキスト ボックス 11">
                <a:extLst>
                  <a:ext uri="{FF2B5EF4-FFF2-40B4-BE49-F238E27FC236}">
                    <a16:creationId xmlns:a16="http://schemas.microsoft.com/office/drawing/2014/main" id="{F760D46E-62CB-B35C-1687-E1CE4A9960B0}"/>
                  </a:ext>
                </a:extLst>
              </p:cNvPr>
              <p:cNvSpPr txBox="1"/>
              <p:nvPr/>
            </p:nvSpPr>
            <p:spPr>
              <a:xfrm>
                <a:off x="8916454" y="7882325"/>
                <a:ext cx="7136569" cy="1302088"/>
              </a:xfrm>
              <a:prstGeom prst="rect">
                <a:avLst/>
              </a:prstGeom>
              <a:noFill/>
            </p:spPr>
            <p:txBody>
              <a:bodyPr wrap="none" lIns="0" tIns="0" rIns="0" bIns="0" rtlCol="0" anchor="ctr">
                <a:spAutoFit/>
              </a:bodyPr>
              <a:lstStyle/>
              <a:p>
                <a:pPr algn="l">
                  <a:lnSpc>
                    <a:spcPct val="110000"/>
                  </a:lnSpc>
                </a:pPr>
                <a:r>
                  <a:rPr kumimoji="1" lang="en-US" altLang="ja-JP" sz="2600" spc="50" dirty="0">
                    <a:solidFill>
                      <a:schemeClr val="accent3"/>
                    </a:solidFill>
                    <a:latin typeface="+mn-ea"/>
                    <a:ea typeface="+mn-ea"/>
                  </a:rPr>
                  <a:t>【</a:t>
                </a:r>
                <a:r>
                  <a:rPr kumimoji="1" lang="ja-JP" altLang="en-US" sz="2600" spc="50" dirty="0">
                    <a:solidFill>
                      <a:schemeClr val="accent3"/>
                    </a:solidFill>
                    <a:latin typeface="+mn-ea"/>
                    <a:ea typeface="+mn-ea"/>
                  </a:rPr>
                  <a:t>解説</a:t>
                </a:r>
                <a:r>
                  <a:rPr kumimoji="1" lang="en-US" altLang="ja-JP" sz="2600" spc="50" dirty="0">
                    <a:solidFill>
                      <a:schemeClr val="accent3"/>
                    </a:solidFill>
                    <a:latin typeface="+mn-ea"/>
                    <a:ea typeface="+mn-ea"/>
                  </a:rPr>
                  <a:t>】</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再度同じ指示をしても同様の偏りがある画像が</a:t>
                </a:r>
                <a:br>
                  <a:rPr kumimoji="1" lang="en-US" altLang="ja-JP" sz="2600" spc="50" dirty="0">
                    <a:solidFill>
                      <a:schemeClr val="accent3"/>
                    </a:solidFill>
                    <a:latin typeface="+mn-ea"/>
                    <a:ea typeface="+mn-ea"/>
                  </a:rPr>
                </a:br>
                <a:r>
                  <a:rPr kumimoji="1" lang="ja-JP" altLang="en-US" sz="2600" spc="50" dirty="0">
                    <a:solidFill>
                      <a:schemeClr val="accent3"/>
                    </a:solidFill>
                    <a:latin typeface="+mn-ea"/>
                    <a:ea typeface="+mn-ea"/>
                  </a:rPr>
                  <a:t>出力される可能性が高い</a:t>
                </a:r>
              </a:p>
            </p:txBody>
          </p:sp>
          <p:sp>
            <p:nvSpPr>
              <p:cNvPr id="13" name="テキスト ボックス 12">
                <a:extLst>
                  <a:ext uri="{FF2B5EF4-FFF2-40B4-BE49-F238E27FC236}">
                    <a16:creationId xmlns:a16="http://schemas.microsoft.com/office/drawing/2014/main" id="{5F6DACE3-3C79-B882-E728-911072C671BC}"/>
                  </a:ext>
                </a:extLst>
              </p:cNvPr>
              <p:cNvSpPr txBox="1">
                <a:spLocks/>
              </p:cNvSpPr>
              <p:nvPr/>
            </p:nvSpPr>
            <p:spPr>
              <a:xfrm>
                <a:off x="7945117" y="7633369"/>
                <a:ext cx="663591" cy="1800000"/>
              </a:xfrm>
              <a:prstGeom prst="roundRect">
                <a:avLst>
                  <a:gd name="adj" fmla="val 11087"/>
                </a:avLst>
              </a:prstGeom>
              <a:solidFill>
                <a:schemeClr val="tx1">
                  <a:lumMod val="40000"/>
                  <a:lumOff val="60000"/>
                </a:schemeClr>
              </a:solidFill>
              <a:ln w="31750">
                <a:noFill/>
              </a:ln>
            </p:spPr>
            <p:txBody>
              <a:bodyPr wrap="none" lIns="0" tIns="0" rIns="0" bIns="0" rtlCol="0" anchor="ctr">
                <a:noAutofit/>
              </a:bodyPr>
              <a:lstStyle/>
              <a:p>
                <a:pPr algn="ctr"/>
                <a:r>
                  <a:rPr kumimoji="1" lang="ja-JP" altLang="en-US" sz="2800" b="1" spc="300" dirty="0">
                    <a:solidFill>
                      <a:schemeClr val="bg1"/>
                    </a:solidFill>
                    <a:latin typeface="+mn-ea"/>
                  </a:rPr>
                  <a:t>エ</a:t>
                </a:r>
              </a:p>
            </p:txBody>
          </p:sp>
        </p:grpSp>
      </p:grpSp>
      <p:sp>
        <p:nvSpPr>
          <p:cNvPr id="20" name="楕円 19">
            <a:extLst>
              <a:ext uri="{FF2B5EF4-FFF2-40B4-BE49-F238E27FC236}">
                <a16:creationId xmlns:a16="http://schemas.microsoft.com/office/drawing/2014/main" id="{7AEDB04F-02F6-CB9D-983F-EF7B6CA59386}"/>
              </a:ext>
            </a:extLst>
          </p:cNvPr>
          <p:cNvSpPr/>
          <p:nvPr/>
        </p:nvSpPr>
        <p:spPr>
          <a:xfrm>
            <a:off x="11855837" y="784603"/>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1" name="楕円 20">
            <a:extLst>
              <a:ext uri="{FF2B5EF4-FFF2-40B4-BE49-F238E27FC236}">
                <a16:creationId xmlns:a16="http://schemas.microsoft.com/office/drawing/2014/main" id="{16A22D4D-38F2-77F0-42BD-C9466986D3AA}"/>
              </a:ext>
            </a:extLst>
          </p:cNvPr>
          <p:cNvSpPr/>
          <p:nvPr/>
        </p:nvSpPr>
        <p:spPr>
          <a:xfrm>
            <a:off x="11861822" y="5478137"/>
            <a:ext cx="1676938" cy="1676938"/>
          </a:xfrm>
          <a:prstGeom prst="ellipse">
            <a:avLst/>
          </a:prstGeom>
          <a:noFill/>
          <a:ln w="190500">
            <a:solidFill>
              <a:schemeClr val="accent3">
                <a:alpha val="30000"/>
              </a:schemeClr>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22" name="テキスト ボックス 21">
            <a:extLst>
              <a:ext uri="{FF2B5EF4-FFF2-40B4-BE49-F238E27FC236}">
                <a16:creationId xmlns:a16="http://schemas.microsoft.com/office/drawing/2014/main" id="{5A5ED8B0-FB05-1449-3175-0F48E5947D0A}"/>
              </a:ext>
            </a:extLst>
          </p:cNvPr>
          <p:cNvSpPr txBox="1"/>
          <p:nvPr/>
        </p:nvSpPr>
        <p:spPr>
          <a:xfrm>
            <a:off x="754084" y="4659559"/>
            <a:ext cx="5845132" cy="3264355"/>
          </a:xfrm>
          <a:prstGeom prst="rect">
            <a:avLst/>
          </a:prstGeom>
          <a:noFill/>
        </p:spPr>
        <p:txBody>
          <a:bodyPr wrap="square" lIns="0" tIns="0" rIns="0" bIns="0" rtlCol="0" anchor="t">
            <a:spAutoFit/>
          </a:bodyPr>
          <a:lstStyle/>
          <a:p>
            <a:pPr algn="just">
              <a:lnSpc>
                <a:spcPct val="120000"/>
              </a:lnSpc>
              <a:spcAft>
                <a:spcPts val="1500"/>
              </a:spcAft>
            </a:pPr>
            <a:r>
              <a:rPr kumimoji="1" lang="ja-JP" altLang="en-US" sz="2800" spc="50" dirty="0">
                <a:latin typeface="+mn-ea"/>
              </a:rPr>
              <a:t>ア：生成物に偏見や差別が含まれていないか、人間が判断することが重要</a:t>
            </a:r>
            <a:r>
              <a:rPr lang="ja-JP" altLang="en-US" sz="2800" spc="50" dirty="0">
                <a:latin typeface="+mn-ea"/>
              </a:rPr>
              <a:t>。</a:t>
            </a:r>
            <a:endParaRPr lang="en-US" altLang="ja-JP" sz="2800" spc="50" dirty="0">
              <a:latin typeface="+mn-ea"/>
            </a:endParaRPr>
          </a:p>
          <a:p>
            <a:pPr algn="just">
              <a:lnSpc>
                <a:spcPct val="120000"/>
              </a:lnSpc>
              <a:spcAft>
                <a:spcPts val="1500"/>
              </a:spcAft>
            </a:pPr>
            <a:r>
              <a:rPr kumimoji="1" lang="ja-JP" altLang="en-US" sz="2800" spc="50" dirty="0">
                <a:latin typeface="+mn-ea"/>
              </a:rPr>
              <a:t>ウ：偏見や差別を軽減するため、具体的な指示を与えて多様性を引き出すことが重要。</a:t>
            </a:r>
          </a:p>
        </p:txBody>
      </p:sp>
      <p:sp>
        <p:nvSpPr>
          <p:cNvPr id="2" name="スライド番号プレースホルダー 1">
            <a:extLst>
              <a:ext uri="{FF2B5EF4-FFF2-40B4-BE49-F238E27FC236}">
                <a16:creationId xmlns:a16="http://schemas.microsoft.com/office/drawing/2014/main" id="{F87396D7-0062-7A2C-F22E-D4AB8845E2D0}"/>
              </a:ext>
            </a:extLst>
          </p:cNvPr>
          <p:cNvSpPr>
            <a:spLocks noGrp="1"/>
          </p:cNvSpPr>
          <p:nvPr>
            <p:ph type="sldNum" sz="quarter" idx="11"/>
          </p:nvPr>
        </p:nvSpPr>
        <p:spPr>
          <a:xfrm>
            <a:off x="17695001" y="9786651"/>
            <a:ext cx="327013" cy="307777"/>
          </a:xfrm>
        </p:spPr>
        <p:txBody>
          <a:bodyPr/>
          <a:lstStyle/>
          <a:p>
            <a:r>
              <a:rPr lang="en-US" altLang="ja-JP"/>
              <a:t>70</a:t>
            </a:r>
            <a:endParaRPr lang="ja-JP" altLang="en-US" dirty="0"/>
          </a:p>
        </p:txBody>
      </p:sp>
    </p:spTree>
    <p:extLst>
      <p:ext uri="{BB962C8B-B14F-4D97-AF65-F5344CB8AC3E}">
        <p14:creationId xmlns:p14="http://schemas.microsoft.com/office/powerpoint/2010/main" val="603108820"/>
      </p:ext>
    </p:extLst>
  </p:cSld>
  <p:clrMapOvr>
    <a:masterClrMapping/>
  </p:clrMapOvr>
</p:sld>
</file>

<file path=ppt/slides/slide7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lumMod val="20000"/>
                      <a:lumOff val="80000"/>
                    </a:schemeClr>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solidFill>
                      <a:latin typeface="+mj-ea"/>
                      <a:ea typeface="+mj-ea"/>
                    </a:rPr>
                    <a:t>学習のまとめ、</a:t>
                  </a:r>
                  <a:r>
                    <a:rPr kumimoji="1" lang="ja-JP" altLang="en-US" sz="2800" b="1" dirty="0">
                      <a:solidFill>
                        <a:schemeClr val="tx1"/>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3" name="スライド番号プレースホルダー 2">
            <a:extLst>
              <a:ext uri="{FF2B5EF4-FFF2-40B4-BE49-F238E27FC236}">
                <a16:creationId xmlns:a16="http://schemas.microsoft.com/office/drawing/2014/main" id="{0F2C2620-17DF-F84D-AA37-3308A57DD87B}"/>
              </a:ext>
            </a:extLst>
          </p:cNvPr>
          <p:cNvSpPr>
            <a:spLocks noGrp="1"/>
          </p:cNvSpPr>
          <p:nvPr>
            <p:ph type="sldNum" sz="quarter" idx="11"/>
          </p:nvPr>
        </p:nvSpPr>
        <p:spPr>
          <a:xfrm>
            <a:off x="17695001" y="9786651"/>
            <a:ext cx="327013" cy="307777"/>
          </a:xfrm>
        </p:spPr>
        <p:txBody>
          <a:bodyPr/>
          <a:lstStyle/>
          <a:p>
            <a:r>
              <a:rPr lang="en-US" altLang="ja-JP"/>
              <a:t>71</a:t>
            </a:r>
            <a:endParaRPr lang="ja-JP" altLang="en-US" dirty="0"/>
          </a:p>
        </p:txBody>
      </p:sp>
      <p:sp>
        <p:nvSpPr>
          <p:cNvPr id="2" name="テキスト ボックス 1">
            <a:extLst>
              <a:ext uri="{FF2B5EF4-FFF2-40B4-BE49-F238E27FC236}">
                <a16:creationId xmlns:a16="http://schemas.microsoft.com/office/drawing/2014/main" id="{A3B0DB10-24D4-3010-CE1C-87CCF5CD578D}"/>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10" name="図 9">
            <a:extLst>
              <a:ext uri="{FF2B5EF4-FFF2-40B4-BE49-F238E27FC236}">
                <a16:creationId xmlns:a16="http://schemas.microsoft.com/office/drawing/2014/main" id="{67692B6D-A58C-369F-AA30-1184D921735E}"/>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3848560074"/>
      </p:ext>
    </p:extLst>
  </p:cSld>
  <p:clrMapOvr>
    <a:masterClrMapping/>
  </p:clrMapOvr>
</p:sld>
</file>

<file path=ppt/slides/slide7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F108763D-E271-BC4A-F32E-E99691B6651A}"/>
              </a:ext>
            </a:extLst>
          </p:cNvPr>
          <p:cNvSpPr>
            <a:spLocks noGrp="1"/>
          </p:cNvSpPr>
          <p:nvPr>
            <p:ph type="title"/>
          </p:nvPr>
        </p:nvSpPr>
        <p:spPr>
          <a:xfrm>
            <a:off x="891741" y="506301"/>
            <a:ext cx="3702937" cy="492443"/>
          </a:xfrm>
        </p:spPr>
        <p:txBody>
          <a:bodyPr/>
          <a:lstStyle/>
          <a:p>
            <a:r>
              <a:rPr lang="ja-JP" altLang="en-US" dirty="0"/>
              <a:t>学習のまとめ</a:t>
            </a:r>
            <a:r>
              <a:rPr lang="en-US" altLang="ja-JP" dirty="0"/>
              <a:t>(1/2)</a:t>
            </a:r>
            <a:endParaRPr lang="ja-JP" altLang="en-US" dirty="0"/>
          </a:p>
        </p:txBody>
      </p:sp>
      <p:grpSp>
        <p:nvGrpSpPr>
          <p:cNvPr id="53" name="グループ化 52">
            <a:extLst>
              <a:ext uri="{FF2B5EF4-FFF2-40B4-BE49-F238E27FC236}">
                <a16:creationId xmlns:a16="http://schemas.microsoft.com/office/drawing/2014/main" id="{3E0DC1C8-E5EB-4DD7-69BB-BBCB2A42ED6F}"/>
              </a:ext>
            </a:extLst>
          </p:cNvPr>
          <p:cNvGrpSpPr/>
          <p:nvPr/>
        </p:nvGrpSpPr>
        <p:grpSpPr>
          <a:xfrm>
            <a:off x="9410220" y="1605679"/>
            <a:ext cx="7986041" cy="7832611"/>
            <a:chOff x="9410220" y="1605679"/>
            <a:chExt cx="7986041" cy="7832611"/>
          </a:xfrm>
        </p:grpSpPr>
        <p:sp>
          <p:nvSpPr>
            <p:cNvPr id="14" name="四角形: 角を丸くする 13">
              <a:extLst>
                <a:ext uri="{FF2B5EF4-FFF2-40B4-BE49-F238E27FC236}">
                  <a16:creationId xmlns:a16="http://schemas.microsoft.com/office/drawing/2014/main" id="{D8F1DE56-F617-0082-25FB-DB90D9CD7BB5}"/>
                </a:ext>
              </a:extLst>
            </p:cNvPr>
            <p:cNvSpPr/>
            <p:nvPr/>
          </p:nvSpPr>
          <p:spPr>
            <a:xfrm>
              <a:off x="9410220" y="1605679"/>
              <a:ext cx="7986041" cy="7832611"/>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5" name="四角形: 上の 2 つの角を丸める 14">
              <a:extLst>
                <a:ext uri="{FF2B5EF4-FFF2-40B4-BE49-F238E27FC236}">
                  <a16:creationId xmlns:a16="http://schemas.microsoft.com/office/drawing/2014/main" id="{55C7C5E4-2DF7-9FCA-5635-9F05564C91EF}"/>
                </a:ext>
              </a:extLst>
            </p:cNvPr>
            <p:cNvSpPr/>
            <p:nvPr/>
          </p:nvSpPr>
          <p:spPr>
            <a:xfrm>
              <a:off x="9410220" y="1605679"/>
              <a:ext cx="7986041" cy="882878"/>
            </a:xfrm>
            <a:prstGeom prst="round2SameRect">
              <a:avLst>
                <a:gd name="adj1" fmla="val 12810"/>
                <a:gd name="adj2" fmla="val 0"/>
              </a:avLst>
            </a:prstGeom>
            <a:solidFill>
              <a:schemeClr val="accent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3600" dirty="0">
                  <a:solidFill>
                    <a:schemeClr val="bg1"/>
                  </a:solidFill>
                  <a:latin typeface="+mj-ea"/>
                  <a:ea typeface="+mj-ea"/>
                </a:rPr>
                <a:t>生成</a:t>
              </a:r>
              <a:r>
                <a:rPr lang="en-US" altLang="ja-JP" sz="3600" dirty="0">
                  <a:solidFill>
                    <a:schemeClr val="bg1"/>
                  </a:solidFill>
                  <a:latin typeface="+mj-ea"/>
                  <a:ea typeface="+mj-ea"/>
                </a:rPr>
                <a:t>AI</a:t>
              </a:r>
              <a:r>
                <a:rPr lang="ja-JP" altLang="en-US" sz="3600" dirty="0">
                  <a:solidFill>
                    <a:schemeClr val="bg1"/>
                  </a:solidFill>
                  <a:latin typeface="+mj-ea"/>
                  <a:ea typeface="+mj-ea"/>
                </a:rPr>
                <a:t>をどのように使うか？</a:t>
              </a:r>
              <a:endParaRPr kumimoji="1" lang="ja-JP" altLang="en-US" sz="3200" dirty="0">
                <a:solidFill>
                  <a:schemeClr val="bg1"/>
                </a:solidFill>
                <a:latin typeface="+mj-ea"/>
                <a:ea typeface="+mj-ea"/>
              </a:endParaRPr>
            </a:p>
          </p:txBody>
        </p:sp>
        <p:sp>
          <p:nvSpPr>
            <p:cNvPr id="17" name="テキスト ボックス 16">
              <a:extLst>
                <a:ext uri="{FF2B5EF4-FFF2-40B4-BE49-F238E27FC236}">
                  <a16:creationId xmlns:a16="http://schemas.microsoft.com/office/drawing/2014/main" id="{342FD942-CE76-00D5-EDD1-8BCE5D85405E}"/>
                </a:ext>
              </a:extLst>
            </p:cNvPr>
            <p:cNvSpPr txBox="1"/>
            <p:nvPr/>
          </p:nvSpPr>
          <p:spPr>
            <a:xfrm>
              <a:off x="10052163" y="2814691"/>
              <a:ext cx="6702156" cy="556178"/>
            </a:xfrm>
            <a:prstGeom prst="rect">
              <a:avLst/>
            </a:prstGeom>
            <a:noFill/>
          </p:spPr>
          <p:txBody>
            <a:bodyPr wrap="none" lIns="0" tIns="0" rIns="0" bIns="0" rtlCol="0" anchor="t">
              <a:spAutoFit/>
            </a:bodyPr>
            <a:lstStyle/>
            <a:p>
              <a:pPr algn="ctr">
                <a:lnSpc>
                  <a:spcPct val="120000"/>
                </a:lnSpc>
                <a:spcAft>
                  <a:spcPts val="1500"/>
                </a:spcAft>
              </a:pPr>
              <a:r>
                <a:rPr lang="ja-JP" altLang="en-US" sz="3200" spc="50" dirty="0">
                  <a:latin typeface="+mj-ea"/>
                  <a:ea typeface="+mj-ea"/>
                </a:rPr>
                <a:t>生成</a:t>
              </a:r>
              <a:r>
                <a:rPr lang="en-US" altLang="ja-JP" sz="3200" spc="50" dirty="0">
                  <a:latin typeface="+mj-ea"/>
                  <a:ea typeface="+mj-ea"/>
                </a:rPr>
                <a:t>AI</a:t>
              </a:r>
              <a:r>
                <a:rPr lang="ja-JP" altLang="en-US" sz="3200" spc="50" dirty="0">
                  <a:latin typeface="+mj-ea"/>
                  <a:ea typeface="+mj-ea"/>
                </a:rPr>
                <a:t>への指示入力には工夫が必要</a:t>
              </a:r>
            </a:p>
          </p:txBody>
        </p:sp>
        <p:sp>
          <p:nvSpPr>
            <p:cNvPr id="57" name="四角形: 角を丸くする 56">
              <a:extLst>
                <a:ext uri="{FF2B5EF4-FFF2-40B4-BE49-F238E27FC236}">
                  <a16:creationId xmlns:a16="http://schemas.microsoft.com/office/drawing/2014/main" id="{040DC72E-B069-226B-4BE2-0118D987CBF5}"/>
                </a:ext>
              </a:extLst>
            </p:cNvPr>
            <p:cNvSpPr/>
            <p:nvPr/>
          </p:nvSpPr>
          <p:spPr>
            <a:xfrm>
              <a:off x="9847926" y="3725576"/>
              <a:ext cx="7074982" cy="5256379"/>
            </a:xfrm>
            <a:prstGeom prst="roundRect">
              <a:avLst>
                <a:gd name="adj" fmla="val 1812"/>
              </a:avLst>
            </a:prstGeom>
            <a:solidFill>
              <a:schemeClr val="bg2"/>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grpSp>
          <p:nvGrpSpPr>
            <p:cNvPr id="61" name="グループ化 60">
              <a:extLst>
                <a:ext uri="{FF2B5EF4-FFF2-40B4-BE49-F238E27FC236}">
                  <a16:creationId xmlns:a16="http://schemas.microsoft.com/office/drawing/2014/main" id="{13E40D57-5AB1-BA56-9717-E5A43C87D99F}"/>
                </a:ext>
              </a:extLst>
            </p:cNvPr>
            <p:cNvGrpSpPr/>
            <p:nvPr/>
          </p:nvGrpSpPr>
          <p:grpSpPr>
            <a:xfrm>
              <a:off x="10315161" y="4024880"/>
              <a:ext cx="4998013" cy="1003736"/>
              <a:chOff x="10220410" y="3942657"/>
              <a:chExt cx="4998013" cy="1003736"/>
            </a:xfrm>
          </p:grpSpPr>
          <p:sp>
            <p:nvSpPr>
              <p:cNvPr id="32" name="テキスト ボックス 31">
                <a:extLst>
                  <a:ext uri="{FF2B5EF4-FFF2-40B4-BE49-F238E27FC236}">
                    <a16:creationId xmlns:a16="http://schemas.microsoft.com/office/drawing/2014/main" id="{47F153A2-5905-103D-DE22-2C9C99F76434}"/>
                  </a:ext>
                </a:extLst>
              </p:cNvPr>
              <p:cNvSpPr txBox="1"/>
              <p:nvPr/>
            </p:nvSpPr>
            <p:spPr>
              <a:xfrm>
                <a:off x="11871353" y="3942657"/>
                <a:ext cx="3347070" cy="1003736"/>
              </a:xfrm>
              <a:prstGeom prst="rect">
                <a:avLst/>
              </a:prstGeom>
              <a:noFill/>
            </p:spPr>
            <p:txBody>
              <a:bodyPr wrap="none" lIns="0" tIns="0" rIns="0" bIns="0" rtlCol="0" anchor="ctr">
                <a:spAutoFit/>
              </a:bodyPr>
              <a:lstStyle/>
              <a:p>
                <a:pPr>
                  <a:lnSpc>
                    <a:spcPct val="120000"/>
                  </a:lnSpc>
                  <a:spcAft>
                    <a:spcPts val="1600"/>
                  </a:spcAft>
                  <a:buClr>
                    <a:schemeClr val="accent1"/>
                  </a:buClr>
                </a:pPr>
                <a:r>
                  <a:rPr kumimoji="1" lang="ja-JP" altLang="en-US" sz="2800" spc="100" dirty="0">
                    <a:latin typeface="+mj-ea"/>
                    <a:ea typeface="+mj-ea"/>
                  </a:rPr>
                  <a:t>目的・詳細な設定・</a:t>
                </a:r>
                <a:br>
                  <a:rPr kumimoji="1" lang="en-US" altLang="ja-JP" sz="2800" spc="100" dirty="0">
                    <a:latin typeface="+mj-ea"/>
                    <a:ea typeface="+mj-ea"/>
                  </a:rPr>
                </a:br>
                <a:r>
                  <a:rPr kumimoji="1" lang="ja-JP" altLang="en-US" sz="2800" spc="100" dirty="0">
                    <a:latin typeface="+mj-ea"/>
                    <a:ea typeface="+mj-ea"/>
                  </a:rPr>
                  <a:t>検討の材料を書く</a:t>
                </a:r>
              </a:p>
            </p:txBody>
          </p:sp>
          <p:sp>
            <p:nvSpPr>
              <p:cNvPr id="47" name="四角形: 角を丸くする 46">
                <a:extLst>
                  <a:ext uri="{FF2B5EF4-FFF2-40B4-BE49-F238E27FC236}">
                    <a16:creationId xmlns:a16="http://schemas.microsoft.com/office/drawing/2014/main" id="{1D6523A1-F1A0-3A93-4EED-097AB437DEFD}"/>
                  </a:ext>
                </a:extLst>
              </p:cNvPr>
              <p:cNvSpPr/>
              <p:nvPr/>
            </p:nvSpPr>
            <p:spPr>
              <a:xfrm>
                <a:off x="10220410" y="4172782"/>
                <a:ext cx="1393252" cy="527189"/>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kumimoji="1" lang="ja-JP" altLang="en-US" sz="2200" spc="100" dirty="0">
                    <a:solidFill>
                      <a:schemeClr val="bg1"/>
                    </a:solidFill>
                    <a:latin typeface="+mj-ea"/>
                    <a:ea typeface="+mj-ea"/>
                  </a:rPr>
                  <a:t>工夫１</a:t>
                </a:r>
              </a:p>
            </p:txBody>
          </p:sp>
        </p:grpSp>
        <p:grpSp>
          <p:nvGrpSpPr>
            <p:cNvPr id="60" name="グループ化 59">
              <a:extLst>
                <a:ext uri="{FF2B5EF4-FFF2-40B4-BE49-F238E27FC236}">
                  <a16:creationId xmlns:a16="http://schemas.microsoft.com/office/drawing/2014/main" id="{7BD1227D-3C94-66B7-FE51-1264BCE1215A}"/>
                </a:ext>
              </a:extLst>
            </p:cNvPr>
            <p:cNvGrpSpPr/>
            <p:nvPr/>
          </p:nvGrpSpPr>
          <p:grpSpPr>
            <a:xfrm>
              <a:off x="10315161" y="5695770"/>
              <a:ext cx="5741806" cy="527189"/>
              <a:chOff x="10220410" y="5516537"/>
              <a:chExt cx="5741806" cy="527189"/>
            </a:xfrm>
          </p:grpSpPr>
          <p:sp>
            <p:nvSpPr>
              <p:cNvPr id="34" name="テキスト ボックス 33">
                <a:extLst>
                  <a:ext uri="{FF2B5EF4-FFF2-40B4-BE49-F238E27FC236}">
                    <a16:creationId xmlns:a16="http://schemas.microsoft.com/office/drawing/2014/main" id="{6F39E1BF-7E4E-D03F-7DF2-71AB1A0D412A}"/>
                  </a:ext>
                </a:extLst>
              </p:cNvPr>
              <p:cNvSpPr txBox="1"/>
              <p:nvPr/>
            </p:nvSpPr>
            <p:spPr>
              <a:xfrm>
                <a:off x="11871353" y="5564689"/>
                <a:ext cx="4090863" cy="430887"/>
              </a:xfrm>
              <a:prstGeom prst="rect">
                <a:avLst/>
              </a:prstGeom>
              <a:noFill/>
            </p:spPr>
            <p:txBody>
              <a:bodyPr wrap="none" lIns="0" tIns="0" rIns="0" bIns="0" rtlCol="0" anchor="ctr">
                <a:spAutoFit/>
              </a:bodyPr>
              <a:lstStyle/>
              <a:p>
                <a:pPr>
                  <a:spcAft>
                    <a:spcPts val="1600"/>
                  </a:spcAft>
                  <a:buClr>
                    <a:schemeClr val="accent1"/>
                  </a:buClr>
                </a:pPr>
                <a:r>
                  <a:rPr kumimoji="1" lang="ja-JP" altLang="en-US" sz="2800" spc="100" dirty="0">
                    <a:latin typeface="+mj-ea"/>
                    <a:ea typeface="+mj-ea"/>
                  </a:rPr>
                  <a:t>欲しい回答の例を与える</a:t>
                </a:r>
              </a:p>
            </p:txBody>
          </p:sp>
          <p:sp>
            <p:nvSpPr>
              <p:cNvPr id="48" name="四角形: 角を丸くする 47">
                <a:extLst>
                  <a:ext uri="{FF2B5EF4-FFF2-40B4-BE49-F238E27FC236}">
                    <a16:creationId xmlns:a16="http://schemas.microsoft.com/office/drawing/2014/main" id="{ACD3D980-ECE7-3CE4-6F20-E6C624AAE15F}"/>
                  </a:ext>
                </a:extLst>
              </p:cNvPr>
              <p:cNvSpPr/>
              <p:nvPr/>
            </p:nvSpPr>
            <p:spPr>
              <a:xfrm>
                <a:off x="10220410" y="5516537"/>
                <a:ext cx="1393252" cy="527189"/>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kumimoji="1" lang="ja-JP" altLang="en-US" sz="2200" spc="100" dirty="0">
                    <a:solidFill>
                      <a:schemeClr val="bg1"/>
                    </a:solidFill>
                    <a:latin typeface="+mj-ea"/>
                    <a:ea typeface="+mj-ea"/>
                  </a:rPr>
                  <a:t>工夫２</a:t>
                </a:r>
              </a:p>
            </p:txBody>
          </p:sp>
        </p:grpSp>
        <p:grpSp>
          <p:nvGrpSpPr>
            <p:cNvPr id="59" name="グループ化 58">
              <a:extLst>
                <a:ext uri="{FF2B5EF4-FFF2-40B4-BE49-F238E27FC236}">
                  <a16:creationId xmlns:a16="http://schemas.microsoft.com/office/drawing/2014/main" id="{40A985A8-9485-4BE8-79CD-CE487408E3D6}"/>
                </a:ext>
              </a:extLst>
            </p:cNvPr>
            <p:cNvGrpSpPr/>
            <p:nvPr/>
          </p:nvGrpSpPr>
          <p:grpSpPr>
            <a:xfrm>
              <a:off x="10315161" y="6890113"/>
              <a:ext cx="5950197" cy="527189"/>
              <a:chOff x="10220410" y="6856958"/>
              <a:chExt cx="5950197" cy="527189"/>
            </a:xfrm>
          </p:grpSpPr>
          <p:sp>
            <p:nvSpPr>
              <p:cNvPr id="36" name="テキスト ボックス 35">
                <a:extLst>
                  <a:ext uri="{FF2B5EF4-FFF2-40B4-BE49-F238E27FC236}">
                    <a16:creationId xmlns:a16="http://schemas.microsoft.com/office/drawing/2014/main" id="{2FC5BD11-C6AE-1C58-09A1-3E5E1B4FB301}"/>
                  </a:ext>
                </a:extLst>
              </p:cNvPr>
              <p:cNvSpPr txBox="1"/>
              <p:nvPr/>
            </p:nvSpPr>
            <p:spPr>
              <a:xfrm>
                <a:off x="11871353" y="6905110"/>
                <a:ext cx="4299254" cy="430887"/>
              </a:xfrm>
              <a:prstGeom prst="rect">
                <a:avLst/>
              </a:prstGeom>
              <a:noFill/>
            </p:spPr>
            <p:txBody>
              <a:bodyPr wrap="none" lIns="0" tIns="0" rIns="0" bIns="0" rtlCol="0" anchor="ctr">
                <a:spAutoFit/>
              </a:bodyPr>
              <a:lstStyle/>
              <a:p>
                <a:pPr>
                  <a:spcAft>
                    <a:spcPts val="1600"/>
                  </a:spcAft>
                  <a:buClr>
                    <a:schemeClr val="accent1"/>
                  </a:buClr>
                </a:pPr>
                <a:r>
                  <a:rPr kumimoji="1" lang="ja-JP" altLang="en-US" sz="2800" spc="100" dirty="0">
                    <a:latin typeface="+mj-ea"/>
                    <a:ea typeface="+mj-ea"/>
                  </a:rPr>
                  <a:t>書式</a:t>
                </a:r>
                <a:r>
                  <a:rPr kumimoji="1" lang="en-US" altLang="ja-JP" sz="2800" spc="100" dirty="0">
                    <a:latin typeface="+mj-ea"/>
                    <a:ea typeface="+mj-ea"/>
                  </a:rPr>
                  <a:t>/</a:t>
                </a:r>
                <a:r>
                  <a:rPr kumimoji="1" lang="ja-JP" altLang="en-US" sz="2800" spc="100" dirty="0">
                    <a:latin typeface="+mj-ea"/>
                    <a:ea typeface="+mj-ea"/>
                  </a:rPr>
                  <a:t>回答方法を制限する</a:t>
                </a:r>
              </a:p>
            </p:txBody>
          </p:sp>
          <p:sp>
            <p:nvSpPr>
              <p:cNvPr id="49" name="四角形: 角を丸くする 48">
                <a:extLst>
                  <a:ext uri="{FF2B5EF4-FFF2-40B4-BE49-F238E27FC236}">
                    <a16:creationId xmlns:a16="http://schemas.microsoft.com/office/drawing/2014/main" id="{483D1353-27B4-3275-9B32-5021CB1D45A5}"/>
                  </a:ext>
                </a:extLst>
              </p:cNvPr>
              <p:cNvSpPr/>
              <p:nvPr/>
            </p:nvSpPr>
            <p:spPr>
              <a:xfrm>
                <a:off x="10220410" y="6856958"/>
                <a:ext cx="1393252" cy="527189"/>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kumimoji="1" lang="ja-JP" altLang="en-US" sz="2200" spc="100" dirty="0">
                    <a:solidFill>
                      <a:schemeClr val="bg1"/>
                    </a:solidFill>
                    <a:latin typeface="+mj-ea"/>
                    <a:ea typeface="+mj-ea"/>
                  </a:rPr>
                  <a:t>工夫３</a:t>
                </a:r>
              </a:p>
            </p:txBody>
          </p:sp>
        </p:grpSp>
        <p:grpSp>
          <p:nvGrpSpPr>
            <p:cNvPr id="67" name="グループ化 66">
              <a:extLst>
                <a:ext uri="{FF2B5EF4-FFF2-40B4-BE49-F238E27FC236}">
                  <a16:creationId xmlns:a16="http://schemas.microsoft.com/office/drawing/2014/main" id="{2A292801-3927-A572-84A5-66FC0C00FF04}"/>
                </a:ext>
              </a:extLst>
            </p:cNvPr>
            <p:cNvGrpSpPr/>
            <p:nvPr/>
          </p:nvGrpSpPr>
          <p:grpSpPr>
            <a:xfrm>
              <a:off x="10315161" y="8084454"/>
              <a:ext cx="6113703" cy="527189"/>
              <a:chOff x="10315161" y="8084454"/>
              <a:chExt cx="6113703" cy="527189"/>
            </a:xfrm>
          </p:grpSpPr>
          <p:sp>
            <p:nvSpPr>
              <p:cNvPr id="38" name="テキスト ボックス 37">
                <a:extLst>
                  <a:ext uri="{FF2B5EF4-FFF2-40B4-BE49-F238E27FC236}">
                    <a16:creationId xmlns:a16="http://schemas.microsoft.com/office/drawing/2014/main" id="{5B1E4B8E-824C-80F5-8841-8AB6FA4C5E6D}"/>
                  </a:ext>
                </a:extLst>
              </p:cNvPr>
              <p:cNvSpPr txBox="1"/>
              <p:nvPr/>
            </p:nvSpPr>
            <p:spPr>
              <a:xfrm>
                <a:off x="11966104" y="8132606"/>
                <a:ext cx="4462760" cy="430887"/>
              </a:xfrm>
              <a:prstGeom prst="rect">
                <a:avLst/>
              </a:prstGeom>
              <a:noFill/>
            </p:spPr>
            <p:txBody>
              <a:bodyPr wrap="none" lIns="0" tIns="0" rIns="0" bIns="0" rtlCol="0" anchor="ctr">
                <a:spAutoFit/>
              </a:bodyPr>
              <a:lstStyle/>
              <a:p>
                <a:pPr>
                  <a:spcAft>
                    <a:spcPts val="1600"/>
                  </a:spcAft>
                  <a:buClr>
                    <a:schemeClr val="accent1"/>
                  </a:buClr>
                </a:pPr>
                <a:r>
                  <a:rPr kumimoji="1" lang="ja-JP" altLang="en-US" sz="2800" spc="100" dirty="0">
                    <a:latin typeface="+mj-ea"/>
                    <a:ea typeface="+mj-ea"/>
                  </a:rPr>
                  <a:t>文章のテイストを指定する</a:t>
                </a:r>
              </a:p>
            </p:txBody>
          </p:sp>
          <p:sp>
            <p:nvSpPr>
              <p:cNvPr id="50" name="四角形: 角を丸くする 49">
                <a:extLst>
                  <a:ext uri="{FF2B5EF4-FFF2-40B4-BE49-F238E27FC236}">
                    <a16:creationId xmlns:a16="http://schemas.microsoft.com/office/drawing/2014/main" id="{14E75C25-1B73-A06F-9F2E-DA4FE1CB6AD5}"/>
                  </a:ext>
                </a:extLst>
              </p:cNvPr>
              <p:cNvSpPr/>
              <p:nvPr/>
            </p:nvSpPr>
            <p:spPr>
              <a:xfrm>
                <a:off x="10315161" y="8084454"/>
                <a:ext cx="1393252" cy="527189"/>
              </a:xfrm>
              <a:prstGeom prst="roundRect">
                <a:avLst>
                  <a:gd name="adj" fmla="val 50000"/>
                </a:avLst>
              </a:prstGeom>
              <a:solidFill>
                <a:schemeClr val="tx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r"/>
                <a:r>
                  <a:rPr kumimoji="1" lang="ja-JP" altLang="en-US" sz="2200" spc="100" dirty="0">
                    <a:solidFill>
                      <a:schemeClr val="bg1"/>
                    </a:solidFill>
                    <a:latin typeface="+mj-ea"/>
                    <a:ea typeface="+mj-ea"/>
                  </a:rPr>
                  <a:t>工夫４</a:t>
                </a:r>
              </a:p>
            </p:txBody>
          </p:sp>
        </p:grpSp>
        <p:cxnSp>
          <p:nvCxnSpPr>
            <p:cNvPr id="64" name="直線コネクタ 63">
              <a:extLst>
                <a:ext uri="{FF2B5EF4-FFF2-40B4-BE49-F238E27FC236}">
                  <a16:creationId xmlns:a16="http://schemas.microsoft.com/office/drawing/2014/main" id="{FDADE6D4-C94D-291F-A693-42303D065B87}"/>
                </a:ext>
              </a:extLst>
            </p:cNvPr>
            <p:cNvCxnSpPr>
              <a:cxnSpLocks/>
            </p:cNvCxnSpPr>
            <p:nvPr/>
          </p:nvCxnSpPr>
          <p:spPr>
            <a:xfrm>
              <a:off x="10090689" y="7750879"/>
              <a:ext cx="6589457" cy="0"/>
            </a:xfrm>
            <a:prstGeom prst="line">
              <a:avLst/>
            </a:prstGeom>
            <a:ln w="38100"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5" name="直線コネクタ 64">
              <a:extLst>
                <a:ext uri="{FF2B5EF4-FFF2-40B4-BE49-F238E27FC236}">
                  <a16:creationId xmlns:a16="http://schemas.microsoft.com/office/drawing/2014/main" id="{1A934E00-AEB2-C865-703F-334D7CC53EA2}"/>
                </a:ext>
              </a:extLst>
            </p:cNvPr>
            <p:cNvCxnSpPr>
              <a:cxnSpLocks/>
            </p:cNvCxnSpPr>
            <p:nvPr/>
          </p:nvCxnSpPr>
          <p:spPr>
            <a:xfrm>
              <a:off x="10090689" y="6556536"/>
              <a:ext cx="6589457" cy="0"/>
            </a:xfrm>
            <a:prstGeom prst="line">
              <a:avLst/>
            </a:prstGeom>
            <a:ln w="38100"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cxnSp>
          <p:nvCxnSpPr>
            <p:cNvPr id="66" name="直線コネクタ 65">
              <a:extLst>
                <a:ext uri="{FF2B5EF4-FFF2-40B4-BE49-F238E27FC236}">
                  <a16:creationId xmlns:a16="http://schemas.microsoft.com/office/drawing/2014/main" id="{3F2F074C-C302-980F-8CD8-DFDEE6DE4AC6}"/>
                </a:ext>
              </a:extLst>
            </p:cNvPr>
            <p:cNvCxnSpPr>
              <a:cxnSpLocks/>
            </p:cNvCxnSpPr>
            <p:nvPr/>
          </p:nvCxnSpPr>
          <p:spPr>
            <a:xfrm>
              <a:off x="10090689" y="5362193"/>
              <a:ext cx="6589457" cy="0"/>
            </a:xfrm>
            <a:prstGeom prst="line">
              <a:avLst/>
            </a:prstGeom>
            <a:ln w="38100" cap="rnd">
              <a:solidFill>
                <a:schemeClr val="bg2">
                  <a:lumMod val="90000"/>
                </a:schemeClr>
              </a:solidFill>
              <a:prstDash val="sysDash"/>
            </a:ln>
          </p:spPr>
          <p:style>
            <a:lnRef idx="1">
              <a:schemeClr val="accent1"/>
            </a:lnRef>
            <a:fillRef idx="0">
              <a:schemeClr val="accent1"/>
            </a:fillRef>
            <a:effectRef idx="0">
              <a:schemeClr val="accent1"/>
            </a:effectRef>
            <a:fontRef idx="minor">
              <a:schemeClr val="tx1"/>
            </a:fontRef>
          </p:style>
        </p:cxnSp>
      </p:grpSp>
      <p:sp>
        <p:nvSpPr>
          <p:cNvPr id="3" name="スライド番号プレースホルダー 2">
            <a:extLst>
              <a:ext uri="{FF2B5EF4-FFF2-40B4-BE49-F238E27FC236}">
                <a16:creationId xmlns:a16="http://schemas.microsoft.com/office/drawing/2014/main" id="{425E7AB0-6B2D-8264-536C-4E1FAA1C238D}"/>
              </a:ext>
            </a:extLst>
          </p:cNvPr>
          <p:cNvSpPr>
            <a:spLocks noGrp="1"/>
          </p:cNvSpPr>
          <p:nvPr>
            <p:ph type="sldNum" sz="quarter" idx="11"/>
          </p:nvPr>
        </p:nvSpPr>
        <p:spPr>
          <a:xfrm>
            <a:off x="17695001" y="9786651"/>
            <a:ext cx="327013" cy="307777"/>
          </a:xfrm>
        </p:spPr>
        <p:txBody>
          <a:bodyPr/>
          <a:lstStyle/>
          <a:p>
            <a:r>
              <a:rPr lang="en-US" altLang="ja-JP"/>
              <a:t>72</a:t>
            </a:r>
            <a:endParaRPr lang="ja-JP" altLang="en-US" dirty="0"/>
          </a:p>
        </p:txBody>
      </p:sp>
      <p:grpSp>
        <p:nvGrpSpPr>
          <p:cNvPr id="52" name="グループ化 51">
            <a:extLst>
              <a:ext uri="{FF2B5EF4-FFF2-40B4-BE49-F238E27FC236}">
                <a16:creationId xmlns:a16="http://schemas.microsoft.com/office/drawing/2014/main" id="{2916DB4B-5A62-3EA0-8E2B-F8F5AC822C49}"/>
              </a:ext>
            </a:extLst>
          </p:cNvPr>
          <p:cNvGrpSpPr/>
          <p:nvPr/>
        </p:nvGrpSpPr>
        <p:grpSpPr>
          <a:xfrm>
            <a:off x="891740" y="1605679"/>
            <a:ext cx="7986041" cy="7832611"/>
            <a:chOff x="891740" y="1605679"/>
            <a:chExt cx="7986041" cy="7832611"/>
          </a:xfrm>
        </p:grpSpPr>
        <p:sp>
          <p:nvSpPr>
            <p:cNvPr id="10" name="四角形: 角を丸くする 9">
              <a:extLst>
                <a:ext uri="{FF2B5EF4-FFF2-40B4-BE49-F238E27FC236}">
                  <a16:creationId xmlns:a16="http://schemas.microsoft.com/office/drawing/2014/main" id="{6730AF10-F858-26FD-02A6-8C18FE48ED37}"/>
                </a:ext>
              </a:extLst>
            </p:cNvPr>
            <p:cNvSpPr/>
            <p:nvPr/>
          </p:nvSpPr>
          <p:spPr>
            <a:xfrm>
              <a:off x="891740" y="1605679"/>
              <a:ext cx="7986041" cy="7832611"/>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11" name="四角形: 上の 2 つの角を丸める 10">
              <a:extLst>
                <a:ext uri="{FF2B5EF4-FFF2-40B4-BE49-F238E27FC236}">
                  <a16:creationId xmlns:a16="http://schemas.microsoft.com/office/drawing/2014/main" id="{B2128AD7-60EC-9461-D0EB-3572DF3FB203}"/>
                </a:ext>
              </a:extLst>
            </p:cNvPr>
            <p:cNvSpPr/>
            <p:nvPr/>
          </p:nvSpPr>
          <p:spPr>
            <a:xfrm>
              <a:off x="891740" y="1605679"/>
              <a:ext cx="7986041" cy="882878"/>
            </a:xfrm>
            <a:prstGeom prst="round2SameRect">
              <a:avLst>
                <a:gd name="adj1" fmla="val 12810"/>
                <a:gd name="adj2" fmla="val 0"/>
              </a:avLst>
            </a:prstGeom>
            <a:solidFill>
              <a:schemeClr val="accent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lang="ja-JP" altLang="en-US" sz="3600" dirty="0">
                  <a:solidFill>
                    <a:schemeClr val="bg1"/>
                  </a:solidFill>
                  <a:latin typeface="+mj-ea"/>
                  <a:ea typeface="+mj-ea"/>
                </a:rPr>
                <a:t>生成</a:t>
              </a:r>
              <a:r>
                <a:rPr lang="en-US" altLang="ja-JP" sz="3600" dirty="0">
                  <a:solidFill>
                    <a:schemeClr val="bg1"/>
                  </a:solidFill>
                  <a:latin typeface="+mj-ea"/>
                  <a:ea typeface="+mj-ea"/>
                </a:rPr>
                <a:t>AI</a:t>
              </a:r>
              <a:r>
                <a:rPr lang="ja-JP" altLang="en-US" sz="3600" dirty="0">
                  <a:solidFill>
                    <a:schemeClr val="bg1"/>
                  </a:solidFill>
                  <a:latin typeface="+mj-ea"/>
                  <a:ea typeface="+mj-ea"/>
                </a:rPr>
                <a:t>とは何か？</a:t>
              </a:r>
              <a:endParaRPr kumimoji="1" lang="ja-JP" altLang="en-US" sz="3200" dirty="0">
                <a:solidFill>
                  <a:schemeClr val="bg1"/>
                </a:solidFill>
                <a:latin typeface="+mj-ea"/>
                <a:ea typeface="+mj-ea"/>
              </a:endParaRPr>
            </a:p>
          </p:txBody>
        </p:sp>
        <p:sp>
          <p:nvSpPr>
            <p:cNvPr id="16" name="テキスト ボックス 15">
              <a:extLst>
                <a:ext uri="{FF2B5EF4-FFF2-40B4-BE49-F238E27FC236}">
                  <a16:creationId xmlns:a16="http://schemas.microsoft.com/office/drawing/2014/main" id="{EF4E6B3F-5365-F574-1624-25E6921DBD9C}"/>
                </a:ext>
              </a:extLst>
            </p:cNvPr>
            <p:cNvSpPr txBox="1"/>
            <p:nvPr/>
          </p:nvSpPr>
          <p:spPr>
            <a:xfrm>
              <a:off x="1342123" y="2814691"/>
              <a:ext cx="7085274" cy="556178"/>
            </a:xfrm>
            <a:prstGeom prst="rect">
              <a:avLst/>
            </a:prstGeom>
            <a:noFill/>
          </p:spPr>
          <p:txBody>
            <a:bodyPr wrap="none" lIns="0" tIns="0" rIns="0" bIns="0" rtlCol="0" anchor="t">
              <a:spAutoFit/>
            </a:bodyPr>
            <a:lstStyle/>
            <a:p>
              <a:pPr algn="ctr">
                <a:lnSpc>
                  <a:spcPct val="120000"/>
                </a:lnSpc>
                <a:spcAft>
                  <a:spcPts val="1500"/>
                </a:spcAft>
              </a:pPr>
              <a:r>
                <a:rPr lang="ja-JP" altLang="en-US" sz="3200" spc="50" dirty="0">
                  <a:latin typeface="+mj-ea"/>
                  <a:ea typeface="+mj-ea"/>
                </a:rPr>
                <a:t>文章・画像・音声など幅広く作成可能</a:t>
              </a:r>
            </a:p>
          </p:txBody>
        </p:sp>
        <p:grpSp>
          <p:nvGrpSpPr>
            <p:cNvPr id="46" name="グループ化 45">
              <a:extLst>
                <a:ext uri="{FF2B5EF4-FFF2-40B4-BE49-F238E27FC236}">
                  <a16:creationId xmlns:a16="http://schemas.microsoft.com/office/drawing/2014/main" id="{4B84BA0C-2C58-EF99-AC26-0A407B022D86}"/>
                </a:ext>
              </a:extLst>
            </p:cNvPr>
            <p:cNvGrpSpPr/>
            <p:nvPr/>
          </p:nvGrpSpPr>
          <p:grpSpPr>
            <a:xfrm>
              <a:off x="1934714" y="3680816"/>
              <a:ext cx="2613712" cy="2596671"/>
              <a:chOff x="1934714" y="3680816"/>
              <a:chExt cx="2613712" cy="2596671"/>
            </a:xfrm>
          </p:grpSpPr>
          <p:grpSp>
            <p:nvGrpSpPr>
              <p:cNvPr id="18" name="グループ化 17">
                <a:extLst>
                  <a:ext uri="{FF2B5EF4-FFF2-40B4-BE49-F238E27FC236}">
                    <a16:creationId xmlns:a16="http://schemas.microsoft.com/office/drawing/2014/main" id="{AF71C7D2-23A6-8A0A-C44F-14577F151F59}"/>
                  </a:ext>
                </a:extLst>
              </p:cNvPr>
              <p:cNvGrpSpPr/>
              <p:nvPr/>
            </p:nvGrpSpPr>
            <p:grpSpPr>
              <a:xfrm>
                <a:off x="1934714" y="3680816"/>
                <a:ext cx="2613712" cy="2596671"/>
                <a:chOff x="5150335" y="2835583"/>
                <a:chExt cx="3457181" cy="3434640"/>
              </a:xfrm>
            </p:grpSpPr>
            <p:sp>
              <p:nvSpPr>
                <p:cNvPr id="21" name="楕円 20">
                  <a:extLst>
                    <a:ext uri="{FF2B5EF4-FFF2-40B4-BE49-F238E27FC236}">
                      <a16:creationId xmlns:a16="http://schemas.microsoft.com/office/drawing/2014/main" id="{55BB4E26-B925-57C4-465A-7005A654A8B2}"/>
                    </a:ext>
                  </a:extLst>
                </p:cNvPr>
                <p:cNvSpPr/>
                <p:nvPr/>
              </p:nvSpPr>
              <p:spPr>
                <a:xfrm>
                  <a:off x="5209312" y="2835583"/>
                  <a:ext cx="3339226" cy="3339226"/>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22" name="四角形: 角を丸くする 21">
                  <a:extLst>
                    <a:ext uri="{FF2B5EF4-FFF2-40B4-BE49-F238E27FC236}">
                      <a16:creationId xmlns:a16="http://schemas.microsoft.com/office/drawing/2014/main" id="{84DB7639-917A-59E9-559A-54CC08006608}"/>
                    </a:ext>
                  </a:extLst>
                </p:cNvPr>
                <p:cNvSpPr/>
                <p:nvPr/>
              </p:nvSpPr>
              <p:spPr>
                <a:xfrm>
                  <a:off x="5150335" y="5450370"/>
                  <a:ext cx="3457181" cy="819853"/>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テキスト生成</a:t>
                  </a:r>
                </a:p>
              </p:txBody>
            </p:sp>
          </p:grpSp>
          <p:pic>
            <p:nvPicPr>
              <p:cNvPr id="20" name="図 19">
                <a:extLst>
                  <a:ext uri="{FF2B5EF4-FFF2-40B4-BE49-F238E27FC236}">
                    <a16:creationId xmlns:a16="http://schemas.microsoft.com/office/drawing/2014/main" id="{44174EA0-8063-91AD-BCEB-4DA1E38B67CE}"/>
                  </a:ext>
                </a:extLst>
              </p:cNvPr>
              <p:cNvPicPr>
                <a:picLocks noChangeAspect="1"/>
              </p:cNvPicPr>
              <p:nvPr/>
            </p:nvPicPr>
            <p:blipFill>
              <a:blip r:embed="rId3"/>
              <a:stretch>
                <a:fillRect/>
              </a:stretch>
            </p:blipFill>
            <p:spPr>
              <a:xfrm>
                <a:off x="2063305" y="4238003"/>
                <a:ext cx="2408129" cy="1127858"/>
              </a:xfrm>
              <a:prstGeom prst="rect">
                <a:avLst/>
              </a:prstGeom>
            </p:spPr>
          </p:pic>
        </p:grpSp>
        <p:grpSp>
          <p:nvGrpSpPr>
            <p:cNvPr id="51" name="グループ化 50">
              <a:extLst>
                <a:ext uri="{FF2B5EF4-FFF2-40B4-BE49-F238E27FC236}">
                  <a16:creationId xmlns:a16="http://schemas.microsoft.com/office/drawing/2014/main" id="{3DAF18E0-FE5E-F032-8F35-3FAF751282C2}"/>
                </a:ext>
              </a:extLst>
            </p:cNvPr>
            <p:cNvGrpSpPr/>
            <p:nvPr/>
          </p:nvGrpSpPr>
          <p:grpSpPr>
            <a:xfrm>
              <a:off x="4921446" y="3680816"/>
              <a:ext cx="2961238" cy="2596671"/>
              <a:chOff x="4921446" y="3680816"/>
              <a:chExt cx="2961238" cy="2596671"/>
            </a:xfrm>
          </p:grpSpPr>
          <p:grpSp>
            <p:nvGrpSpPr>
              <p:cNvPr id="25" name="グループ化 24">
                <a:extLst>
                  <a:ext uri="{FF2B5EF4-FFF2-40B4-BE49-F238E27FC236}">
                    <a16:creationId xmlns:a16="http://schemas.microsoft.com/office/drawing/2014/main" id="{F17529A6-BDD1-F19A-7FD7-793BFAC7ACDE}"/>
                  </a:ext>
                </a:extLst>
              </p:cNvPr>
              <p:cNvGrpSpPr/>
              <p:nvPr/>
            </p:nvGrpSpPr>
            <p:grpSpPr>
              <a:xfrm>
                <a:off x="4921446" y="3680816"/>
                <a:ext cx="2961238" cy="2596671"/>
                <a:chOff x="5181366" y="2835583"/>
                <a:chExt cx="3916856" cy="3434640"/>
              </a:xfrm>
            </p:grpSpPr>
            <p:sp>
              <p:nvSpPr>
                <p:cNvPr id="28" name="楕円 27">
                  <a:extLst>
                    <a:ext uri="{FF2B5EF4-FFF2-40B4-BE49-F238E27FC236}">
                      <a16:creationId xmlns:a16="http://schemas.microsoft.com/office/drawing/2014/main" id="{FAA62CA4-4E32-8117-EDFD-CBD45DC3C94C}"/>
                    </a:ext>
                  </a:extLst>
                </p:cNvPr>
                <p:cNvSpPr/>
                <p:nvPr/>
              </p:nvSpPr>
              <p:spPr>
                <a:xfrm>
                  <a:off x="5470181" y="2835583"/>
                  <a:ext cx="3339226" cy="3339226"/>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29" name="四角形: 角を丸くする 28">
                  <a:extLst>
                    <a:ext uri="{FF2B5EF4-FFF2-40B4-BE49-F238E27FC236}">
                      <a16:creationId xmlns:a16="http://schemas.microsoft.com/office/drawing/2014/main" id="{CD50AAD6-FFC1-6E98-A476-5446C787CB5D}"/>
                    </a:ext>
                  </a:extLst>
                </p:cNvPr>
                <p:cNvSpPr/>
                <p:nvPr/>
              </p:nvSpPr>
              <p:spPr>
                <a:xfrm>
                  <a:off x="5181366" y="5450370"/>
                  <a:ext cx="3916856" cy="819853"/>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画像・映像生成</a:t>
                  </a:r>
                </a:p>
              </p:txBody>
            </p:sp>
          </p:grpSp>
          <p:pic>
            <p:nvPicPr>
              <p:cNvPr id="24" name="図 23">
                <a:extLst>
                  <a:ext uri="{FF2B5EF4-FFF2-40B4-BE49-F238E27FC236}">
                    <a16:creationId xmlns:a16="http://schemas.microsoft.com/office/drawing/2014/main" id="{2D552D7C-A71E-21FF-9A1A-7E2DADC21654}"/>
                  </a:ext>
                </a:extLst>
              </p:cNvPr>
              <p:cNvPicPr>
                <a:picLocks noChangeAspect="1"/>
              </p:cNvPicPr>
              <p:nvPr/>
            </p:nvPicPr>
            <p:blipFill>
              <a:blip r:embed="rId4"/>
              <a:stretch>
                <a:fillRect/>
              </a:stretch>
            </p:blipFill>
            <p:spPr>
              <a:xfrm>
                <a:off x="5062873" y="4277453"/>
                <a:ext cx="2682472" cy="926672"/>
              </a:xfrm>
              <a:prstGeom prst="rect">
                <a:avLst/>
              </a:prstGeom>
            </p:spPr>
          </p:pic>
        </p:grpSp>
        <p:grpSp>
          <p:nvGrpSpPr>
            <p:cNvPr id="44" name="グループ化 43">
              <a:extLst>
                <a:ext uri="{FF2B5EF4-FFF2-40B4-BE49-F238E27FC236}">
                  <a16:creationId xmlns:a16="http://schemas.microsoft.com/office/drawing/2014/main" id="{91CEAF42-0CFF-7124-7454-DFADD487B287}"/>
                </a:ext>
              </a:extLst>
            </p:cNvPr>
            <p:cNvGrpSpPr/>
            <p:nvPr/>
          </p:nvGrpSpPr>
          <p:grpSpPr>
            <a:xfrm>
              <a:off x="1979301" y="6431577"/>
              <a:ext cx="2524535" cy="2596671"/>
              <a:chOff x="1979301" y="6431577"/>
              <a:chExt cx="2524535" cy="2596671"/>
            </a:xfrm>
          </p:grpSpPr>
          <p:grpSp>
            <p:nvGrpSpPr>
              <p:cNvPr id="6" name="グループ化 5">
                <a:extLst>
                  <a:ext uri="{FF2B5EF4-FFF2-40B4-BE49-F238E27FC236}">
                    <a16:creationId xmlns:a16="http://schemas.microsoft.com/office/drawing/2014/main" id="{C8AD6977-08FD-5E33-5019-8A1C130C1C2A}"/>
                  </a:ext>
                </a:extLst>
              </p:cNvPr>
              <p:cNvGrpSpPr/>
              <p:nvPr/>
            </p:nvGrpSpPr>
            <p:grpSpPr>
              <a:xfrm>
                <a:off x="1979301" y="6431577"/>
                <a:ext cx="2524535" cy="2596671"/>
                <a:chOff x="5264563" y="2611426"/>
                <a:chExt cx="3339226" cy="3434640"/>
              </a:xfrm>
            </p:grpSpPr>
            <p:sp>
              <p:nvSpPr>
                <p:cNvPr id="7" name="楕円 6">
                  <a:extLst>
                    <a:ext uri="{FF2B5EF4-FFF2-40B4-BE49-F238E27FC236}">
                      <a16:creationId xmlns:a16="http://schemas.microsoft.com/office/drawing/2014/main" id="{8D9E265B-0C34-ECE0-6D39-BBE803310BD1}"/>
                    </a:ext>
                  </a:extLst>
                </p:cNvPr>
                <p:cNvSpPr/>
                <p:nvPr/>
              </p:nvSpPr>
              <p:spPr>
                <a:xfrm>
                  <a:off x="5264563" y="2611426"/>
                  <a:ext cx="3339226" cy="3339226"/>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8" name="四角形: 角を丸くする 7">
                  <a:extLst>
                    <a:ext uri="{FF2B5EF4-FFF2-40B4-BE49-F238E27FC236}">
                      <a16:creationId xmlns:a16="http://schemas.microsoft.com/office/drawing/2014/main" id="{9D836DF9-F559-55CB-5369-7195246B1682}"/>
                    </a:ext>
                  </a:extLst>
                </p:cNvPr>
                <p:cNvSpPr/>
                <p:nvPr/>
              </p:nvSpPr>
              <p:spPr>
                <a:xfrm>
                  <a:off x="5667555" y="5226213"/>
                  <a:ext cx="2533244" cy="819853"/>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音声生成</a:t>
                  </a:r>
                </a:p>
              </p:txBody>
            </p:sp>
          </p:grpSp>
          <p:pic>
            <p:nvPicPr>
              <p:cNvPr id="27" name="図 26">
                <a:extLst>
                  <a:ext uri="{FF2B5EF4-FFF2-40B4-BE49-F238E27FC236}">
                    <a16:creationId xmlns:a16="http://schemas.microsoft.com/office/drawing/2014/main" id="{8079CB7F-DB09-989F-D8C0-9D77D3FAD765}"/>
                  </a:ext>
                </a:extLst>
              </p:cNvPr>
              <p:cNvPicPr>
                <a:picLocks noChangeAspect="1"/>
              </p:cNvPicPr>
              <p:nvPr/>
            </p:nvPicPr>
            <p:blipFill>
              <a:blip r:embed="rId5"/>
              <a:stretch>
                <a:fillRect/>
              </a:stretch>
            </p:blipFill>
            <p:spPr>
              <a:xfrm>
                <a:off x="2742038" y="6831790"/>
                <a:ext cx="1060796" cy="1353429"/>
              </a:xfrm>
              <a:prstGeom prst="rect">
                <a:avLst/>
              </a:prstGeom>
            </p:spPr>
          </p:pic>
        </p:grpSp>
        <p:grpSp>
          <p:nvGrpSpPr>
            <p:cNvPr id="45" name="グループ化 44">
              <a:extLst>
                <a:ext uri="{FF2B5EF4-FFF2-40B4-BE49-F238E27FC236}">
                  <a16:creationId xmlns:a16="http://schemas.microsoft.com/office/drawing/2014/main" id="{446676B3-F043-E683-8C0A-1CF73253322F}"/>
                </a:ext>
              </a:extLst>
            </p:cNvPr>
            <p:cNvGrpSpPr/>
            <p:nvPr/>
          </p:nvGrpSpPr>
          <p:grpSpPr>
            <a:xfrm>
              <a:off x="5139797" y="6515485"/>
              <a:ext cx="2524536" cy="2524535"/>
              <a:chOff x="5139797" y="6515485"/>
              <a:chExt cx="2524536" cy="2524535"/>
            </a:xfrm>
          </p:grpSpPr>
          <p:grpSp>
            <p:nvGrpSpPr>
              <p:cNvPr id="9" name="グループ化 8">
                <a:extLst>
                  <a:ext uri="{FF2B5EF4-FFF2-40B4-BE49-F238E27FC236}">
                    <a16:creationId xmlns:a16="http://schemas.microsoft.com/office/drawing/2014/main" id="{F951E3BF-83E9-724B-FE91-A21E949D795C}"/>
                  </a:ext>
                </a:extLst>
              </p:cNvPr>
              <p:cNvGrpSpPr/>
              <p:nvPr/>
            </p:nvGrpSpPr>
            <p:grpSpPr>
              <a:xfrm>
                <a:off x="5139797" y="6515485"/>
                <a:ext cx="2524536" cy="2524535"/>
                <a:chOff x="5525433" y="2722412"/>
                <a:chExt cx="3339227" cy="3339226"/>
              </a:xfrm>
            </p:grpSpPr>
            <p:sp>
              <p:nvSpPr>
                <p:cNvPr id="12" name="楕円 11">
                  <a:extLst>
                    <a:ext uri="{FF2B5EF4-FFF2-40B4-BE49-F238E27FC236}">
                      <a16:creationId xmlns:a16="http://schemas.microsoft.com/office/drawing/2014/main" id="{A271F03D-1096-A114-FF60-8F00A70185DC}"/>
                    </a:ext>
                  </a:extLst>
                </p:cNvPr>
                <p:cNvSpPr/>
                <p:nvPr/>
              </p:nvSpPr>
              <p:spPr>
                <a:xfrm>
                  <a:off x="5525433" y="2722412"/>
                  <a:ext cx="3339227" cy="3339226"/>
                </a:xfrm>
                <a:prstGeom prst="ellipse">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sz="2400"/>
                </a:p>
              </p:txBody>
            </p:sp>
            <p:sp>
              <p:nvSpPr>
                <p:cNvPr id="13" name="四角形: 角を丸くする 12">
                  <a:extLst>
                    <a:ext uri="{FF2B5EF4-FFF2-40B4-BE49-F238E27FC236}">
                      <a16:creationId xmlns:a16="http://schemas.microsoft.com/office/drawing/2014/main" id="{23EC946C-CA46-876F-9FCA-17CFC60AEDFA}"/>
                    </a:ext>
                  </a:extLst>
                </p:cNvPr>
                <p:cNvSpPr/>
                <p:nvPr/>
              </p:nvSpPr>
              <p:spPr>
                <a:xfrm>
                  <a:off x="6156121" y="5226213"/>
                  <a:ext cx="2077852" cy="819853"/>
                </a:xfrm>
                <a:prstGeom prst="roundRect">
                  <a:avLst>
                    <a:gd name="adj" fmla="val 50000"/>
                  </a:avLst>
                </a:prstGeom>
                <a:solidFill>
                  <a:schemeClr val="accent1"/>
                </a:solidFill>
                <a:ln w="38100">
                  <a:no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18000" rtlCol="0" anchor="ctr">
                  <a:spAutoFit/>
                </a:bodyPr>
                <a:lstStyle/>
                <a:p>
                  <a:pPr algn="ctr"/>
                  <a:r>
                    <a:rPr kumimoji="1" lang="ja-JP" altLang="en-US" sz="2800" spc="100" dirty="0">
                      <a:solidFill>
                        <a:schemeClr val="bg1"/>
                      </a:solidFill>
                      <a:latin typeface="+mj-ea"/>
                      <a:ea typeface="+mj-ea"/>
                    </a:rPr>
                    <a:t>その他</a:t>
                  </a:r>
                </a:p>
              </p:txBody>
            </p:sp>
          </p:grpSp>
          <p:sp>
            <p:nvSpPr>
              <p:cNvPr id="37" name="テキスト ボックス 36">
                <a:extLst>
                  <a:ext uri="{FF2B5EF4-FFF2-40B4-BE49-F238E27FC236}">
                    <a16:creationId xmlns:a16="http://schemas.microsoft.com/office/drawing/2014/main" id="{989C0829-41EB-61CD-3A8F-FC85F4A0DCF2}"/>
                  </a:ext>
                </a:extLst>
              </p:cNvPr>
              <p:cNvSpPr txBox="1"/>
              <p:nvPr/>
            </p:nvSpPr>
            <p:spPr>
              <a:xfrm>
                <a:off x="5662575" y="7936971"/>
                <a:ext cx="1478981" cy="327917"/>
              </a:xfrm>
              <a:prstGeom prst="rect">
                <a:avLst/>
              </a:prstGeom>
              <a:noFill/>
            </p:spPr>
            <p:txBody>
              <a:bodyPr wrap="none" lIns="0" tIns="0" rIns="0" bIns="0" rtlCol="0" anchor="b">
                <a:spAutoFit/>
              </a:bodyPr>
              <a:lstStyle/>
              <a:p>
                <a:pPr algn="ctr">
                  <a:lnSpc>
                    <a:spcPct val="120000"/>
                  </a:lnSpc>
                  <a:spcAft>
                    <a:spcPts val="1600"/>
                  </a:spcAft>
                  <a:buClr>
                    <a:schemeClr val="accent1"/>
                  </a:buClr>
                </a:pPr>
                <a:r>
                  <a:rPr kumimoji="1" lang="en-US" altLang="ja-JP" sz="2000" spc="100" dirty="0">
                    <a:latin typeface="+mj-ea"/>
                    <a:ea typeface="+mj-ea"/>
                  </a:rPr>
                  <a:t>3D</a:t>
                </a:r>
                <a:r>
                  <a:rPr kumimoji="1" lang="ja-JP" altLang="en-US" sz="2000" spc="100" dirty="0">
                    <a:latin typeface="+mj-ea"/>
                    <a:ea typeface="+mj-ea"/>
                  </a:rPr>
                  <a:t>モデル</a:t>
                </a:r>
                <a:r>
                  <a:rPr kumimoji="1" lang="ja-JP" altLang="en-US" sz="1100" spc="100" dirty="0">
                    <a:latin typeface="+mj-ea"/>
                    <a:ea typeface="+mj-ea"/>
                  </a:rPr>
                  <a:t> など</a:t>
                </a:r>
                <a:endParaRPr kumimoji="1" lang="ja-JP" altLang="en-US" sz="2000" spc="100" dirty="0">
                  <a:latin typeface="+mj-ea"/>
                  <a:ea typeface="+mj-ea"/>
                </a:endParaRPr>
              </a:p>
            </p:txBody>
          </p:sp>
          <p:pic>
            <p:nvPicPr>
              <p:cNvPr id="31" name="図 30">
                <a:extLst>
                  <a:ext uri="{FF2B5EF4-FFF2-40B4-BE49-F238E27FC236}">
                    <a16:creationId xmlns:a16="http://schemas.microsoft.com/office/drawing/2014/main" id="{73ACDB1E-3443-C103-D88B-F9E88C6B13EA}"/>
                  </a:ext>
                </a:extLst>
              </p:cNvPr>
              <p:cNvPicPr>
                <a:picLocks noChangeAspect="1"/>
              </p:cNvPicPr>
              <p:nvPr/>
            </p:nvPicPr>
            <p:blipFill>
              <a:blip r:embed="rId6"/>
              <a:stretch>
                <a:fillRect/>
              </a:stretch>
            </p:blipFill>
            <p:spPr>
              <a:xfrm>
                <a:off x="5837138" y="6702307"/>
                <a:ext cx="1127858" cy="1115665"/>
              </a:xfrm>
              <a:prstGeom prst="rect">
                <a:avLst/>
              </a:prstGeom>
            </p:spPr>
          </p:pic>
        </p:grpSp>
      </p:grpSp>
    </p:spTree>
    <p:extLst>
      <p:ext uri="{BB962C8B-B14F-4D97-AF65-F5344CB8AC3E}">
        <p14:creationId xmlns:p14="http://schemas.microsoft.com/office/powerpoint/2010/main" val="521194596"/>
      </p:ext>
    </p:extLst>
  </p:cSld>
  <p:clrMapOvr>
    <a:masterClrMapping/>
  </p:clrMapOvr>
</p:sld>
</file>

<file path=ppt/slides/slide7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53B9F36F-14D1-D8FA-ECA6-4253739CD650}"/>
              </a:ext>
            </a:extLst>
          </p:cNvPr>
          <p:cNvSpPr>
            <a:spLocks noGrp="1"/>
          </p:cNvSpPr>
          <p:nvPr>
            <p:ph type="title"/>
          </p:nvPr>
        </p:nvSpPr>
        <p:spPr>
          <a:xfrm>
            <a:off x="891741" y="506301"/>
            <a:ext cx="3702937" cy="492443"/>
          </a:xfrm>
        </p:spPr>
        <p:txBody>
          <a:bodyPr/>
          <a:lstStyle/>
          <a:p>
            <a:r>
              <a:rPr lang="ja-JP" altLang="en-US" dirty="0"/>
              <a:t>学習のまとめ</a:t>
            </a:r>
            <a:r>
              <a:rPr lang="en-US" altLang="ja-JP" dirty="0"/>
              <a:t>(2/2)</a:t>
            </a:r>
            <a:endParaRPr lang="ja-JP" altLang="en-US" dirty="0"/>
          </a:p>
        </p:txBody>
      </p:sp>
      <p:grpSp>
        <p:nvGrpSpPr>
          <p:cNvPr id="2" name="グループ化 1">
            <a:extLst>
              <a:ext uri="{FF2B5EF4-FFF2-40B4-BE49-F238E27FC236}">
                <a16:creationId xmlns:a16="http://schemas.microsoft.com/office/drawing/2014/main" id="{D973E6FC-DF67-EAE8-EF7C-6B2541C1E686}"/>
              </a:ext>
            </a:extLst>
          </p:cNvPr>
          <p:cNvGrpSpPr/>
          <p:nvPr/>
        </p:nvGrpSpPr>
        <p:grpSpPr>
          <a:xfrm>
            <a:off x="891739" y="1605679"/>
            <a:ext cx="16504521" cy="7832611"/>
            <a:chOff x="891739" y="1605679"/>
            <a:chExt cx="16504521" cy="7832611"/>
          </a:xfrm>
        </p:grpSpPr>
        <p:sp>
          <p:nvSpPr>
            <p:cNvPr id="5" name="四角形: 角を丸くする 4">
              <a:extLst>
                <a:ext uri="{FF2B5EF4-FFF2-40B4-BE49-F238E27FC236}">
                  <a16:creationId xmlns:a16="http://schemas.microsoft.com/office/drawing/2014/main" id="{01FE4534-E654-E73A-98CC-0DD55C903AAB}"/>
                </a:ext>
              </a:extLst>
            </p:cNvPr>
            <p:cNvSpPr/>
            <p:nvPr/>
          </p:nvSpPr>
          <p:spPr>
            <a:xfrm>
              <a:off x="891739" y="1605679"/>
              <a:ext cx="16504521" cy="7832611"/>
            </a:xfrm>
            <a:prstGeom prst="roundRect">
              <a:avLst>
                <a:gd name="adj" fmla="val 180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a:p>
          </p:txBody>
        </p:sp>
        <p:sp>
          <p:nvSpPr>
            <p:cNvPr id="6" name="四角形: 上の 2 つの角を丸める 5">
              <a:extLst>
                <a:ext uri="{FF2B5EF4-FFF2-40B4-BE49-F238E27FC236}">
                  <a16:creationId xmlns:a16="http://schemas.microsoft.com/office/drawing/2014/main" id="{B1E64F87-B1E1-9FD5-5A05-147791403C74}"/>
                </a:ext>
              </a:extLst>
            </p:cNvPr>
            <p:cNvSpPr/>
            <p:nvPr/>
          </p:nvSpPr>
          <p:spPr>
            <a:xfrm>
              <a:off x="891739" y="1605679"/>
              <a:ext cx="16504521" cy="882878"/>
            </a:xfrm>
            <a:prstGeom prst="round2SameRect">
              <a:avLst>
                <a:gd name="adj1" fmla="val 12810"/>
                <a:gd name="adj2" fmla="val 0"/>
              </a:avLst>
            </a:prstGeom>
            <a:solidFill>
              <a:schemeClr val="accent1"/>
            </a:solidFill>
            <a:ln w="57150">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wrap="none" lIns="216000" tIns="18000" rIns="144000" bIns="36000" rtlCol="0" anchor="ctr">
              <a:noAutofit/>
            </a:bodyPr>
            <a:lstStyle/>
            <a:p>
              <a:pPr algn="ctr"/>
              <a:r>
                <a:rPr kumimoji="1" lang="ja-JP" altLang="en-US" sz="3600" dirty="0">
                  <a:solidFill>
                    <a:schemeClr val="bg1"/>
                  </a:solidFill>
                  <a:latin typeface="+mj-ea"/>
                  <a:ea typeface="+mj-ea"/>
                </a:rPr>
                <a:t>生成</a:t>
              </a:r>
              <a:r>
                <a:rPr kumimoji="1" lang="en-US" altLang="ja-JP" sz="3600" dirty="0">
                  <a:solidFill>
                    <a:schemeClr val="bg1"/>
                  </a:solidFill>
                  <a:latin typeface="+mj-ea"/>
                  <a:ea typeface="+mj-ea"/>
                </a:rPr>
                <a:t>AI</a:t>
              </a:r>
              <a:r>
                <a:rPr kumimoji="1" lang="ja-JP" altLang="en-US" sz="3600" dirty="0">
                  <a:solidFill>
                    <a:schemeClr val="bg1"/>
                  </a:solidFill>
                  <a:latin typeface="+mj-ea"/>
                  <a:ea typeface="+mj-ea"/>
                </a:rPr>
                <a:t>活用に当たって注意すべきポイントは</a:t>
              </a:r>
              <a:r>
                <a:rPr kumimoji="1" lang="en-US" altLang="ja-JP" sz="3600" dirty="0">
                  <a:solidFill>
                    <a:schemeClr val="bg1"/>
                  </a:solidFill>
                  <a:latin typeface="+mj-ea"/>
                  <a:ea typeface="+mj-ea"/>
                </a:rPr>
                <a:t>?</a:t>
              </a:r>
            </a:p>
          </p:txBody>
        </p:sp>
        <p:sp>
          <p:nvSpPr>
            <p:cNvPr id="24" name="テキスト ボックス 23">
              <a:extLst>
                <a:ext uri="{FF2B5EF4-FFF2-40B4-BE49-F238E27FC236}">
                  <a16:creationId xmlns:a16="http://schemas.microsoft.com/office/drawing/2014/main" id="{A1BC2E3F-FFC4-27F6-BB23-DBCA6845FF73}"/>
                </a:ext>
              </a:extLst>
            </p:cNvPr>
            <p:cNvSpPr txBox="1"/>
            <p:nvPr/>
          </p:nvSpPr>
          <p:spPr>
            <a:xfrm>
              <a:off x="1077062" y="4109900"/>
              <a:ext cx="3727048" cy="4039632"/>
            </a:xfrm>
            <a:prstGeom prst="rect">
              <a:avLst/>
            </a:prstGeom>
            <a:noFill/>
          </p:spPr>
          <p:txBody>
            <a:bodyPr wrap="square">
              <a:spAutoFit/>
            </a:bodyPr>
            <a:lstStyle/>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無意識のうちに合理的</a:t>
              </a:r>
              <a:br>
                <a:rPr lang="en-US" altLang="ja-JP" sz="2400" dirty="0"/>
              </a:br>
              <a:r>
                <a:rPr lang="ja-JP" altLang="en-US" sz="2400" dirty="0"/>
                <a:t>ではない行動、偏った</a:t>
              </a:r>
              <a:br>
                <a:rPr lang="en-US" altLang="ja-JP" sz="2400" dirty="0"/>
              </a:br>
              <a:r>
                <a:rPr lang="ja-JP" altLang="en-US" sz="2400" dirty="0"/>
                <a:t>判断をすることがある</a:t>
              </a:r>
              <a:br>
                <a:rPr lang="en-US" altLang="ja-JP" sz="2400" dirty="0"/>
              </a:br>
              <a:r>
                <a:rPr lang="ja-JP" altLang="en-US" sz="2400" dirty="0"/>
                <a:t>という意識を持つ</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チェックリストを</a:t>
              </a:r>
              <a:br>
                <a:rPr lang="en-US" altLang="ja-JP" sz="2400" dirty="0"/>
              </a:br>
              <a:r>
                <a:rPr lang="ja-JP" altLang="en-US" sz="2400" dirty="0"/>
                <a:t>用いて真偽を判断する</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安易に拡散しない </a:t>
              </a:r>
              <a:r>
                <a:rPr lang="en-US" altLang="ja-JP" sz="2400" dirty="0"/>
                <a:t>/ </a:t>
              </a:r>
              <a:br>
                <a:rPr lang="en-US" altLang="ja-JP" sz="2400" dirty="0"/>
              </a:br>
              <a:r>
                <a:rPr lang="ja-JP" altLang="en-US" sz="2400" dirty="0"/>
                <a:t>拡散したいときは</a:t>
              </a:r>
              <a:br>
                <a:rPr lang="en-US" altLang="ja-JP" sz="2400" dirty="0"/>
              </a:br>
              <a:r>
                <a:rPr lang="ja-JP" altLang="en-US" sz="2400" dirty="0"/>
                <a:t>ひと呼吸おく</a:t>
              </a:r>
            </a:p>
          </p:txBody>
        </p:sp>
        <p:sp>
          <p:nvSpPr>
            <p:cNvPr id="25" name="テキスト ボックス 24">
              <a:extLst>
                <a:ext uri="{FF2B5EF4-FFF2-40B4-BE49-F238E27FC236}">
                  <a16:creationId xmlns:a16="http://schemas.microsoft.com/office/drawing/2014/main" id="{0E3F4B13-96A7-2D50-4EC8-DACFA50EBC06}"/>
                </a:ext>
              </a:extLst>
            </p:cNvPr>
            <p:cNvSpPr txBox="1"/>
            <p:nvPr/>
          </p:nvSpPr>
          <p:spPr>
            <a:xfrm>
              <a:off x="5242135" y="4109900"/>
              <a:ext cx="3514638" cy="4852162"/>
            </a:xfrm>
            <a:prstGeom prst="rect">
              <a:avLst/>
            </a:prstGeom>
            <a:noFill/>
          </p:spPr>
          <p:txBody>
            <a:bodyPr wrap="square">
              <a:spAutoFit/>
            </a:bodyPr>
            <a:lstStyle/>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生成</a:t>
              </a:r>
              <a:r>
                <a:rPr lang="en-US" altLang="ja-JP" sz="2400" dirty="0"/>
                <a:t>AI</a:t>
              </a:r>
              <a:r>
                <a:rPr lang="ja-JP" altLang="en-US" sz="2400" dirty="0"/>
                <a:t>サービスの</a:t>
              </a:r>
              <a:br>
                <a:rPr lang="en-US" altLang="ja-JP" sz="2400" dirty="0"/>
              </a:br>
              <a:r>
                <a:rPr lang="ja-JP" altLang="en-US" sz="2400" dirty="0"/>
                <a:t>規約を確認する</a:t>
              </a:r>
              <a:br>
                <a:rPr lang="ja-JP" altLang="en-US" sz="2400" dirty="0"/>
              </a:br>
              <a:r>
                <a:rPr lang="en-US" altLang="ja-JP" sz="2400" dirty="0"/>
                <a:t>(</a:t>
              </a:r>
              <a:r>
                <a:rPr lang="ja-JP" altLang="en-US" sz="2400" dirty="0"/>
                <a:t>商用利用可否、損害発生時の責任所在等</a:t>
              </a:r>
              <a:r>
                <a:rPr lang="en-US" altLang="ja-JP" sz="2400" dirty="0"/>
                <a:t>)</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個人情報や機密情報</a:t>
              </a:r>
              <a:br>
                <a:rPr lang="en-US" altLang="ja-JP" sz="2400" dirty="0"/>
              </a:br>
              <a:r>
                <a:rPr lang="ja-JP" altLang="en-US" sz="2400" dirty="0"/>
                <a:t>の入力は必要最小限</a:t>
              </a:r>
              <a:br>
                <a:rPr lang="en-US" altLang="ja-JP" sz="2400" dirty="0"/>
              </a:br>
              <a:r>
                <a:rPr lang="ja-JP" altLang="en-US" sz="2400" dirty="0"/>
                <a:t>にする</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生成</a:t>
              </a:r>
              <a:r>
                <a:rPr lang="en-US" altLang="ja-JP" sz="2400" dirty="0"/>
                <a:t>AI</a:t>
              </a:r>
              <a:r>
                <a:rPr lang="ja-JP" altLang="en-US" sz="2400" dirty="0"/>
                <a:t>に入力した</a:t>
              </a:r>
              <a:br>
                <a:rPr lang="en-US" altLang="ja-JP" sz="2400" dirty="0"/>
              </a:br>
              <a:r>
                <a:rPr lang="ja-JP" altLang="en-US" sz="2400" dirty="0"/>
                <a:t>データを学習に</a:t>
              </a:r>
              <a:br>
                <a:rPr lang="en-US" altLang="ja-JP" sz="2400" dirty="0"/>
              </a:br>
              <a:r>
                <a:rPr lang="ja-JP" altLang="en-US" sz="2400" dirty="0"/>
                <a:t>使わせないように</a:t>
              </a:r>
              <a:br>
                <a:rPr lang="ja-JP" altLang="en-US" sz="2400" dirty="0"/>
              </a:br>
              <a:r>
                <a:rPr lang="ja-JP" altLang="en-US" sz="2400" dirty="0"/>
                <a:t>設定する</a:t>
              </a:r>
            </a:p>
          </p:txBody>
        </p:sp>
        <p:sp>
          <p:nvSpPr>
            <p:cNvPr id="26" name="テキスト ボックス 25">
              <a:extLst>
                <a:ext uri="{FF2B5EF4-FFF2-40B4-BE49-F238E27FC236}">
                  <a16:creationId xmlns:a16="http://schemas.microsoft.com/office/drawing/2014/main" id="{32EE6D76-7BD5-C332-31BF-4C913345EFFB}"/>
                </a:ext>
              </a:extLst>
            </p:cNvPr>
            <p:cNvSpPr txBox="1"/>
            <p:nvPr/>
          </p:nvSpPr>
          <p:spPr>
            <a:xfrm>
              <a:off x="9305800" y="4109900"/>
              <a:ext cx="3727048" cy="5104539"/>
            </a:xfrm>
            <a:prstGeom prst="rect">
              <a:avLst/>
            </a:prstGeom>
            <a:noFill/>
          </p:spPr>
          <p:txBody>
            <a:bodyPr wrap="square">
              <a:spAutoFit/>
            </a:bodyPr>
            <a:lstStyle/>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既存のものや実在の</a:t>
              </a:r>
              <a:br>
                <a:rPr lang="en-US" altLang="ja-JP" sz="2400" dirty="0"/>
              </a:br>
              <a:r>
                <a:rPr lang="ja-JP" altLang="en-US" sz="2400" dirty="0"/>
                <a:t>人物に似たものを</a:t>
              </a:r>
              <a:br>
                <a:rPr lang="en-US" altLang="ja-JP" sz="2400" dirty="0"/>
              </a:br>
              <a:r>
                <a:rPr lang="ja-JP" altLang="en-US" sz="2400" dirty="0"/>
                <a:t>生成するような</a:t>
              </a:r>
              <a:br>
                <a:rPr lang="en-US" altLang="ja-JP" sz="2400" dirty="0"/>
              </a:br>
              <a:r>
                <a:rPr lang="ja-JP" altLang="en-US" sz="2400" dirty="0"/>
                <a:t>指示入力を避ける</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生成物が既存のもの</a:t>
              </a:r>
              <a:br>
                <a:rPr lang="en-US" altLang="ja-JP" sz="2400" dirty="0"/>
              </a:br>
              <a:r>
                <a:rPr lang="ja-JP" altLang="en-US" sz="2400" dirty="0"/>
                <a:t>や実在の人物に</a:t>
              </a:r>
              <a:br>
                <a:rPr lang="en-US" altLang="ja-JP" sz="2400" dirty="0"/>
              </a:br>
              <a:r>
                <a:rPr lang="ja-JP" altLang="en-US" sz="2400" dirty="0"/>
                <a:t>類似している場合、</a:t>
              </a:r>
              <a:br>
                <a:rPr lang="en-US" altLang="ja-JP" sz="2400" dirty="0"/>
              </a:br>
              <a:r>
                <a:rPr lang="ja-JP" altLang="en-US" sz="2400" dirty="0"/>
                <a:t>利用をやめる</a:t>
              </a:r>
              <a:r>
                <a:rPr lang="en-US" altLang="ja-JP" sz="2400" dirty="0"/>
                <a:t>/</a:t>
              </a:r>
              <a:br>
                <a:rPr lang="en-US" altLang="ja-JP" sz="2400" dirty="0"/>
              </a:br>
              <a:r>
                <a:rPr lang="ja-JP" altLang="en-US" sz="2400" dirty="0"/>
                <a:t>権利者から許諾を</a:t>
              </a:r>
              <a:br>
                <a:rPr lang="en-US" altLang="ja-JP" sz="2400" dirty="0"/>
              </a:br>
              <a:r>
                <a:rPr lang="ja-JP" altLang="en-US" sz="2400" dirty="0"/>
                <a:t>取得後に利用する</a:t>
              </a:r>
              <a:r>
                <a:rPr lang="en-US" altLang="ja-JP" sz="2400" dirty="0"/>
                <a:t>/</a:t>
              </a:r>
              <a:br>
                <a:rPr lang="en-US" altLang="ja-JP" sz="2400" dirty="0"/>
              </a:br>
              <a:r>
                <a:rPr lang="ja-JP" altLang="en-US" sz="2400" dirty="0"/>
                <a:t>既存のものと類似しないよう大幅に加工する</a:t>
              </a:r>
            </a:p>
          </p:txBody>
        </p:sp>
        <p:sp>
          <p:nvSpPr>
            <p:cNvPr id="27" name="テキスト ボックス 26">
              <a:extLst>
                <a:ext uri="{FF2B5EF4-FFF2-40B4-BE49-F238E27FC236}">
                  <a16:creationId xmlns:a16="http://schemas.microsoft.com/office/drawing/2014/main" id="{2F6A5548-D3F0-8231-776E-A0481F7912B8}"/>
                </a:ext>
              </a:extLst>
            </p:cNvPr>
            <p:cNvSpPr txBox="1"/>
            <p:nvPr/>
          </p:nvSpPr>
          <p:spPr>
            <a:xfrm>
              <a:off x="13534259" y="4109900"/>
              <a:ext cx="3403574" cy="4039632"/>
            </a:xfrm>
            <a:prstGeom prst="rect">
              <a:avLst/>
            </a:prstGeom>
            <a:noFill/>
          </p:spPr>
          <p:txBody>
            <a:bodyPr wrap="square">
              <a:spAutoFit/>
            </a:bodyPr>
            <a:lstStyle/>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本来自分が行うべき</a:t>
              </a:r>
              <a:br>
                <a:rPr lang="en-US" altLang="ja-JP" sz="2400" dirty="0"/>
              </a:br>
              <a:r>
                <a:rPr lang="ja-JP" altLang="en-US" sz="2400" dirty="0"/>
                <a:t>ことまで生成</a:t>
              </a:r>
              <a:r>
                <a:rPr lang="en-US" altLang="ja-JP" sz="2400" dirty="0"/>
                <a:t>AI</a:t>
              </a:r>
              <a:r>
                <a:rPr lang="ja-JP" altLang="en-US" sz="2400" dirty="0"/>
                <a:t>任せ</a:t>
              </a:r>
              <a:br>
                <a:rPr lang="en-US" altLang="ja-JP" sz="2400" dirty="0"/>
              </a:br>
              <a:r>
                <a:rPr lang="ja-JP" altLang="en-US" sz="2400" dirty="0"/>
                <a:t>にしない</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生成</a:t>
              </a:r>
              <a:r>
                <a:rPr lang="en-US" altLang="ja-JP" sz="2400" dirty="0"/>
                <a:t>AI</a:t>
              </a:r>
              <a:r>
                <a:rPr lang="ja-JP" altLang="en-US" sz="2400" dirty="0"/>
                <a:t>が作った</a:t>
              </a:r>
              <a:br>
                <a:rPr lang="en-US" altLang="ja-JP" sz="2400" dirty="0"/>
              </a:br>
              <a:r>
                <a:rPr lang="ja-JP" altLang="en-US" sz="2400" dirty="0"/>
                <a:t>偏見のある回答を</a:t>
              </a:r>
              <a:br>
                <a:rPr lang="en-US" altLang="ja-JP" sz="2400" dirty="0"/>
              </a:br>
              <a:r>
                <a:rPr lang="ja-JP" altLang="en-US" sz="2400" dirty="0"/>
                <a:t>使用しない</a:t>
              </a:r>
            </a:p>
            <a:p>
              <a:pPr marL="457200" indent="-457200">
                <a:lnSpc>
                  <a:spcPct val="110000"/>
                </a:lnSpc>
                <a:spcAft>
                  <a:spcPts val="1200"/>
                </a:spcAft>
                <a:buClr>
                  <a:schemeClr val="accent1"/>
                </a:buClr>
                <a:buFont typeface="M PLUS 1p Medium" panose="020B0602020203020207" pitchFamily="50" charset="-128"/>
                <a:buChar char="✔"/>
              </a:pPr>
              <a:r>
                <a:rPr lang="ja-JP" altLang="en-US" sz="2400" dirty="0"/>
                <a:t>生成</a:t>
              </a:r>
              <a:r>
                <a:rPr lang="en-US" altLang="ja-JP" sz="2400" dirty="0"/>
                <a:t>AI</a:t>
              </a:r>
              <a:r>
                <a:rPr lang="ja-JP" altLang="en-US" sz="2400" dirty="0"/>
                <a:t>を非倫理的な</a:t>
              </a:r>
              <a:br>
                <a:rPr lang="en-US" altLang="ja-JP" sz="2400" dirty="0"/>
              </a:br>
              <a:r>
                <a:rPr lang="ja-JP" altLang="en-US" sz="2400" dirty="0"/>
                <a:t>行為や犯罪に</a:t>
              </a:r>
              <a:br>
                <a:rPr lang="en-US" altLang="ja-JP" sz="2400" dirty="0"/>
              </a:br>
              <a:r>
                <a:rPr lang="ja-JP" altLang="en-US" sz="2400" dirty="0"/>
                <a:t>悪用しない</a:t>
              </a:r>
            </a:p>
          </p:txBody>
        </p:sp>
        <p:grpSp>
          <p:nvGrpSpPr>
            <p:cNvPr id="35" name="グループ化 34">
              <a:extLst>
                <a:ext uri="{FF2B5EF4-FFF2-40B4-BE49-F238E27FC236}">
                  <a16:creationId xmlns:a16="http://schemas.microsoft.com/office/drawing/2014/main" id="{8496EA8C-5FE8-D0F6-08EB-3B16FDD069D9}"/>
                </a:ext>
              </a:extLst>
            </p:cNvPr>
            <p:cNvGrpSpPr/>
            <p:nvPr/>
          </p:nvGrpSpPr>
          <p:grpSpPr>
            <a:xfrm>
              <a:off x="4988687" y="2745661"/>
              <a:ext cx="8271716" cy="6458674"/>
              <a:chOff x="4988687" y="2662177"/>
              <a:chExt cx="8271716" cy="6458674"/>
            </a:xfrm>
          </p:grpSpPr>
          <p:cxnSp>
            <p:nvCxnSpPr>
              <p:cNvPr id="29" name="直線コネクタ 28">
                <a:extLst>
                  <a:ext uri="{FF2B5EF4-FFF2-40B4-BE49-F238E27FC236}">
                    <a16:creationId xmlns:a16="http://schemas.microsoft.com/office/drawing/2014/main" id="{9C2B05CF-7D40-C42A-C39D-5F5476EC5F3D}"/>
                  </a:ext>
                </a:extLst>
              </p:cNvPr>
              <p:cNvCxnSpPr>
                <a:cxnSpLocks/>
              </p:cNvCxnSpPr>
              <p:nvPr/>
            </p:nvCxnSpPr>
            <p:spPr>
              <a:xfrm>
                <a:off x="4988687" y="2662177"/>
                <a:ext cx="0" cy="6458674"/>
              </a:xfrm>
              <a:prstGeom prst="line">
                <a:avLst/>
              </a:prstGeom>
              <a:ln w="3810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0" name="直線コネクタ 29">
                <a:extLst>
                  <a:ext uri="{FF2B5EF4-FFF2-40B4-BE49-F238E27FC236}">
                    <a16:creationId xmlns:a16="http://schemas.microsoft.com/office/drawing/2014/main" id="{C9E044C9-7FAE-A56B-FEC4-0CA5B620E93B}"/>
                  </a:ext>
                </a:extLst>
              </p:cNvPr>
              <p:cNvCxnSpPr>
                <a:cxnSpLocks/>
              </p:cNvCxnSpPr>
              <p:nvPr/>
            </p:nvCxnSpPr>
            <p:spPr>
              <a:xfrm>
                <a:off x="9124545" y="2662177"/>
                <a:ext cx="0" cy="6458674"/>
              </a:xfrm>
              <a:prstGeom prst="line">
                <a:avLst/>
              </a:prstGeom>
              <a:ln w="3810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cxnSp>
            <p:nvCxnSpPr>
              <p:cNvPr id="31" name="直線コネクタ 30">
                <a:extLst>
                  <a:ext uri="{FF2B5EF4-FFF2-40B4-BE49-F238E27FC236}">
                    <a16:creationId xmlns:a16="http://schemas.microsoft.com/office/drawing/2014/main" id="{DFBEB336-BBA9-6138-4D65-9D1867A03EB7}"/>
                  </a:ext>
                </a:extLst>
              </p:cNvPr>
              <p:cNvCxnSpPr>
                <a:cxnSpLocks/>
              </p:cNvCxnSpPr>
              <p:nvPr/>
            </p:nvCxnSpPr>
            <p:spPr>
              <a:xfrm>
                <a:off x="13260403" y="2662177"/>
                <a:ext cx="0" cy="6458674"/>
              </a:xfrm>
              <a:prstGeom prst="line">
                <a:avLst/>
              </a:prstGeom>
              <a:ln w="38100">
                <a:solidFill>
                  <a:schemeClr val="bg2">
                    <a:lumMod val="90000"/>
                  </a:schemeClr>
                </a:solidFill>
                <a:prstDash val="sysDot"/>
              </a:ln>
            </p:spPr>
            <p:style>
              <a:lnRef idx="1">
                <a:schemeClr val="accent1"/>
              </a:lnRef>
              <a:fillRef idx="0">
                <a:schemeClr val="accent1"/>
              </a:fillRef>
              <a:effectRef idx="0">
                <a:schemeClr val="accent1"/>
              </a:effectRef>
              <a:fontRef idx="minor">
                <a:schemeClr val="tx1"/>
              </a:fontRef>
            </p:style>
          </p:cxnSp>
        </p:grpSp>
        <p:sp>
          <p:nvSpPr>
            <p:cNvPr id="36" name="四角形: 角を丸くする 35">
              <a:extLst>
                <a:ext uri="{FF2B5EF4-FFF2-40B4-BE49-F238E27FC236}">
                  <a16:creationId xmlns:a16="http://schemas.microsoft.com/office/drawing/2014/main" id="{DDE2157E-0CC2-5C92-EC7C-CDA50E5B8070}"/>
                </a:ext>
              </a:extLst>
            </p:cNvPr>
            <p:cNvSpPr/>
            <p:nvPr/>
          </p:nvSpPr>
          <p:spPr>
            <a:xfrm>
              <a:off x="1218553" y="2786417"/>
              <a:ext cx="3443320" cy="1132849"/>
            </a:xfrm>
            <a:prstGeom prst="roundRect">
              <a:avLst>
                <a:gd name="adj" fmla="val 8408"/>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2800" dirty="0">
                  <a:solidFill>
                    <a:schemeClr val="tx1"/>
                  </a:solidFill>
                  <a:latin typeface="+mj-ea"/>
                  <a:ea typeface="+mj-ea"/>
                </a:rPr>
                <a:t>情報の正確性</a:t>
              </a:r>
            </a:p>
          </p:txBody>
        </p:sp>
        <p:sp>
          <p:nvSpPr>
            <p:cNvPr id="37" name="四角形: 角を丸くする 36">
              <a:extLst>
                <a:ext uri="{FF2B5EF4-FFF2-40B4-BE49-F238E27FC236}">
                  <a16:creationId xmlns:a16="http://schemas.microsoft.com/office/drawing/2014/main" id="{7AA7153E-FCE6-E8F0-E98C-0B1EA9E36146}"/>
                </a:ext>
              </a:extLst>
            </p:cNvPr>
            <p:cNvSpPr/>
            <p:nvPr/>
          </p:nvSpPr>
          <p:spPr>
            <a:xfrm>
              <a:off x="5348469" y="2786417"/>
              <a:ext cx="3443320" cy="1132849"/>
            </a:xfrm>
            <a:prstGeom prst="roundRect">
              <a:avLst>
                <a:gd name="adj" fmla="val 8408"/>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2800" dirty="0">
                  <a:solidFill>
                    <a:schemeClr val="tx1"/>
                  </a:solidFill>
                  <a:latin typeface="+mj-ea"/>
                  <a:ea typeface="+mj-ea"/>
                </a:rPr>
                <a:t>情報</a:t>
              </a:r>
              <a:r>
                <a:rPr lang="ja-JP" altLang="en-US" sz="2800" dirty="0">
                  <a:solidFill>
                    <a:schemeClr val="tx1"/>
                  </a:solidFill>
                  <a:latin typeface="+mj-ea"/>
                  <a:ea typeface="+mj-ea"/>
                </a:rPr>
                <a:t>流出</a:t>
              </a:r>
              <a:endParaRPr kumimoji="1" lang="ja-JP" altLang="en-US" sz="2800" dirty="0">
                <a:solidFill>
                  <a:schemeClr val="tx1"/>
                </a:solidFill>
                <a:latin typeface="+mj-ea"/>
                <a:ea typeface="+mj-ea"/>
              </a:endParaRPr>
            </a:p>
          </p:txBody>
        </p:sp>
        <p:sp>
          <p:nvSpPr>
            <p:cNvPr id="38" name="四角形: 角を丸くする 37">
              <a:extLst>
                <a:ext uri="{FF2B5EF4-FFF2-40B4-BE49-F238E27FC236}">
                  <a16:creationId xmlns:a16="http://schemas.microsoft.com/office/drawing/2014/main" id="{8B236B9E-349E-DC30-69CE-024413D793B5}"/>
                </a:ext>
              </a:extLst>
            </p:cNvPr>
            <p:cNvSpPr/>
            <p:nvPr/>
          </p:nvSpPr>
          <p:spPr>
            <a:xfrm>
              <a:off x="9478385" y="2786417"/>
              <a:ext cx="3443320" cy="1132849"/>
            </a:xfrm>
            <a:prstGeom prst="roundRect">
              <a:avLst>
                <a:gd name="adj" fmla="val 8408"/>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2800" dirty="0">
                  <a:solidFill>
                    <a:schemeClr val="tx1"/>
                  </a:solidFill>
                  <a:latin typeface="+mj-ea"/>
                  <a:ea typeface="+mj-ea"/>
                </a:rPr>
                <a:t>知的財産権の侵害</a:t>
              </a:r>
            </a:p>
          </p:txBody>
        </p:sp>
        <p:sp>
          <p:nvSpPr>
            <p:cNvPr id="39" name="四角形: 角を丸くする 38">
              <a:extLst>
                <a:ext uri="{FF2B5EF4-FFF2-40B4-BE49-F238E27FC236}">
                  <a16:creationId xmlns:a16="http://schemas.microsoft.com/office/drawing/2014/main" id="{B9F2E3FB-BAA0-4C59-8BC5-B1B0FDED7268}"/>
                </a:ext>
              </a:extLst>
            </p:cNvPr>
            <p:cNvSpPr/>
            <p:nvPr/>
          </p:nvSpPr>
          <p:spPr>
            <a:xfrm>
              <a:off x="13608300" y="2786417"/>
              <a:ext cx="3443320" cy="1132849"/>
            </a:xfrm>
            <a:prstGeom prst="roundRect">
              <a:avLst>
                <a:gd name="adj" fmla="val 8408"/>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0" tIns="0" rIns="0" bIns="0" rtlCol="0" anchor="ctr"/>
            <a:lstStyle/>
            <a:p>
              <a:pPr algn="ctr"/>
              <a:r>
                <a:rPr kumimoji="1" lang="ja-JP" altLang="en-US" sz="2800" dirty="0">
                  <a:solidFill>
                    <a:schemeClr val="tx1"/>
                  </a:solidFill>
                  <a:latin typeface="+mj-ea"/>
                  <a:ea typeface="+mj-ea"/>
                </a:rPr>
                <a:t>活用者</a:t>
              </a:r>
              <a:r>
                <a:rPr kumimoji="1" lang="ja-JP" altLang="en-US" sz="2400" dirty="0">
                  <a:solidFill>
                    <a:schemeClr val="tx1"/>
                  </a:solidFill>
                  <a:latin typeface="+mj-ea"/>
                  <a:ea typeface="+mj-ea"/>
                </a:rPr>
                <a:t>としての</a:t>
              </a:r>
              <a:br>
                <a:rPr kumimoji="1" lang="en-US" altLang="ja-JP" sz="2400" dirty="0">
                  <a:solidFill>
                    <a:schemeClr val="tx1"/>
                  </a:solidFill>
                  <a:latin typeface="+mj-ea"/>
                  <a:ea typeface="+mj-ea"/>
                </a:rPr>
              </a:br>
              <a:r>
                <a:rPr kumimoji="1" lang="ja-JP" altLang="en-US" sz="2800" dirty="0">
                  <a:solidFill>
                    <a:schemeClr val="tx1"/>
                  </a:solidFill>
                  <a:latin typeface="+mj-ea"/>
                  <a:ea typeface="+mj-ea"/>
                </a:rPr>
                <a:t>モラル</a:t>
              </a:r>
            </a:p>
          </p:txBody>
        </p:sp>
      </p:grpSp>
      <p:sp>
        <p:nvSpPr>
          <p:cNvPr id="3" name="スライド番号プレースホルダー 2">
            <a:extLst>
              <a:ext uri="{FF2B5EF4-FFF2-40B4-BE49-F238E27FC236}">
                <a16:creationId xmlns:a16="http://schemas.microsoft.com/office/drawing/2014/main" id="{0480D1AC-1E46-7513-9587-53487AEF57E3}"/>
              </a:ext>
            </a:extLst>
          </p:cNvPr>
          <p:cNvSpPr>
            <a:spLocks noGrp="1"/>
          </p:cNvSpPr>
          <p:nvPr>
            <p:ph type="sldNum" sz="quarter" idx="11"/>
          </p:nvPr>
        </p:nvSpPr>
        <p:spPr>
          <a:xfrm>
            <a:off x="17695001" y="9786651"/>
            <a:ext cx="327013" cy="307777"/>
          </a:xfrm>
        </p:spPr>
        <p:txBody>
          <a:bodyPr/>
          <a:lstStyle/>
          <a:p>
            <a:r>
              <a:rPr lang="en-US" altLang="ja-JP"/>
              <a:t>73</a:t>
            </a:r>
            <a:endParaRPr lang="ja-JP" altLang="en-US" dirty="0"/>
          </a:p>
        </p:txBody>
      </p:sp>
    </p:spTree>
    <p:extLst>
      <p:ext uri="{BB962C8B-B14F-4D97-AF65-F5344CB8AC3E}">
        <p14:creationId xmlns:p14="http://schemas.microsoft.com/office/powerpoint/2010/main" val="511337502"/>
      </p:ext>
    </p:extLst>
  </p:cSld>
  <p:clrMapOvr>
    <a:masterClrMapping/>
  </p:clrMapOvr>
</p:sld>
</file>

<file path=ppt/slides/slide7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タイトル 3">
            <a:extLst>
              <a:ext uri="{FF2B5EF4-FFF2-40B4-BE49-F238E27FC236}">
                <a16:creationId xmlns:a16="http://schemas.microsoft.com/office/drawing/2014/main" id="{649821B9-45F0-9FFC-067A-265AFC576AC4}"/>
              </a:ext>
            </a:extLst>
          </p:cNvPr>
          <p:cNvSpPr>
            <a:spLocks noGrp="1"/>
          </p:cNvSpPr>
          <p:nvPr>
            <p:ph type="title"/>
          </p:nvPr>
        </p:nvSpPr>
        <p:spPr>
          <a:xfrm>
            <a:off x="891741" y="506301"/>
            <a:ext cx="1692771" cy="492443"/>
          </a:xfrm>
        </p:spPr>
        <p:txBody>
          <a:bodyPr/>
          <a:lstStyle/>
          <a:p>
            <a:r>
              <a:rPr lang="ja-JP" altLang="en-US" dirty="0"/>
              <a:t>関連資料</a:t>
            </a:r>
          </a:p>
        </p:txBody>
      </p:sp>
      <p:sp>
        <p:nvSpPr>
          <p:cNvPr id="3" name="スライド番号プレースホルダー 2">
            <a:extLst>
              <a:ext uri="{FF2B5EF4-FFF2-40B4-BE49-F238E27FC236}">
                <a16:creationId xmlns:a16="http://schemas.microsoft.com/office/drawing/2014/main" id="{DEC6A8FC-26F6-9845-6152-5344E7167518}"/>
              </a:ext>
            </a:extLst>
          </p:cNvPr>
          <p:cNvSpPr>
            <a:spLocks noGrp="1"/>
          </p:cNvSpPr>
          <p:nvPr>
            <p:ph type="sldNum" sz="quarter" idx="11"/>
          </p:nvPr>
        </p:nvSpPr>
        <p:spPr>
          <a:xfrm>
            <a:off x="17695000" y="9786651"/>
            <a:ext cx="327014" cy="307777"/>
          </a:xfrm>
        </p:spPr>
        <p:txBody>
          <a:bodyPr/>
          <a:lstStyle/>
          <a:p>
            <a:r>
              <a:rPr lang="en-US" altLang="ja-JP"/>
              <a:t>74</a:t>
            </a:r>
            <a:endParaRPr lang="ja-JP" altLang="en-US" dirty="0"/>
          </a:p>
        </p:txBody>
      </p:sp>
      <p:grpSp>
        <p:nvGrpSpPr>
          <p:cNvPr id="122" name="グループ化 121">
            <a:extLst>
              <a:ext uri="{FF2B5EF4-FFF2-40B4-BE49-F238E27FC236}">
                <a16:creationId xmlns:a16="http://schemas.microsoft.com/office/drawing/2014/main" id="{1F0E561E-3057-FC67-AC4D-7D425E566FB5}"/>
              </a:ext>
            </a:extLst>
          </p:cNvPr>
          <p:cNvGrpSpPr/>
          <p:nvPr/>
        </p:nvGrpSpPr>
        <p:grpSpPr>
          <a:xfrm>
            <a:off x="9296259" y="1368243"/>
            <a:ext cx="8100000" cy="1872516"/>
            <a:chOff x="9296259" y="1368243"/>
            <a:chExt cx="8100000" cy="1872516"/>
          </a:xfrm>
        </p:grpSpPr>
        <p:sp>
          <p:nvSpPr>
            <p:cNvPr id="114" name="四角形: 角を丸くする 113">
              <a:extLst>
                <a:ext uri="{FF2B5EF4-FFF2-40B4-BE49-F238E27FC236}">
                  <a16:creationId xmlns:a16="http://schemas.microsoft.com/office/drawing/2014/main" id="{458F8FCB-9057-33FA-C314-CB8206C5167C}"/>
                </a:ext>
              </a:extLst>
            </p:cNvPr>
            <p:cNvSpPr/>
            <p:nvPr/>
          </p:nvSpPr>
          <p:spPr>
            <a:xfrm>
              <a:off x="9296259" y="1433559"/>
              <a:ext cx="8100000" cy="1807200"/>
            </a:xfrm>
            <a:prstGeom prst="roundRect">
              <a:avLst>
                <a:gd name="adj" fmla="val 5271"/>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12" name="フリーフォーム: 図形 11">
              <a:extLst>
                <a:ext uri="{FF2B5EF4-FFF2-40B4-BE49-F238E27FC236}">
                  <a16:creationId xmlns:a16="http://schemas.microsoft.com/office/drawing/2014/main" id="{34FD0316-6076-CB68-C681-921AEE9E4C4F}"/>
                </a:ext>
              </a:extLst>
            </p:cNvPr>
            <p:cNvSpPr/>
            <p:nvPr/>
          </p:nvSpPr>
          <p:spPr>
            <a:xfrm>
              <a:off x="9559962" y="1368243"/>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sp>
          <p:nvSpPr>
            <p:cNvPr id="55" name="テキスト ボックス 54">
              <a:extLst>
                <a:ext uri="{FF2B5EF4-FFF2-40B4-BE49-F238E27FC236}">
                  <a16:creationId xmlns:a16="http://schemas.microsoft.com/office/drawing/2014/main" id="{2074E1E4-1783-1F60-D6B0-A832F374AD36}"/>
                </a:ext>
              </a:extLst>
            </p:cNvPr>
            <p:cNvSpPr txBox="1"/>
            <p:nvPr/>
          </p:nvSpPr>
          <p:spPr>
            <a:xfrm>
              <a:off x="9735376" y="1932636"/>
              <a:ext cx="3856825" cy="369332"/>
            </a:xfrm>
            <a:prstGeom prst="rect">
              <a:avLst/>
            </a:prstGeom>
            <a:noFill/>
          </p:spPr>
          <p:txBody>
            <a:bodyPr wrap="none" lIns="0" tIns="0" rIns="0" bIns="0" rtlCol="0" anchor="t">
              <a:spAutoFit/>
            </a:bodyPr>
            <a:lstStyle/>
            <a:p>
              <a:pPr>
                <a:buFont typeface="Trebuchet MS" panose="020B0603020202020204" pitchFamily="34" charset="0"/>
                <a:buChar char="​"/>
              </a:pPr>
              <a:r>
                <a:rPr lang="ja-JP" altLang="en-US" sz="2400" dirty="0">
                  <a:latin typeface="+mj-ea"/>
                  <a:ea typeface="+mj-ea"/>
                  <a:sym typeface="Trebuchet MS" panose="020B0603020202020204" pitchFamily="34" charset="0"/>
                  <a:hlinkClick r:id="rId2"/>
                </a:rPr>
                <a:t>「マナビ</a:t>
              </a:r>
              <a:r>
                <a:rPr lang="en-US" altLang="ja-JP" sz="2400" dirty="0">
                  <a:latin typeface="+mj-ea"/>
                  <a:ea typeface="+mj-ea"/>
                  <a:sym typeface="Trebuchet MS" panose="020B0603020202020204" pitchFamily="34" charset="0"/>
                  <a:hlinkClick r:id="rId2"/>
                </a:rPr>
                <a:t>DX</a:t>
              </a:r>
              <a:r>
                <a:rPr lang="ja-JP" altLang="en-US" sz="2400" dirty="0">
                  <a:latin typeface="+mj-ea"/>
                  <a:ea typeface="+mj-ea"/>
                  <a:sym typeface="Trebuchet MS" panose="020B0603020202020204" pitchFamily="34" charset="0"/>
                  <a:hlinkClick r:id="rId2"/>
                </a:rPr>
                <a:t>」</a:t>
              </a:r>
              <a:r>
                <a:rPr lang="ja-JP" altLang="en-US" sz="2400" dirty="0">
                  <a:latin typeface="+mj-ea"/>
                  <a:ea typeface="+mj-ea"/>
                  <a:sym typeface="Trebuchet MS" panose="020B0603020202020204" pitchFamily="34" charset="0"/>
                </a:rPr>
                <a:t> </a:t>
              </a:r>
              <a:r>
                <a:rPr lang="en-US" altLang="ja-JP" sz="2400" dirty="0">
                  <a:latin typeface="+mj-ea"/>
                  <a:ea typeface="+mj-ea"/>
                  <a:sym typeface="Trebuchet MS" panose="020B0603020202020204" pitchFamily="34" charset="0"/>
                </a:rPr>
                <a:t>(</a:t>
              </a:r>
              <a:r>
                <a:rPr lang="ja-JP" altLang="en-US" sz="2400" dirty="0">
                  <a:latin typeface="+mj-ea"/>
                  <a:ea typeface="+mj-ea"/>
                  <a:sym typeface="Trebuchet MS" panose="020B0603020202020204" pitchFamily="34" charset="0"/>
                </a:rPr>
                <a:t>経済産業省</a:t>
              </a:r>
              <a:r>
                <a:rPr lang="en-US" altLang="ja-JP" sz="2400" dirty="0">
                  <a:latin typeface="+mj-ea"/>
                  <a:ea typeface="+mj-ea"/>
                  <a:sym typeface="Trebuchet MS" panose="020B0603020202020204" pitchFamily="34" charset="0"/>
                </a:rPr>
                <a:t>)</a:t>
              </a:r>
              <a:endParaRPr lang="ja-JP" altLang="en-US" sz="2400" dirty="0">
                <a:latin typeface="+mj-ea"/>
                <a:ea typeface="+mj-ea"/>
                <a:sym typeface="Trebuchet MS" panose="020B0603020202020204" pitchFamily="34" charset="0"/>
              </a:endParaRPr>
            </a:p>
          </p:txBody>
        </p:sp>
        <p:sp>
          <p:nvSpPr>
            <p:cNvPr id="56" name="テキスト ボックス 55">
              <a:extLst>
                <a:ext uri="{FF2B5EF4-FFF2-40B4-BE49-F238E27FC236}">
                  <a16:creationId xmlns:a16="http://schemas.microsoft.com/office/drawing/2014/main" id="{D239A4CC-276E-6D48-2CA8-F5FD67B1F065}"/>
                </a:ext>
              </a:extLst>
            </p:cNvPr>
            <p:cNvSpPr txBox="1"/>
            <p:nvPr/>
          </p:nvSpPr>
          <p:spPr>
            <a:xfrm>
              <a:off x="9735376" y="2468100"/>
              <a:ext cx="6232475" cy="312843"/>
            </a:xfrm>
            <a:prstGeom prst="rect">
              <a:avLst/>
            </a:prstGeom>
            <a:noFill/>
          </p:spPr>
          <p:txBody>
            <a:bodyPr wrap="none" lIns="0" tIns="0" rIns="0" bIns="0" rtlCol="0" anchor="t">
              <a:spAutoFit/>
            </a:bodyPr>
            <a:lstStyle/>
            <a:p>
              <a:pPr>
                <a:lnSpc>
                  <a:spcPct val="120000"/>
                </a:lnSpc>
                <a:spcAft>
                  <a:spcPts val="600"/>
                </a:spcAft>
              </a:pPr>
              <a:r>
                <a:rPr lang="ja-JP" altLang="en-US" sz="1800" dirty="0">
                  <a:latin typeface="+mn-ea"/>
                  <a:sym typeface="Trebuchet MS" panose="020B0603020202020204" pitchFamily="34" charset="0"/>
                </a:rPr>
                <a:t>デジタルスキルを身につける講座を紹介するポータルサイト</a:t>
              </a:r>
            </a:p>
          </p:txBody>
        </p:sp>
      </p:grpSp>
      <p:grpSp>
        <p:nvGrpSpPr>
          <p:cNvPr id="123" name="グループ化 122">
            <a:extLst>
              <a:ext uri="{FF2B5EF4-FFF2-40B4-BE49-F238E27FC236}">
                <a16:creationId xmlns:a16="http://schemas.microsoft.com/office/drawing/2014/main" id="{C4F5D211-EC92-26BF-B96F-CE1F74041D51}"/>
              </a:ext>
            </a:extLst>
          </p:cNvPr>
          <p:cNvGrpSpPr/>
          <p:nvPr/>
        </p:nvGrpSpPr>
        <p:grpSpPr>
          <a:xfrm>
            <a:off x="9296259" y="3415602"/>
            <a:ext cx="8100000" cy="2081316"/>
            <a:chOff x="9296259" y="3427602"/>
            <a:chExt cx="8100000" cy="2081316"/>
          </a:xfrm>
        </p:grpSpPr>
        <p:sp>
          <p:nvSpPr>
            <p:cNvPr id="115" name="四角形: 角を丸くする 114">
              <a:extLst>
                <a:ext uri="{FF2B5EF4-FFF2-40B4-BE49-F238E27FC236}">
                  <a16:creationId xmlns:a16="http://schemas.microsoft.com/office/drawing/2014/main" id="{6D6B2A16-3751-E0D6-0705-B70C21115235}"/>
                </a:ext>
              </a:extLst>
            </p:cNvPr>
            <p:cNvSpPr/>
            <p:nvPr/>
          </p:nvSpPr>
          <p:spPr>
            <a:xfrm>
              <a:off x="9296259" y="3492918"/>
              <a:ext cx="8100000" cy="2016000"/>
            </a:xfrm>
            <a:prstGeom prst="roundRect">
              <a:avLst>
                <a:gd name="adj" fmla="val 4811"/>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60" name="フリーフォーム: 図形 59">
              <a:extLst>
                <a:ext uri="{FF2B5EF4-FFF2-40B4-BE49-F238E27FC236}">
                  <a16:creationId xmlns:a16="http://schemas.microsoft.com/office/drawing/2014/main" id="{99D2AC89-D7D5-D522-F535-FBA513EA29AE}"/>
                </a:ext>
              </a:extLst>
            </p:cNvPr>
            <p:cNvSpPr/>
            <p:nvPr/>
          </p:nvSpPr>
          <p:spPr>
            <a:xfrm>
              <a:off x="9559962" y="3427602"/>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grpSp>
          <p:nvGrpSpPr>
            <p:cNvPr id="76" name="グループ化 75">
              <a:extLst>
                <a:ext uri="{FF2B5EF4-FFF2-40B4-BE49-F238E27FC236}">
                  <a16:creationId xmlns:a16="http://schemas.microsoft.com/office/drawing/2014/main" id="{2A3F90D1-29C0-9FD1-FC4E-448629774605}"/>
                </a:ext>
              </a:extLst>
            </p:cNvPr>
            <p:cNvGrpSpPr/>
            <p:nvPr/>
          </p:nvGrpSpPr>
          <p:grpSpPr>
            <a:xfrm>
              <a:off x="9735376" y="3913188"/>
              <a:ext cx="6485750" cy="1204910"/>
              <a:chOff x="9745422" y="2177619"/>
              <a:chExt cx="6485750" cy="1204910"/>
            </a:xfrm>
          </p:grpSpPr>
          <p:sp>
            <p:nvSpPr>
              <p:cNvPr id="77" name="テキスト ボックス 76">
                <a:extLst>
                  <a:ext uri="{FF2B5EF4-FFF2-40B4-BE49-F238E27FC236}">
                    <a16:creationId xmlns:a16="http://schemas.microsoft.com/office/drawing/2014/main" id="{65B52F08-FA75-67BD-D902-209A749A1869}"/>
                  </a:ext>
                </a:extLst>
              </p:cNvPr>
              <p:cNvSpPr txBox="1"/>
              <p:nvPr/>
            </p:nvSpPr>
            <p:spPr>
              <a:xfrm>
                <a:off x="9745422" y="2177619"/>
                <a:ext cx="6485750" cy="369332"/>
              </a:xfrm>
              <a:prstGeom prst="rect">
                <a:avLst/>
              </a:prstGeom>
              <a:noFill/>
            </p:spPr>
            <p:txBody>
              <a:bodyPr wrap="none" lIns="0" tIns="0" rIns="0" bIns="0" rtlCol="0" anchor="t">
                <a:spAutoFit/>
              </a:bodyPr>
              <a:lstStyle/>
              <a:p>
                <a:pPr>
                  <a:buFont typeface="Trebuchet MS" panose="020B0603020202020204" pitchFamily="34" charset="0"/>
                  <a:buChar char="​"/>
                </a:pPr>
                <a:r>
                  <a:rPr lang="ja-JP" altLang="en-US" sz="2400" dirty="0">
                    <a:latin typeface="+mj-ea"/>
                    <a:ea typeface="+mj-ea"/>
                    <a:sym typeface="Trebuchet MS" panose="020B0603020202020204" pitchFamily="34" charset="0"/>
                    <a:hlinkClick r:id="rId3"/>
                  </a:rPr>
                  <a:t>「デジタルスキル標準（</a:t>
                </a:r>
                <a:r>
                  <a:rPr lang="en-US" altLang="ja-JP" sz="2400" dirty="0">
                    <a:latin typeface="+mj-ea"/>
                    <a:ea typeface="+mj-ea"/>
                    <a:sym typeface="Trebuchet MS" panose="020B0603020202020204" pitchFamily="34" charset="0"/>
                    <a:hlinkClick r:id="rId3"/>
                  </a:rPr>
                  <a:t>DSS</a:t>
                </a:r>
                <a:r>
                  <a:rPr lang="ja-JP" altLang="en-US" sz="2400" dirty="0">
                    <a:latin typeface="+mj-ea"/>
                    <a:ea typeface="+mj-ea"/>
                    <a:sym typeface="Trebuchet MS" panose="020B0603020202020204" pitchFamily="34" charset="0"/>
                    <a:hlinkClick r:id="rId3"/>
                  </a:rPr>
                  <a:t>）」</a:t>
                </a:r>
                <a:r>
                  <a:rPr lang="ja-JP" altLang="en-US" sz="2400" dirty="0">
                    <a:latin typeface="+mj-ea"/>
                    <a:ea typeface="+mj-ea"/>
                    <a:sym typeface="Trebuchet MS" panose="020B0603020202020204" pitchFamily="34" charset="0"/>
                  </a:rPr>
                  <a:t> </a:t>
                </a:r>
                <a:r>
                  <a:rPr lang="en-US" altLang="ja-JP" sz="2400" dirty="0">
                    <a:latin typeface="+mj-ea"/>
                    <a:ea typeface="+mj-ea"/>
                    <a:sym typeface="Trebuchet MS" panose="020B0603020202020204" pitchFamily="34" charset="0"/>
                  </a:rPr>
                  <a:t>(</a:t>
                </a:r>
                <a:r>
                  <a:rPr lang="ja-JP" altLang="en-US" sz="2400" dirty="0">
                    <a:latin typeface="+mj-ea"/>
                    <a:ea typeface="+mj-ea"/>
                    <a:sym typeface="Trebuchet MS" panose="020B0603020202020204" pitchFamily="34" charset="0"/>
                  </a:rPr>
                  <a:t>経済産業省</a:t>
                </a:r>
                <a:r>
                  <a:rPr lang="en-US" altLang="ja-JP" sz="2400" dirty="0">
                    <a:latin typeface="+mj-ea"/>
                    <a:ea typeface="+mj-ea"/>
                    <a:sym typeface="Trebuchet MS" panose="020B0603020202020204" pitchFamily="34" charset="0"/>
                  </a:rPr>
                  <a:t>)</a:t>
                </a:r>
                <a:endParaRPr lang="ja-JP" altLang="en-US" sz="2400" dirty="0">
                  <a:latin typeface="+mj-ea"/>
                  <a:ea typeface="+mj-ea"/>
                  <a:sym typeface="Trebuchet MS" panose="020B0603020202020204" pitchFamily="34" charset="0"/>
                </a:endParaRPr>
              </a:p>
            </p:txBody>
          </p:sp>
          <p:sp>
            <p:nvSpPr>
              <p:cNvPr id="78" name="テキスト ボックス 77">
                <a:extLst>
                  <a:ext uri="{FF2B5EF4-FFF2-40B4-BE49-F238E27FC236}">
                    <a16:creationId xmlns:a16="http://schemas.microsoft.com/office/drawing/2014/main" id="{DE3C3C78-8CF9-C703-499E-789A7308B9CA}"/>
                  </a:ext>
                </a:extLst>
              </p:cNvPr>
              <p:cNvSpPr txBox="1"/>
              <p:nvPr/>
            </p:nvSpPr>
            <p:spPr>
              <a:xfrm>
                <a:off x="9769932" y="2708818"/>
                <a:ext cx="5815695" cy="673711"/>
              </a:xfrm>
              <a:prstGeom prst="rect">
                <a:avLst/>
              </a:prstGeom>
              <a:noFill/>
            </p:spPr>
            <p:txBody>
              <a:bodyPr wrap="none" lIns="0" tIns="0" rIns="0" bIns="0" rtlCol="0" anchor="t">
                <a:spAutoFit/>
              </a:bodyPr>
              <a:lstStyle/>
              <a:p>
                <a:pPr>
                  <a:lnSpc>
                    <a:spcPct val="110000"/>
                  </a:lnSpc>
                  <a:spcAft>
                    <a:spcPts val="600"/>
                  </a:spcAft>
                </a:pPr>
                <a:r>
                  <a:rPr lang="en-US" altLang="ja-JP" sz="1800" dirty="0">
                    <a:latin typeface="+mn-ea"/>
                    <a:sym typeface="Trebuchet MS" panose="020B0603020202020204" pitchFamily="34" charset="0"/>
                  </a:rPr>
                  <a:t>DX</a:t>
                </a:r>
                <a:r>
                  <a:rPr lang="ja-JP" altLang="en-US" sz="1800" dirty="0">
                    <a:latin typeface="+mn-ea"/>
                    <a:sym typeface="Trebuchet MS" panose="020B0603020202020204" pitchFamily="34" charset="0"/>
                  </a:rPr>
                  <a:t>時代の個人の学習や企業の人材確保・育成の指針。</a:t>
                </a:r>
                <a:endParaRPr lang="en-US" altLang="ja-JP" sz="1800" dirty="0">
                  <a:latin typeface="+mn-ea"/>
                  <a:sym typeface="Trebuchet MS" panose="020B0603020202020204" pitchFamily="34" charset="0"/>
                </a:endParaRPr>
              </a:p>
              <a:p>
                <a:pPr>
                  <a:lnSpc>
                    <a:spcPct val="110000"/>
                  </a:lnSpc>
                  <a:spcAft>
                    <a:spcPts val="600"/>
                  </a:spcAft>
                </a:pPr>
                <a:r>
                  <a:rPr lang="en-US" altLang="ja-JP" sz="1800" dirty="0">
                    <a:latin typeface="+mn-ea"/>
                    <a:sym typeface="Trebuchet MS" panose="020B0603020202020204" pitchFamily="34" charset="0"/>
                  </a:rPr>
                  <a:t>2023</a:t>
                </a:r>
                <a:r>
                  <a:rPr lang="ja-JP" altLang="en-US" sz="1800" dirty="0">
                    <a:latin typeface="+mn-ea"/>
                    <a:sym typeface="Trebuchet MS" panose="020B0603020202020204" pitchFamily="34" charset="0"/>
                  </a:rPr>
                  <a:t>年</a:t>
                </a:r>
                <a:r>
                  <a:rPr lang="en-US" altLang="ja-JP" sz="1800" dirty="0">
                    <a:latin typeface="+mn-ea"/>
                    <a:sym typeface="Trebuchet MS" panose="020B0603020202020204" pitchFamily="34" charset="0"/>
                  </a:rPr>
                  <a:t>8</a:t>
                </a:r>
                <a:r>
                  <a:rPr lang="ja-JP" altLang="en-US" sz="1800" dirty="0">
                    <a:latin typeface="+mn-ea"/>
                    <a:sym typeface="Trebuchet MS" panose="020B0603020202020204" pitchFamily="34" charset="0"/>
                  </a:rPr>
                  <a:t>月改訂にて⽣成</a:t>
                </a:r>
                <a:r>
                  <a:rPr lang="en-US" altLang="ja-JP" sz="1800" dirty="0">
                    <a:latin typeface="+mn-ea"/>
                    <a:sym typeface="Trebuchet MS" panose="020B0603020202020204" pitchFamily="34" charset="0"/>
                  </a:rPr>
                  <a:t>AI</a:t>
                </a:r>
                <a:r>
                  <a:rPr lang="ja-JP" altLang="en-US" sz="1800" dirty="0">
                    <a:latin typeface="+mn-ea"/>
                    <a:sym typeface="Trebuchet MS" panose="020B0603020202020204" pitchFamily="34" charset="0"/>
                  </a:rPr>
                  <a:t>に関するリテラシーを追加。</a:t>
                </a:r>
              </a:p>
            </p:txBody>
          </p:sp>
        </p:grpSp>
      </p:grpSp>
      <p:grpSp>
        <p:nvGrpSpPr>
          <p:cNvPr id="125" name="グループ化 124">
            <a:extLst>
              <a:ext uri="{FF2B5EF4-FFF2-40B4-BE49-F238E27FC236}">
                <a16:creationId xmlns:a16="http://schemas.microsoft.com/office/drawing/2014/main" id="{21AA8862-9096-FDD8-B93F-2E9E5A00C9B8}"/>
              </a:ext>
            </a:extLst>
          </p:cNvPr>
          <p:cNvGrpSpPr/>
          <p:nvPr/>
        </p:nvGrpSpPr>
        <p:grpSpPr>
          <a:xfrm>
            <a:off x="9296259" y="5671761"/>
            <a:ext cx="8100000" cy="1873018"/>
            <a:chOff x="9296259" y="5659761"/>
            <a:chExt cx="8100000" cy="1873018"/>
          </a:xfrm>
        </p:grpSpPr>
        <p:sp>
          <p:nvSpPr>
            <p:cNvPr id="116" name="四角形: 角を丸くする 115">
              <a:extLst>
                <a:ext uri="{FF2B5EF4-FFF2-40B4-BE49-F238E27FC236}">
                  <a16:creationId xmlns:a16="http://schemas.microsoft.com/office/drawing/2014/main" id="{461575F8-707D-1B59-8679-B69AB9B62CE9}"/>
                </a:ext>
              </a:extLst>
            </p:cNvPr>
            <p:cNvSpPr/>
            <p:nvPr/>
          </p:nvSpPr>
          <p:spPr>
            <a:xfrm>
              <a:off x="9296259" y="5725077"/>
              <a:ext cx="8100000" cy="1807702"/>
            </a:xfrm>
            <a:prstGeom prst="roundRect">
              <a:avLst>
                <a:gd name="adj" fmla="val 5269"/>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dirty="0"/>
            </a:p>
          </p:txBody>
        </p:sp>
        <p:sp>
          <p:nvSpPr>
            <p:cNvPr id="65" name="フリーフォーム: 図形 64">
              <a:extLst>
                <a:ext uri="{FF2B5EF4-FFF2-40B4-BE49-F238E27FC236}">
                  <a16:creationId xmlns:a16="http://schemas.microsoft.com/office/drawing/2014/main" id="{81B17B99-659C-EDA4-C202-C5FB69CF9AB0}"/>
                </a:ext>
              </a:extLst>
            </p:cNvPr>
            <p:cNvSpPr/>
            <p:nvPr/>
          </p:nvSpPr>
          <p:spPr>
            <a:xfrm>
              <a:off x="9559962" y="5659761"/>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sp>
          <p:nvSpPr>
            <p:cNvPr id="84" name="テキスト ボックス 83">
              <a:extLst>
                <a:ext uri="{FF2B5EF4-FFF2-40B4-BE49-F238E27FC236}">
                  <a16:creationId xmlns:a16="http://schemas.microsoft.com/office/drawing/2014/main" id="{276962D6-6DFA-EA96-FA52-375C2A08F4F5}"/>
                </a:ext>
              </a:extLst>
            </p:cNvPr>
            <p:cNvSpPr txBox="1"/>
            <p:nvPr/>
          </p:nvSpPr>
          <p:spPr>
            <a:xfrm>
              <a:off x="9735376" y="6223572"/>
              <a:ext cx="5988819" cy="369332"/>
            </a:xfrm>
            <a:prstGeom prst="rect">
              <a:avLst/>
            </a:prstGeom>
            <a:noFill/>
          </p:spPr>
          <p:txBody>
            <a:bodyPr wrap="none" lIns="0" tIns="0" rIns="0" bIns="0" rtlCol="0" anchor="t">
              <a:spAutoFit/>
            </a:bodyPr>
            <a:lstStyle/>
            <a:p>
              <a:pPr>
                <a:buFont typeface="Trebuchet MS" panose="020B0603020202020204" pitchFamily="34" charset="0"/>
                <a:buChar char="​"/>
              </a:pPr>
              <a:r>
                <a:rPr lang="ja-JP" altLang="en-US" sz="2400" dirty="0">
                  <a:latin typeface="+mj-ea"/>
                  <a:ea typeface="+mj-ea"/>
                  <a:sym typeface="Trebuchet MS" panose="020B0603020202020204" pitchFamily="34" charset="0"/>
                  <a:hlinkClick r:id="rId4"/>
                </a:rPr>
                <a:t>「楽しく学ぼう みんなの著作権」 </a:t>
              </a:r>
              <a:r>
                <a:rPr lang="en-US" altLang="ja-JP" sz="2400" dirty="0">
                  <a:latin typeface="+mj-ea"/>
                  <a:ea typeface="+mj-ea"/>
                  <a:sym typeface="Trebuchet MS" panose="020B0603020202020204" pitchFamily="34" charset="0"/>
                </a:rPr>
                <a:t>(</a:t>
              </a:r>
              <a:r>
                <a:rPr lang="ja-JP" altLang="en-US" sz="2400" dirty="0">
                  <a:latin typeface="+mj-ea"/>
                  <a:ea typeface="+mj-ea"/>
                  <a:sym typeface="Trebuchet MS" panose="020B0603020202020204" pitchFamily="34" charset="0"/>
                </a:rPr>
                <a:t>文化庁</a:t>
              </a:r>
              <a:r>
                <a:rPr lang="en-US" altLang="ja-JP" sz="2400" dirty="0">
                  <a:latin typeface="+mj-ea"/>
                  <a:ea typeface="+mj-ea"/>
                  <a:sym typeface="Trebuchet MS" panose="020B0603020202020204" pitchFamily="34" charset="0"/>
                </a:rPr>
                <a:t>)</a:t>
              </a:r>
              <a:endParaRPr lang="ja-JP" altLang="en-US" sz="2400" dirty="0">
                <a:latin typeface="+mj-ea"/>
                <a:ea typeface="+mj-ea"/>
                <a:sym typeface="Trebuchet MS" panose="020B0603020202020204" pitchFamily="34" charset="0"/>
              </a:endParaRPr>
            </a:p>
          </p:txBody>
        </p:sp>
        <p:sp>
          <p:nvSpPr>
            <p:cNvPr id="85" name="テキスト ボックス 84">
              <a:extLst>
                <a:ext uri="{FF2B5EF4-FFF2-40B4-BE49-F238E27FC236}">
                  <a16:creationId xmlns:a16="http://schemas.microsoft.com/office/drawing/2014/main" id="{03F4B09D-97A2-CA7E-2C3D-D24F09EFCC78}"/>
                </a:ext>
              </a:extLst>
            </p:cNvPr>
            <p:cNvSpPr txBox="1"/>
            <p:nvPr/>
          </p:nvSpPr>
          <p:spPr>
            <a:xfrm>
              <a:off x="9735376" y="6762292"/>
              <a:ext cx="2769989" cy="312843"/>
            </a:xfrm>
            <a:prstGeom prst="rect">
              <a:avLst/>
            </a:prstGeom>
            <a:noFill/>
          </p:spPr>
          <p:txBody>
            <a:bodyPr wrap="none" lIns="0" tIns="0" rIns="0" bIns="0" rtlCol="0" anchor="t">
              <a:spAutoFit/>
            </a:bodyPr>
            <a:lstStyle/>
            <a:p>
              <a:pPr>
                <a:lnSpc>
                  <a:spcPct val="120000"/>
                </a:lnSpc>
                <a:spcAft>
                  <a:spcPts val="600"/>
                </a:spcAft>
              </a:pPr>
              <a:r>
                <a:rPr lang="ja-JP" altLang="en-US" sz="1800" dirty="0">
                  <a:latin typeface="+mn-ea"/>
                  <a:sym typeface="Trebuchet MS" panose="020B0603020202020204" pitchFamily="34" charset="0"/>
                </a:rPr>
                <a:t>小学生のための著作権教材</a:t>
              </a:r>
            </a:p>
          </p:txBody>
        </p:sp>
      </p:grpSp>
      <p:grpSp>
        <p:nvGrpSpPr>
          <p:cNvPr id="126" name="グループ化 125">
            <a:extLst>
              <a:ext uri="{FF2B5EF4-FFF2-40B4-BE49-F238E27FC236}">
                <a16:creationId xmlns:a16="http://schemas.microsoft.com/office/drawing/2014/main" id="{278E65BB-D6B3-D79C-F416-B27219848A87}"/>
              </a:ext>
            </a:extLst>
          </p:cNvPr>
          <p:cNvGrpSpPr/>
          <p:nvPr/>
        </p:nvGrpSpPr>
        <p:grpSpPr>
          <a:xfrm>
            <a:off x="9296259" y="7719623"/>
            <a:ext cx="8100000" cy="1873018"/>
            <a:chOff x="9296259" y="7719623"/>
            <a:chExt cx="8100000" cy="1873018"/>
          </a:xfrm>
        </p:grpSpPr>
        <p:sp>
          <p:nvSpPr>
            <p:cNvPr id="117" name="四角形: 角を丸くする 116">
              <a:extLst>
                <a:ext uri="{FF2B5EF4-FFF2-40B4-BE49-F238E27FC236}">
                  <a16:creationId xmlns:a16="http://schemas.microsoft.com/office/drawing/2014/main" id="{DBE880BC-4C86-AF43-2FD0-3580CEE6C206}"/>
                </a:ext>
              </a:extLst>
            </p:cNvPr>
            <p:cNvSpPr/>
            <p:nvPr/>
          </p:nvSpPr>
          <p:spPr>
            <a:xfrm>
              <a:off x="9296259" y="7784939"/>
              <a:ext cx="8100000" cy="1807702"/>
            </a:xfrm>
            <a:prstGeom prst="roundRect">
              <a:avLst>
                <a:gd name="adj" fmla="val 5269"/>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70" name="フリーフォーム: 図形 69">
              <a:extLst>
                <a:ext uri="{FF2B5EF4-FFF2-40B4-BE49-F238E27FC236}">
                  <a16:creationId xmlns:a16="http://schemas.microsoft.com/office/drawing/2014/main" id="{8C75F44C-DCC1-EC05-0E12-2739E3C681AF}"/>
                </a:ext>
              </a:extLst>
            </p:cNvPr>
            <p:cNvSpPr/>
            <p:nvPr/>
          </p:nvSpPr>
          <p:spPr>
            <a:xfrm>
              <a:off x="9559962" y="7719623"/>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sp>
          <p:nvSpPr>
            <p:cNvPr id="90" name="テキスト ボックス 89">
              <a:extLst>
                <a:ext uri="{FF2B5EF4-FFF2-40B4-BE49-F238E27FC236}">
                  <a16:creationId xmlns:a16="http://schemas.microsoft.com/office/drawing/2014/main" id="{5901C67A-1F38-45DC-0A00-8A3DC2BA86BD}"/>
                </a:ext>
              </a:extLst>
            </p:cNvPr>
            <p:cNvSpPr txBox="1"/>
            <p:nvPr/>
          </p:nvSpPr>
          <p:spPr>
            <a:xfrm>
              <a:off x="9759886" y="8283434"/>
              <a:ext cx="3452868" cy="369332"/>
            </a:xfrm>
            <a:prstGeom prst="rect">
              <a:avLst/>
            </a:prstGeom>
            <a:noFill/>
          </p:spPr>
          <p:txBody>
            <a:bodyPr wrap="none" lIns="0" tIns="0" rIns="0" bIns="0" rtlCol="0" anchor="t">
              <a:spAutoFit/>
            </a:bodyPr>
            <a:lstStyle/>
            <a:p>
              <a:pPr>
                <a:buFont typeface="Trebuchet MS" panose="020B0603020202020204" pitchFamily="34" charset="0"/>
                <a:buChar char="​"/>
              </a:pPr>
              <a:r>
                <a:rPr lang="ja-JP" altLang="en-US" sz="2400" dirty="0">
                  <a:solidFill>
                    <a:schemeClr val="tx1"/>
                  </a:solidFill>
                  <a:latin typeface="+mj-ea"/>
                  <a:ea typeface="+mj-ea"/>
                  <a:sym typeface="Trebuchet MS" panose="020B0603020202020204" pitchFamily="34" charset="0"/>
                  <a:hlinkClick r:id="rId5"/>
                </a:rPr>
                <a:t>「</a:t>
              </a:r>
              <a:r>
                <a:rPr lang="en-US" altLang="ja-JP" sz="2400" dirty="0">
                  <a:solidFill>
                    <a:schemeClr val="tx1"/>
                  </a:solidFill>
                  <a:latin typeface="+mj-ea"/>
                  <a:ea typeface="+mj-ea"/>
                  <a:sym typeface="Trebuchet MS" panose="020B0603020202020204" pitchFamily="34" charset="0"/>
                  <a:hlinkClick r:id="rId5"/>
                </a:rPr>
                <a:t>AI</a:t>
              </a:r>
              <a:r>
                <a:rPr lang="ja-JP" altLang="en-US" sz="2400" dirty="0">
                  <a:solidFill>
                    <a:schemeClr val="tx1"/>
                  </a:solidFill>
                  <a:latin typeface="+mj-ea"/>
                  <a:ea typeface="+mj-ea"/>
                  <a:sym typeface="Trebuchet MS" panose="020B0603020202020204" pitchFamily="34" charset="0"/>
                  <a:hlinkClick r:id="rId5"/>
                </a:rPr>
                <a:t>と著作権」</a:t>
              </a:r>
              <a:r>
                <a:rPr lang="ja-JP" altLang="en-US" sz="2400" dirty="0">
                  <a:solidFill>
                    <a:schemeClr val="tx1"/>
                  </a:solidFill>
                  <a:latin typeface="+mj-ea"/>
                  <a:ea typeface="+mj-ea"/>
                  <a:sym typeface="Trebuchet MS" panose="020B0603020202020204" pitchFamily="34" charset="0"/>
                </a:rPr>
                <a:t> </a:t>
              </a:r>
              <a:r>
                <a:rPr lang="en-US" altLang="ja-JP" sz="2400" dirty="0">
                  <a:solidFill>
                    <a:schemeClr val="tx1"/>
                  </a:solidFill>
                  <a:latin typeface="+mj-ea"/>
                  <a:ea typeface="+mj-ea"/>
                  <a:sym typeface="Trebuchet MS" panose="020B0603020202020204" pitchFamily="34" charset="0"/>
                </a:rPr>
                <a:t>(</a:t>
              </a:r>
              <a:r>
                <a:rPr lang="ja-JP" altLang="en-US" sz="2400" dirty="0">
                  <a:solidFill>
                    <a:schemeClr val="tx1"/>
                  </a:solidFill>
                  <a:latin typeface="+mj-ea"/>
                  <a:ea typeface="+mj-ea"/>
                  <a:sym typeface="Trebuchet MS" panose="020B0603020202020204" pitchFamily="34" charset="0"/>
                </a:rPr>
                <a:t>文化庁</a:t>
              </a:r>
              <a:r>
                <a:rPr lang="en-US" altLang="ja-JP" sz="2400" dirty="0">
                  <a:solidFill>
                    <a:schemeClr val="tx1"/>
                  </a:solidFill>
                  <a:latin typeface="+mj-ea"/>
                  <a:ea typeface="+mj-ea"/>
                  <a:sym typeface="Trebuchet MS" panose="020B0603020202020204" pitchFamily="34" charset="0"/>
                </a:rPr>
                <a:t>)</a:t>
              </a:r>
              <a:endParaRPr lang="ja-JP" altLang="en-US" sz="2400" dirty="0">
                <a:solidFill>
                  <a:schemeClr val="tx1"/>
                </a:solidFill>
                <a:latin typeface="+mj-ea"/>
                <a:ea typeface="+mj-ea"/>
                <a:sym typeface="Trebuchet MS" panose="020B0603020202020204" pitchFamily="34" charset="0"/>
              </a:endParaRPr>
            </a:p>
          </p:txBody>
        </p:sp>
        <p:sp>
          <p:nvSpPr>
            <p:cNvPr id="91" name="テキスト ボックス 90">
              <a:extLst>
                <a:ext uri="{FF2B5EF4-FFF2-40B4-BE49-F238E27FC236}">
                  <a16:creationId xmlns:a16="http://schemas.microsoft.com/office/drawing/2014/main" id="{B99AD882-FFA6-0BD7-D7CA-05ECA47ED0CB}"/>
                </a:ext>
              </a:extLst>
            </p:cNvPr>
            <p:cNvSpPr txBox="1"/>
            <p:nvPr/>
          </p:nvSpPr>
          <p:spPr>
            <a:xfrm>
              <a:off x="9759886" y="8819340"/>
              <a:ext cx="5317161" cy="312843"/>
            </a:xfrm>
            <a:prstGeom prst="rect">
              <a:avLst/>
            </a:prstGeom>
            <a:noFill/>
          </p:spPr>
          <p:txBody>
            <a:bodyPr wrap="none" lIns="0" tIns="0" rIns="0" bIns="0" rtlCol="0" anchor="t">
              <a:spAutoFit/>
            </a:bodyPr>
            <a:lstStyle/>
            <a:p>
              <a:pPr>
                <a:lnSpc>
                  <a:spcPct val="120000"/>
                </a:lnSpc>
                <a:spcAft>
                  <a:spcPts val="600"/>
                </a:spcAft>
              </a:pPr>
              <a:r>
                <a:rPr lang="ja-JP" altLang="en-US" sz="1800" dirty="0">
                  <a:latin typeface="+mn-ea"/>
                  <a:sym typeface="Trebuchet MS" panose="020B0603020202020204" pitchFamily="34" charset="0"/>
                </a:rPr>
                <a:t>現行の著作権法の考え方や</a:t>
              </a:r>
              <a:r>
                <a:rPr lang="en-US" altLang="ja-JP" sz="1800" dirty="0">
                  <a:latin typeface="+mn-ea"/>
                  <a:sym typeface="Trebuchet MS" panose="020B0603020202020204" pitchFamily="34" charset="0"/>
                </a:rPr>
                <a:t>AI</a:t>
              </a:r>
              <a:r>
                <a:rPr lang="ja-JP" altLang="en-US" sz="1800" dirty="0">
                  <a:latin typeface="+mn-ea"/>
                  <a:sym typeface="Trebuchet MS" panose="020B0603020202020204" pitchFamily="34" charset="0"/>
                </a:rPr>
                <a:t>と著作権の関係を説明</a:t>
              </a:r>
            </a:p>
          </p:txBody>
        </p:sp>
      </p:grpSp>
      <p:grpSp>
        <p:nvGrpSpPr>
          <p:cNvPr id="127" name="グループ化 126">
            <a:extLst>
              <a:ext uri="{FF2B5EF4-FFF2-40B4-BE49-F238E27FC236}">
                <a16:creationId xmlns:a16="http://schemas.microsoft.com/office/drawing/2014/main" id="{B6AC7E4E-5F01-8B88-E41F-1DDDDA9F9271}"/>
              </a:ext>
            </a:extLst>
          </p:cNvPr>
          <p:cNvGrpSpPr/>
          <p:nvPr/>
        </p:nvGrpSpPr>
        <p:grpSpPr>
          <a:xfrm>
            <a:off x="881613" y="7132269"/>
            <a:ext cx="8100000" cy="2460372"/>
            <a:chOff x="881613" y="7132269"/>
            <a:chExt cx="8100000" cy="2460372"/>
          </a:xfrm>
        </p:grpSpPr>
        <p:sp>
          <p:nvSpPr>
            <p:cNvPr id="118" name="四角形: 角を丸くする 117">
              <a:extLst>
                <a:ext uri="{FF2B5EF4-FFF2-40B4-BE49-F238E27FC236}">
                  <a16:creationId xmlns:a16="http://schemas.microsoft.com/office/drawing/2014/main" id="{480C6336-7FDA-FF9F-F1A6-F9DB71BA07C8}"/>
                </a:ext>
              </a:extLst>
            </p:cNvPr>
            <p:cNvSpPr/>
            <p:nvPr/>
          </p:nvSpPr>
          <p:spPr>
            <a:xfrm>
              <a:off x="881613" y="7205596"/>
              <a:ext cx="8100000" cy="2387045"/>
            </a:xfrm>
            <a:prstGeom prst="roundRect">
              <a:avLst>
                <a:gd name="adj" fmla="val 3990"/>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25" name="テキスト ボックス 24">
              <a:extLst>
                <a:ext uri="{FF2B5EF4-FFF2-40B4-BE49-F238E27FC236}">
                  <a16:creationId xmlns:a16="http://schemas.microsoft.com/office/drawing/2014/main" id="{60AA0140-50A8-5E0C-F41E-E1C9264D3666}"/>
                </a:ext>
              </a:extLst>
            </p:cNvPr>
            <p:cNvSpPr txBox="1"/>
            <p:nvPr/>
          </p:nvSpPr>
          <p:spPr>
            <a:xfrm>
              <a:off x="1321477" y="7595317"/>
              <a:ext cx="6030497" cy="417102"/>
            </a:xfrm>
            <a:prstGeom prst="rect">
              <a:avLst/>
            </a:prstGeom>
            <a:noFill/>
          </p:spPr>
          <p:txBody>
            <a:bodyPr wrap="none" lIns="0" tIns="0" rIns="0" bIns="0" rtlCol="0" anchor="t">
              <a:spAutoFit/>
            </a:bodyPr>
            <a:lstStyle/>
            <a:p>
              <a:pPr>
                <a:lnSpc>
                  <a:spcPct val="120000"/>
                </a:lnSpc>
                <a:spcAft>
                  <a:spcPts val="1500"/>
                </a:spcAft>
              </a:pPr>
              <a:r>
                <a:rPr lang="ja-JP" altLang="en-US" sz="2400" spc="50" dirty="0">
                  <a:latin typeface="+mj-ea"/>
                  <a:ea typeface="+mj-ea"/>
                </a:rPr>
                <a:t>情報モラル学習・教育サイト </a:t>
              </a:r>
              <a:r>
                <a:rPr lang="en-US" altLang="ja-JP" sz="2400" spc="50" dirty="0">
                  <a:latin typeface="+mj-ea"/>
                  <a:ea typeface="+mj-ea"/>
                </a:rPr>
                <a:t>(</a:t>
              </a:r>
              <a:r>
                <a:rPr lang="ja-JP" altLang="en-US" sz="2400" spc="50" dirty="0">
                  <a:latin typeface="+mj-ea"/>
                  <a:ea typeface="+mj-ea"/>
                </a:rPr>
                <a:t>文部科学省</a:t>
              </a:r>
              <a:r>
                <a:rPr lang="en-US" altLang="ja-JP" sz="2400" spc="50" dirty="0">
                  <a:latin typeface="+mj-ea"/>
                  <a:ea typeface="+mj-ea"/>
                </a:rPr>
                <a:t>)</a:t>
              </a:r>
            </a:p>
          </p:txBody>
        </p:sp>
        <p:sp>
          <p:nvSpPr>
            <p:cNvPr id="26" name="テキスト ボックス 25">
              <a:extLst>
                <a:ext uri="{FF2B5EF4-FFF2-40B4-BE49-F238E27FC236}">
                  <a16:creationId xmlns:a16="http://schemas.microsoft.com/office/drawing/2014/main" id="{F03EFCC2-2331-BA93-CB51-194D9D65C4BD}"/>
                </a:ext>
              </a:extLst>
            </p:cNvPr>
            <p:cNvSpPr txBox="1"/>
            <p:nvPr/>
          </p:nvSpPr>
          <p:spPr>
            <a:xfrm>
              <a:off x="1321477" y="8202367"/>
              <a:ext cx="7386638" cy="1022909"/>
            </a:xfrm>
            <a:prstGeom prst="rect">
              <a:avLst/>
            </a:prstGeom>
            <a:noFill/>
          </p:spPr>
          <p:txBody>
            <a:bodyPr wrap="none" lIns="0" tIns="0" rIns="0" bIns="0" rtlCol="0" anchor="t">
              <a:spAutoFit/>
            </a:bodyPr>
            <a:lstStyle/>
            <a:p>
              <a:pPr>
                <a:lnSpc>
                  <a:spcPct val="120000"/>
                </a:lnSpc>
                <a:spcAft>
                  <a:spcPts val="600"/>
                </a:spcAft>
              </a:pPr>
              <a:r>
                <a:rPr lang="ja-JP" altLang="en-US" sz="1600" dirty="0">
                  <a:latin typeface="+mn-ea"/>
                  <a:sym typeface="Trebuchet MS" panose="020B0603020202020204" pitchFamily="34" charset="0"/>
                </a:rPr>
                <a:t>スマホ・タブレットやインターネットの使い方に関する様々なコンテンツを公開</a:t>
              </a:r>
              <a:endParaRPr lang="en-US" altLang="ja-JP" sz="1600" dirty="0">
                <a:latin typeface="+mn-ea"/>
                <a:sym typeface="Trebuchet MS" panose="020B0603020202020204" pitchFamily="34" charset="0"/>
              </a:endParaRPr>
            </a:p>
            <a:p>
              <a:pPr marL="285750" indent="-285750">
                <a:lnSpc>
                  <a:spcPct val="120000"/>
                </a:lnSpc>
                <a:spcAft>
                  <a:spcPts val="600"/>
                </a:spcAft>
                <a:buClr>
                  <a:schemeClr val="accent2"/>
                </a:buClr>
                <a:buFont typeface="Wingdings" panose="05000000000000000000" pitchFamily="2" charset="2"/>
                <a:buChar char="l"/>
              </a:pPr>
              <a:r>
                <a:rPr lang="ja-JP" altLang="en-US" sz="1600" dirty="0">
                  <a:solidFill>
                    <a:schemeClr val="tx1"/>
                  </a:solidFill>
                  <a:latin typeface="+mn-ea"/>
                  <a:sym typeface="Trebuchet MS" panose="020B0603020202020204" pitchFamily="34" charset="0"/>
                  <a:hlinkClick r:id="rId6"/>
                </a:rPr>
                <a:t>小～高校生向け「情報モラル学習サイト」</a:t>
              </a:r>
              <a:endParaRPr lang="en-US" altLang="ja-JP" sz="1600" dirty="0">
                <a:solidFill>
                  <a:schemeClr val="tx1"/>
                </a:solidFill>
                <a:latin typeface="+mn-ea"/>
                <a:sym typeface="Trebuchet MS" panose="020B0603020202020204" pitchFamily="34" charset="0"/>
                <a:hlinkClick r:id="rId7"/>
              </a:endParaRPr>
            </a:p>
            <a:p>
              <a:pPr marL="285750" indent="-285750">
                <a:lnSpc>
                  <a:spcPct val="120000"/>
                </a:lnSpc>
                <a:spcAft>
                  <a:spcPts val="600"/>
                </a:spcAft>
                <a:buClr>
                  <a:schemeClr val="accent2"/>
                </a:buClr>
                <a:buFont typeface="Wingdings" panose="05000000000000000000" pitchFamily="2" charset="2"/>
                <a:buChar char="l"/>
              </a:pPr>
              <a:r>
                <a:rPr lang="ja-JP" altLang="en-US" sz="1600" dirty="0">
                  <a:solidFill>
                    <a:schemeClr val="tx1"/>
                  </a:solidFill>
                  <a:latin typeface="+mn-ea"/>
                  <a:sym typeface="Trebuchet MS" panose="020B0603020202020204" pitchFamily="34" charset="0"/>
                  <a:hlinkClick r:id="rId7"/>
                </a:rPr>
                <a:t>教員向け「情報モラル教育ポータルサイト」</a:t>
              </a:r>
              <a:endParaRPr lang="ja-JP" altLang="en-US" sz="1600" dirty="0">
                <a:solidFill>
                  <a:schemeClr val="accent1"/>
                </a:solidFill>
                <a:latin typeface="+mn-ea"/>
                <a:sym typeface="Trebuchet MS" panose="020B0603020202020204" pitchFamily="34" charset="0"/>
              </a:endParaRPr>
            </a:p>
          </p:txBody>
        </p:sp>
        <p:sp>
          <p:nvSpPr>
            <p:cNvPr id="96" name="フリーフォーム: 図形 95">
              <a:extLst>
                <a:ext uri="{FF2B5EF4-FFF2-40B4-BE49-F238E27FC236}">
                  <a16:creationId xmlns:a16="http://schemas.microsoft.com/office/drawing/2014/main" id="{13676A57-EECB-F979-9DA4-8F06A0AAC3E7}"/>
                </a:ext>
              </a:extLst>
            </p:cNvPr>
            <p:cNvSpPr/>
            <p:nvPr/>
          </p:nvSpPr>
          <p:spPr>
            <a:xfrm>
              <a:off x="1132439" y="7132269"/>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grpSp>
      <p:grpSp>
        <p:nvGrpSpPr>
          <p:cNvPr id="128" name="グループ化 127">
            <a:extLst>
              <a:ext uri="{FF2B5EF4-FFF2-40B4-BE49-F238E27FC236}">
                <a16:creationId xmlns:a16="http://schemas.microsoft.com/office/drawing/2014/main" id="{83DD4A67-5408-DA4D-AD41-606FC0C696C9}"/>
              </a:ext>
            </a:extLst>
          </p:cNvPr>
          <p:cNvGrpSpPr/>
          <p:nvPr/>
        </p:nvGrpSpPr>
        <p:grpSpPr>
          <a:xfrm>
            <a:off x="881613" y="3927338"/>
            <a:ext cx="8100000" cy="3035811"/>
            <a:chOff x="881613" y="3927338"/>
            <a:chExt cx="8100000" cy="3035811"/>
          </a:xfrm>
        </p:grpSpPr>
        <p:sp>
          <p:nvSpPr>
            <p:cNvPr id="119" name="四角形: 角を丸くする 118">
              <a:extLst>
                <a:ext uri="{FF2B5EF4-FFF2-40B4-BE49-F238E27FC236}">
                  <a16:creationId xmlns:a16="http://schemas.microsoft.com/office/drawing/2014/main" id="{7EA7158D-ADD4-00A7-321F-780527E16030}"/>
                </a:ext>
              </a:extLst>
            </p:cNvPr>
            <p:cNvSpPr/>
            <p:nvPr/>
          </p:nvSpPr>
          <p:spPr>
            <a:xfrm>
              <a:off x="881613" y="3990500"/>
              <a:ext cx="8100000" cy="2972649"/>
            </a:xfrm>
            <a:prstGeom prst="roundRect">
              <a:avLst>
                <a:gd name="adj" fmla="val 3204"/>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16" name="テキスト ボックス 15">
              <a:extLst>
                <a:ext uri="{FF2B5EF4-FFF2-40B4-BE49-F238E27FC236}">
                  <a16:creationId xmlns:a16="http://schemas.microsoft.com/office/drawing/2014/main" id="{136A7024-A525-7EDB-199B-16B53CEF5B7A}"/>
                </a:ext>
              </a:extLst>
            </p:cNvPr>
            <p:cNvSpPr txBox="1"/>
            <p:nvPr/>
          </p:nvSpPr>
          <p:spPr>
            <a:xfrm>
              <a:off x="1321477" y="4447279"/>
              <a:ext cx="7178247" cy="788614"/>
            </a:xfrm>
            <a:prstGeom prst="rect">
              <a:avLst/>
            </a:prstGeom>
            <a:noFill/>
          </p:spPr>
          <p:txBody>
            <a:bodyPr wrap="none" lIns="0" tIns="0" rIns="0" bIns="0" rtlCol="0" anchor="t">
              <a:spAutoFit/>
            </a:bodyPr>
            <a:lstStyle/>
            <a:p>
              <a:pPr>
                <a:lnSpc>
                  <a:spcPct val="120000"/>
                </a:lnSpc>
                <a:spcAft>
                  <a:spcPts val="1500"/>
                </a:spcAft>
              </a:pPr>
              <a:r>
                <a:rPr lang="ja-JP" altLang="en-US" sz="2200" spc="50" dirty="0">
                  <a:latin typeface="+mj-ea"/>
                  <a:ea typeface="+mj-ea"/>
                  <a:hlinkClick r:id="rId8"/>
                </a:rPr>
                <a:t>「上手にネットと付き合おう！</a:t>
              </a:r>
              <a:br>
                <a:rPr lang="en-US" altLang="ja-JP" sz="2200" spc="50" dirty="0">
                  <a:latin typeface="+mj-ea"/>
                  <a:ea typeface="+mj-ea"/>
                </a:rPr>
              </a:br>
              <a:r>
                <a:rPr lang="ja-JP" altLang="en-US" sz="2200" spc="50" dirty="0">
                  <a:latin typeface="+mj-ea"/>
                  <a:ea typeface="+mj-ea"/>
                  <a:hlinkClick r:id="rId8"/>
                </a:rPr>
                <a:t>～安心・安全なインターネット利用ガイド～」</a:t>
              </a:r>
              <a:r>
                <a:rPr lang="en-US" altLang="ja-JP" sz="2200" spc="50" dirty="0">
                  <a:latin typeface="+mj-ea"/>
                  <a:ea typeface="+mj-ea"/>
                </a:rPr>
                <a:t>(</a:t>
              </a:r>
              <a:r>
                <a:rPr lang="ja-JP" altLang="en-US" sz="2200" spc="50" dirty="0">
                  <a:latin typeface="+mj-ea"/>
                  <a:ea typeface="+mj-ea"/>
                </a:rPr>
                <a:t>総務省</a:t>
              </a:r>
              <a:r>
                <a:rPr lang="en-US" altLang="ja-JP" sz="2200" spc="50" dirty="0">
                  <a:latin typeface="+mj-ea"/>
                  <a:ea typeface="+mj-ea"/>
                </a:rPr>
                <a:t>)</a:t>
              </a:r>
            </a:p>
          </p:txBody>
        </p:sp>
        <p:sp>
          <p:nvSpPr>
            <p:cNvPr id="17" name="テキスト ボックス 16">
              <a:extLst>
                <a:ext uri="{FF2B5EF4-FFF2-40B4-BE49-F238E27FC236}">
                  <a16:creationId xmlns:a16="http://schemas.microsoft.com/office/drawing/2014/main" id="{AB1CD422-1CB7-5346-69D3-800F88A16FDF}"/>
                </a:ext>
              </a:extLst>
            </p:cNvPr>
            <p:cNvSpPr txBox="1"/>
            <p:nvPr/>
          </p:nvSpPr>
          <p:spPr>
            <a:xfrm>
              <a:off x="1321477" y="5387833"/>
              <a:ext cx="7290457" cy="1123384"/>
            </a:xfrm>
            <a:prstGeom prst="rect">
              <a:avLst/>
            </a:prstGeom>
            <a:noFill/>
          </p:spPr>
          <p:txBody>
            <a:bodyPr wrap="none" lIns="0" tIns="0" rIns="0" bIns="0" rtlCol="0" anchor="t">
              <a:spAutoFit/>
            </a:bodyPr>
            <a:lstStyle/>
            <a:p>
              <a:pPr>
                <a:spcAft>
                  <a:spcPts val="600"/>
                </a:spcAft>
              </a:pPr>
              <a:r>
                <a:rPr lang="ja-JP" altLang="en-US" sz="1600" dirty="0">
                  <a:latin typeface="+mn-ea"/>
                  <a:sym typeface="Trebuchet MS" panose="020B0603020202020204" pitchFamily="34" charset="0"/>
                </a:rPr>
                <a:t>安全なインターネット利用に関する様々なコンテンツを公開</a:t>
              </a:r>
              <a:endParaRPr lang="en-US" altLang="ja-JP" sz="1400" dirty="0">
                <a:latin typeface="+mn-ea"/>
                <a:sym typeface="Trebuchet MS" panose="020B0603020202020204" pitchFamily="34" charset="0"/>
              </a:endParaRPr>
            </a:p>
            <a:p>
              <a:pPr marL="216000" indent="-216000">
                <a:spcAft>
                  <a:spcPts val="600"/>
                </a:spcAft>
                <a:buClr>
                  <a:schemeClr val="accent2"/>
                </a:buClr>
                <a:buFont typeface="Wingdings" panose="05000000000000000000" pitchFamily="2" charset="2"/>
                <a:buChar char="l"/>
              </a:pPr>
              <a:r>
                <a:rPr lang="ja-JP" altLang="en-US" sz="1400" dirty="0">
                  <a:solidFill>
                    <a:schemeClr val="accent1"/>
                  </a:solidFill>
                  <a:latin typeface="+mn-ea"/>
                  <a:sym typeface="Trebuchet MS" panose="020B0603020202020204" pitchFamily="34" charset="0"/>
                  <a:hlinkClick r:id="rId9">
                    <a:extLst>
                      <a:ext uri="{A12FA001-AC4F-418D-AE19-62706E023703}">
                        <ahyp:hlinkClr xmlns:ahyp="http://schemas.microsoft.com/office/drawing/2018/hyperlinkcolor" val="tx"/>
                      </a:ext>
                    </a:extLst>
                  </a:hlinkClick>
                </a:rPr>
                <a:t>「インターネットトラブル事例集」</a:t>
              </a:r>
              <a:endParaRPr lang="en-US" altLang="ja-JP" sz="1400" dirty="0">
                <a:solidFill>
                  <a:schemeClr val="accent1"/>
                </a:solidFill>
                <a:latin typeface="+mn-ea"/>
                <a:sym typeface="Trebuchet MS" panose="020B0603020202020204" pitchFamily="34" charset="0"/>
              </a:endParaRPr>
            </a:p>
            <a:p>
              <a:pPr marL="216000" indent="-216000">
                <a:spcAft>
                  <a:spcPts val="600"/>
                </a:spcAft>
                <a:buClr>
                  <a:schemeClr val="accent2"/>
                </a:buClr>
                <a:buFont typeface="Wingdings" panose="05000000000000000000" pitchFamily="2" charset="2"/>
                <a:buChar char="l"/>
              </a:pPr>
              <a:r>
                <a:rPr lang="ja-JP" altLang="en-US" sz="1400" dirty="0">
                  <a:solidFill>
                    <a:schemeClr val="accent1"/>
                  </a:solidFill>
                  <a:latin typeface="+mn-ea"/>
                  <a:sym typeface="Trebuchet MS" panose="020B0603020202020204" pitchFamily="34" charset="0"/>
                  <a:hlinkClick r:id="rId10">
                    <a:extLst>
                      <a:ext uri="{A12FA001-AC4F-418D-AE19-62706E023703}">
                        <ahyp:hlinkClr xmlns:ahyp="http://schemas.microsoft.com/office/drawing/2018/hyperlinkcolor" val="tx"/>
                      </a:ext>
                    </a:extLst>
                  </a:hlinkClick>
                </a:rPr>
                <a:t>啓発教育教材「インターネットとの向き合い方～ニセ・誤情報に騙されないために～」</a:t>
              </a:r>
              <a:endParaRPr lang="en-US" altLang="ja-JP" sz="1400" dirty="0">
                <a:solidFill>
                  <a:schemeClr val="accent1"/>
                </a:solidFill>
                <a:latin typeface="+mn-ea"/>
                <a:sym typeface="Trebuchet MS" panose="020B0603020202020204" pitchFamily="34" charset="0"/>
              </a:endParaRPr>
            </a:p>
            <a:p>
              <a:pPr marL="216000" indent="-216000">
                <a:spcAft>
                  <a:spcPts val="600"/>
                </a:spcAft>
                <a:buClr>
                  <a:schemeClr val="accent2"/>
                </a:buClr>
                <a:buFont typeface="Wingdings" panose="05000000000000000000" pitchFamily="2" charset="2"/>
                <a:buChar char="l"/>
              </a:pPr>
              <a:r>
                <a:rPr lang="ja-JP" altLang="en-US" sz="1400" u="sng" dirty="0">
                  <a:solidFill>
                    <a:schemeClr val="accent1"/>
                  </a:solidFill>
                  <a:latin typeface="+mn-ea"/>
                  <a:hlinkClick r:id="rId11">
                    <a:extLst>
                      <a:ext uri="{A12FA001-AC4F-418D-AE19-62706E023703}">
                        <ahyp:hlinkClr xmlns:ahyp="http://schemas.microsoft.com/office/drawing/2018/hyperlinkcolor" val="tx"/>
                      </a:ext>
                    </a:extLst>
                  </a:hlinkClick>
                </a:rPr>
                <a:t>家庭で学ぶデジタル・シティズンシップ</a:t>
              </a:r>
              <a:endParaRPr kumimoji="1" lang="en-US" altLang="ja-JP" sz="1400" dirty="0">
                <a:solidFill>
                  <a:schemeClr val="accent1"/>
                </a:solidFill>
                <a:latin typeface="+mn-ea"/>
                <a:sym typeface="Trebuchet MS" panose="020B0603020202020204" pitchFamily="34" charset="0"/>
              </a:endParaRPr>
            </a:p>
          </p:txBody>
        </p:sp>
        <p:sp>
          <p:nvSpPr>
            <p:cNvPr id="104" name="フリーフォーム: 図形 103">
              <a:extLst>
                <a:ext uri="{FF2B5EF4-FFF2-40B4-BE49-F238E27FC236}">
                  <a16:creationId xmlns:a16="http://schemas.microsoft.com/office/drawing/2014/main" id="{2B3B2F91-D52E-00CF-17DE-32F8E06739E5}"/>
                </a:ext>
              </a:extLst>
            </p:cNvPr>
            <p:cNvSpPr/>
            <p:nvPr/>
          </p:nvSpPr>
          <p:spPr>
            <a:xfrm>
              <a:off x="1122312" y="3927338"/>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grpSp>
      <p:grpSp>
        <p:nvGrpSpPr>
          <p:cNvPr id="121" name="グループ化 120">
            <a:extLst>
              <a:ext uri="{FF2B5EF4-FFF2-40B4-BE49-F238E27FC236}">
                <a16:creationId xmlns:a16="http://schemas.microsoft.com/office/drawing/2014/main" id="{3F696C96-E836-2982-FEBD-CB3CE72E561D}"/>
              </a:ext>
            </a:extLst>
          </p:cNvPr>
          <p:cNvGrpSpPr/>
          <p:nvPr/>
        </p:nvGrpSpPr>
        <p:grpSpPr>
          <a:xfrm>
            <a:off x="881613" y="1371172"/>
            <a:ext cx="8241978" cy="2387046"/>
            <a:chOff x="881613" y="1371172"/>
            <a:chExt cx="8241978" cy="2387046"/>
          </a:xfrm>
        </p:grpSpPr>
        <p:sp>
          <p:nvSpPr>
            <p:cNvPr id="120" name="四角形: 角を丸くする 119">
              <a:extLst>
                <a:ext uri="{FF2B5EF4-FFF2-40B4-BE49-F238E27FC236}">
                  <a16:creationId xmlns:a16="http://schemas.microsoft.com/office/drawing/2014/main" id="{67257132-2D02-AD2E-161F-6456285C81E1}"/>
                </a:ext>
              </a:extLst>
            </p:cNvPr>
            <p:cNvSpPr/>
            <p:nvPr/>
          </p:nvSpPr>
          <p:spPr>
            <a:xfrm>
              <a:off x="881613" y="1444500"/>
              <a:ext cx="8100000" cy="2313718"/>
            </a:xfrm>
            <a:prstGeom prst="roundRect">
              <a:avLst>
                <a:gd name="adj" fmla="val 4117"/>
              </a:avLst>
            </a:prstGeom>
            <a:solidFill>
              <a:schemeClr val="bg1"/>
            </a:solidFill>
            <a:ln w="38100">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endParaRPr kumimoji="1" lang="ja-JP" altLang="en-US"/>
            </a:p>
          </p:txBody>
        </p:sp>
        <p:sp>
          <p:nvSpPr>
            <p:cNvPr id="110" name="テキスト ボックス 109">
              <a:extLst>
                <a:ext uri="{FF2B5EF4-FFF2-40B4-BE49-F238E27FC236}">
                  <a16:creationId xmlns:a16="http://schemas.microsoft.com/office/drawing/2014/main" id="{9FABC68A-07E9-E94D-AA6E-DD99774127EA}"/>
                </a:ext>
              </a:extLst>
            </p:cNvPr>
            <p:cNvSpPr txBox="1"/>
            <p:nvPr/>
          </p:nvSpPr>
          <p:spPr>
            <a:xfrm>
              <a:off x="1103767" y="2005885"/>
              <a:ext cx="8019824" cy="417102"/>
            </a:xfrm>
            <a:prstGeom prst="rect">
              <a:avLst/>
            </a:prstGeom>
            <a:noFill/>
          </p:spPr>
          <p:txBody>
            <a:bodyPr wrap="none" lIns="0" tIns="0" rIns="0" bIns="0" rtlCol="0" anchor="t">
              <a:spAutoFit/>
            </a:bodyPr>
            <a:lstStyle/>
            <a:p>
              <a:pPr>
                <a:lnSpc>
                  <a:spcPct val="120000"/>
                </a:lnSpc>
                <a:spcAft>
                  <a:spcPts val="1500"/>
                </a:spcAft>
              </a:pPr>
              <a:r>
                <a:rPr lang="ja-JP" altLang="en-US" sz="2400" spc="-150" dirty="0">
                  <a:latin typeface="+mj-ea"/>
                  <a:ea typeface="+mj-ea"/>
                  <a:hlinkClick r:id="rId12"/>
                </a:rPr>
                <a:t>「</a:t>
              </a:r>
              <a:r>
                <a:rPr lang="en-US" altLang="ja-JP" sz="2400" spc="-150" dirty="0">
                  <a:latin typeface="+mj-ea"/>
                  <a:ea typeface="+mj-ea"/>
                  <a:hlinkClick r:id="rId12"/>
                </a:rPr>
                <a:t>AI</a:t>
              </a:r>
              <a:r>
                <a:rPr lang="ja-JP" altLang="en-US" sz="2400" spc="-150" dirty="0">
                  <a:latin typeface="+mj-ea"/>
                  <a:ea typeface="+mj-ea"/>
                  <a:hlinkClick r:id="rId12"/>
                </a:rPr>
                <a:t>事業者ガイドライン第</a:t>
              </a:r>
              <a:r>
                <a:rPr lang="en-US" altLang="ja-JP" sz="2400" spc="-150" dirty="0">
                  <a:latin typeface="+mj-ea"/>
                  <a:ea typeface="+mj-ea"/>
                  <a:hlinkClick r:id="rId12"/>
                </a:rPr>
                <a:t>1.0</a:t>
              </a:r>
              <a:r>
                <a:rPr lang="ja-JP" altLang="en-US" sz="2400" spc="-150" dirty="0">
                  <a:latin typeface="+mj-ea"/>
                  <a:ea typeface="+mj-ea"/>
                  <a:hlinkClick r:id="rId12"/>
                </a:rPr>
                <a:t>版</a:t>
              </a:r>
              <a:r>
                <a:rPr lang="en-US" altLang="ja-JP" sz="2400" spc="-150" dirty="0">
                  <a:latin typeface="+mj-ea"/>
                  <a:ea typeface="+mj-ea"/>
                  <a:hlinkClick r:id="rId12"/>
                </a:rPr>
                <a:t>(</a:t>
              </a:r>
              <a:r>
                <a:rPr lang="ja-JP" altLang="en-US" sz="2400" spc="-150" dirty="0">
                  <a:latin typeface="+mj-ea"/>
                  <a:ea typeface="+mj-ea"/>
                  <a:hlinkClick r:id="rId12"/>
                </a:rPr>
                <a:t>案</a:t>
              </a:r>
              <a:r>
                <a:rPr lang="en-US" altLang="ja-JP" sz="2400" spc="-150" dirty="0">
                  <a:latin typeface="+mj-ea"/>
                  <a:ea typeface="+mj-ea"/>
                  <a:hlinkClick r:id="rId12"/>
                </a:rPr>
                <a:t>)</a:t>
              </a:r>
              <a:r>
                <a:rPr lang="ja-JP" altLang="en-US" sz="2400" spc="-150" dirty="0">
                  <a:latin typeface="+mj-ea"/>
                  <a:ea typeface="+mj-ea"/>
                  <a:hlinkClick r:id="rId12"/>
                </a:rPr>
                <a:t>」</a:t>
              </a:r>
              <a:r>
                <a:rPr lang="en-US" altLang="ja-JP" sz="2400" spc="-150" dirty="0">
                  <a:latin typeface="+mj-ea"/>
                  <a:ea typeface="+mj-ea"/>
                </a:rPr>
                <a:t>(</a:t>
              </a:r>
              <a:r>
                <a:rPr lang="ja-JP" altLang="en-US" sz="2400" spc="-150" dirty="0">
                  <a:latin typeface="+mj-ea"/>
                  <a:ea typeface="+mj-ea"/>
                </a:rPr>
                <a:t>総務省・経済産業省</a:t>
              </a:r>
              <a:r>
                <a:rPr lang="en-US" altLang="ja-JP" sz="2400" spc="-150" dirty="0">
                  <a:latin typeface="+mj-ea"/>
                  <a:ea typeface="+mj-ea"/>
                </a:rPr>
                <a:t>)</a:t>
              </a:r>
            </a:p>
          </p:txBody>
        </p:sp>
        <p:sp>
          <p:nvSpPr>
            <p:cNvPr id="111" name="テキスト ボックス 110">
              <a:extLst>
                <a:ext uri="{FF2B5EF4-FFF2-40B4-BE49-F238E27FC236}">
                  <a16:creationId xmlns:a16="http://schemas.microsoft.com/office/drawing/2014/main" id="{63E5D839-0337-A558-8D99-3D918CF34F13}"/>
                </a:ext>
              </a:extLst>
            </p:cNvPr>
            <p:cNvSpPr txBox="1"/>
            <p:nvPr/>
          </p:nvSpPr>
          <p:spPr>
            <a:xfrm>
              <a:off x="1321477" y="2583907"/>
              <a:ext cx="6702156" cy="312843"/>
            </a:xfrm>
            <a:prstGeom prst="rect">
              <a:avLst/>
            </a:prstGeom>
            <a:noFill/>
          </p:spPr>
          <p:txBody>
            <a:bodyPr wrap="none" lIns="0" tIns="0" rIns="0" bIns="0" rtlCol="0" anchor="t">
              <a:spAutoFit/>
            </a:bodyPr>
            <a:lstStyle/>
            <a:p>
              <a:pPr>
                <a:lnSpc>
                  <a:spcPct val="120000"/>
                </a:lnSpc>
                <a:spcAft>
                  <a:spcPts val="600"/>
                </a:spcAft>
              </a:pPr>
              <a:r>
                <a:rPr lang="ja-JP" altLang="en-US" sz="1800" dirty="0">
                  <a:latin typeface="+mn-ea"/>
                  <a:sym typeface="Trebuchet MS" panose="020B0603020202020204" pitchFamily="34" charset="0"/>
                </a:rPr>
                <a:t>事業活動において</a:t>
              </a:r>
              <a:r>
                <a:rPr lang="en-US" altLang="ja-JP" sz="1800" dirty="0">
                  <a:latin typeface="+mn-ea"/>
                  <a:sym typeface="Trebuchet MS" panose="020B0603020202020204" pitchFamily="34" charset="0"/>
                </a:rPr>
                <a:t>AI</a:t>
              </a:r>
              <a:r>
                <a:rPr lang="ja-JP" altLang="en-US" sz="1800" dirty="0">
                  <a:latin typeface="+mn-ea"/>
                  <a:sym typeface="Trebuchet MS" panose="020B0603020202020204" pitchFamily="34" charset="0"/>
                </a:rPr>
                <a:t>を活用する事業者を対象としたガイドライン</a:t>
              </a:r>
            </a:p>
          </p:txBody>
        </p:sp>
        <p:sp>
          <p:nvSpPr>
            <p:cNvPr id="108" name="フリーフォーム: 図形 107">
              <a:extLst>
                <a:ext uri="{FF2B5EF4-FFF2-40B4-BE49-F238E27FC236}">
                  <a16:creationId xmlns:a16="http://schemas.microsoft.com/office/drawing/2014/main" id="{83293057-B8BA-E652-CDDA-2E0AF00DC3D0}"/>
                </a:ext>
              </a:extLst>
            </p:cNvPr>
            <p:cNvSpPr/>
            <p:nvPr/>
          </p:nvSpPr>
          <p:spPr>
            <a:xfrm>
              <a:off x="1132439" y="1371172"/>
              <a:ext cx="356304" cy="431661"/>
            </a:xfrm>
            <a:custGeom>
              <a:avLst/>
              <a:gdLst>
                <a:gd name="connsiteX0" fmla="*/ 0 w 424968"/>
                <a:gd name="connsiteY0" fmla="*/ 0 h 586063"/>
                <a:gd name="connsiteX1" fmla="*/ 424463 w 424968"/>
                <a:gd name="connsiteY1" fmla="*/ 0 h 586063"/>
                <a:gd name="connsiteX2" fmla="*/ 424463 w 424968"/>
                <a:gd name="connsiteY2" fmla="*/ 404710 h 586063"/>
                <a:gd name="connsiteX3" fmla="*/ 424968 w 424968"/>
                <a:gd name="connsiteY3" fmla="*/ 404710 h 586063"/>
                <a:gd name="connsiteX4" fmla="*/ 424968 w 424968"/>
                <a:gd name="connsiteY4" fmla="*/ 554542 h 586063"/>
                <a:gd name="connsiteX5" fmla="*/ 405214 w 424968"/>
                <a:gd name="connsiteY5" fmla="*/ 583649 h 586063"/>
                <a:gd name="connsiteX6" fmla="*/ 370331 w 424968"/>
                <a:gd name="connsiteY6" fmla="*/ 576823 h 586063"/>
                <a:gd name="connsiteX7" fmla="*/ 235348 w 424968"/>
                <a:gd name="connsiteY7" fmla="*/ 443891 h 586063"/>
                <a:gd name="connsiteX8" fmla="*/ 190102 w 424968"/>
                <a:gd name="connsiteY8" fmla="*/ 443891 h 586063"/>
                <a:gd name="connsiteX9" fmla="*/ 55139 w 424968"/>
                <a:gd name="connsiteY9" fmla="*/ 576823 h 586063"/>
                <a:gd name="connsiteX10" fmla="*/ 20259 w 424968"/>
                <a:gd name="connsiteY10" fmla="*/ 583649 h 586063"/>
                <a:gd name="connsiteX11" fmla="*/ 503 w 424968"/>
                <a:gd name="connsiteY11" fmla="*/ 554542 h 586063"/>
                <a:gd name="connsiteX12" fmla="*/ 503 w 424968"/>
                <a:gd name="connsiteY12" fmla="*/ 408583 h 586063"/>
                <a:gd name="connsiteX13" fmla="*/ 0 w 424968"/>
                <a:gd name="connsiteY13" fmla="*/ 408583 h 586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424968" h="586063">
                  <a:moveTo>
                    <a:pt x="0" y="0"/>
                  </a:moveTo>
                  <a:lnTo>
                    <a:pt x="424463" y="0"/>
                  </a:lnTo>
                  <a:lnTo>
                    <a:pt x="424463" y="404710"/>
                  </a:lnTo>
                  <a:lnTo>
                    <a:pt x="424968" y="404710"/>
                  </a:lnTo>
                  <a:lnTo>
                    <a:pt x="424968" y="554542"/>
                  </a:lnTo>
                  <a:cubicBezTo>
                    <a:pt x="424968" y="567326"/>
                    <a:pt x="417201" y="578756"/>
                    <a:pt x="405214" y="583649"/>
                  </a:cubicBezTo>
                  <a:cubicBezTo>
                    <a:pt x="393202" y="588540"/>
                    <a:pt x="379521" y="585851"/>
                    <a:pt x="370331" y="576823"/>
                  </a:cubicBezTo>
                  <a:lnTo>
                    <a:pt x="235348" y="443891"/>
                  </a:lnTo>
                  <a:cubicBezTo>
                    <a:pt x="222840" y="431595"/>
                    <a:pt x="202610" y="431595"/>
                    <a:pt x="190102" y="443891"/>
                  </a:cubicBezTo>
                  <a:lnTo>
                    <a:pt x="55139" y="576823"/>
                  </a:lnTo>
                  <a:cubicBezTo>
                    <a:pt x="45950" y="585872"/>
                    <a:pt x="32269" y="588540"/>
                    <a:pt x="20259" y="583649"/>
                  </a:cubicBezTo>
                  <a:cubicBezTo>
                    <a:pt x="8270" y="578756"/>
                    <a:pt x="503" y="567326"/>
                    <a:pt x="503" y="554542"/>
                  </a:cubicBezTo>
                  <a:lnTo>
                    <a:pt x="503" y="408583"/>
                  </a:lnTo>
                  <a:lnTo>
                    <a:pt x="0" y="408583"/>
                  </a:lnTo>
                  <a:close/>
                </a:path>
              </a:pathLst>
            </a:custGeom>
            <a:solidFill>
              <a:schemeClr val="accent2"/>
            </a:solidFill>
            <a:ln w="38100" cap="rnd">
              <a:noFill/>
              <a:round/>
            </a:ln>
          </p:spPr>
          <p:style>
            <a:lnRef idx="2">
              <a:schemeClr val="accent1">
                <a:shade val="50000"/>
              </a:schemeClr>
            </a:lnRef>
            <a:fillRef idx="1">
              <a:schemeClr val="accent1"/>
            </a:fillRef>
            <a:effectRef idx="0">
              <a:schemeClr val="accent1"/>
            </a:effectRef>
            <a:fontRef idx="minor">
              <a:schemeClr val="lt1"/>
            </a:fontRef>
          </p:style>
          <p:txBody>
            <a:bodyPr wrap="square" rtlCol="0" anchor="ctr">
              <a:noAutofit/>
            </a:bodyPr>
            <a:lstStyle/>
            <a:p>
              <a:pPr algn="ctr"/>
              <a:endParaRPr kumimoji="1" lang="ja-JP" altLang="en-US" sz="2400" dirty="0">
                <a:solidFill>
                  <a:schemeClr val="bg1"/>
                </a:solidFill>
              </a:endParaRPr>
            </a:p>
          </p:txBody>
        </p:sp>
      </p:grpSp>
      <p:sp>
        <p:nvSpPr>
          <p:cNvPr id="40" name="テキスト ボックス 39">
            <a:extLst>
              <a:ext uri="{FF2B5EF4-FFF2-40B4-BE49-F238E27FC236}">
                <a16:creationId xmlns:a16="http://schemas.microsoft.com/office/drawing/2014/main" id="{F90CD471-48AE-422C-8511-2E45551AFD5A}"/>
              </a:ext>
            </a:extLst>
          </p:cNvPr>
          <p:cNvSpPr txBox="1"/>
          <p:nvPr/>
        </p:nvSpPr>
        <p:spPr>
          <a:xfrm>
            <a:off x="1738126" y="3089903"/>
            <a:ext cx="5737148" cy="501869"/>
          </a:xfrm>
          <a:prstGeom prst="rect">
            <a:avLst/>
          </a:prstGeom>
          <a:noFill/>
        </p:spPr>
        <p:txBody>
          <a:bodyPr wrap="none" lIns="0" tIns="0" rIns="0" bIns="0" rtlCol="0" anchor="t">
            <a:spAutoFit/>
          </a:bodyPr>
          <a:lstStyle/>
          <a:p>
            <a:pPr>
              <a:lnSpc>
                <a:spcPct val="120000"/>
              </a:lnSpc>
              <a:spcAft>
                <a:spcPts val="600"/>
              </a:spcAft>
            </a:pPr>
            <a:r>
              <a:rPr lang="ja-JP" altLang="en-US" sz="1400" dirty="0">
                <a:latin typeface="+mn-ea"/>
                <a:sym typeface="Trebuchet MS" panose="020B0603020202020204" pitchFamily="34" charset="0"/>
              </a:rPr>
              <a:t>　　</a:t>
            </a:r>
            <a:r>
              <a:rPr lang="en-US" altLang="ja-JP" sz="1400" dirty="0">
                <a:latin typeface="+mn-ea"/>
                <a:sym typeface="Trebuchet MS" panose="020B0603020202020204" pitchFamily="34" charset="0"/>
              </a:rPr>
              <a:t>※AI</a:t>
            </a:r>
            <a:r>
              <a:rPr lang="ja-JP" altLang="en-US" sz="1400" dirty="0">
                <a:latin typeface="+mn-ea"/>
                <a:sym typeface="Trebuchet MS" panose="020B0603020202020204" pitchFamily="34" charset="0"/>
              </a:rPr>
              <a:t>ネットワーク社会推進会議等での議論結果も踏まえ、</a:t>
            </a:r>
            <a:br>
              <a:rPr lang="en-US" altLang="ja-JP" sz="1400" dirty="0">
                <a:latin typeface="+mn-ea"/>
                <a:sym typeface="Trebuchet MS" panose="020B0603020202020204" pitchFamily="34" charset="0"/>
              </a:rPr>
            </a:br>
            <a:r>
              <a:rPr lang="ja-JP" altLang="en-US" sz="1400" dirty="0">
                <a:latin typeface="+mn-ea"/>
                <a:sym typeface="Trebuchet MS" panose="020B0603020202020204" pitchFamily="34" charset="0"/>
              </a:rPr>
              <a:t>　　　後日「</a:t>
            </a:r>
            <a:r>
              <a:rPr lang="en-US" altLang="ja-JP" sz="1400" dirty="0">
                <a:latin typeface="+mn-ea"/>
                <a:sym typeface="Trebuchet MS" panose="020B0603020202020204" pitchFamily="34" charset="0"/>
              </a:rPr>
              <a:t>AI</a:t>
            </a:r>
            <a:r>
              <a:rPr lang="ja-JP" altLang="en-US" sz="1400" dirty="0">
                <a:latin typeface="+mn-ea"/>
                <a:sym typeface="Trebuchet MS" panose="020B0603020202020204" pitchFamily="34" charset="0"/>
              </a:rPr>
              <a:t>事業者ガイドライン第</a:t>
            </a:r>
            <a:r>
              <a:rPr lang="en-US" altLang="ja-JP" sz="1400" dirty="0">
                <a:latin typeface="+mn-ea"/>
                <a:sym typeface="Trebuchet MS" panose="020B0603020202020204" pitchFamily="34" charset="0"/>
              </a:rPr>
              <a:t>1.0</a:t>
            </a:r>
            <a:r>
              <a:rPr lang="ja-JP" altLang="en-US" sz="1400" dirty="0">
                <a:latin typeface="+mn-ea"/>
                <a:sym typeface="Trebuchet MS" panose="020B0603020202020204" pitchFamily="34" charset="0"/>
              </a:rPr>
              <a:t>版」として両省</a:t>
            </a:r>
            <a:r>
              <a:rPr lang="en-US" altLang="ja-JP" sz="1400" dirty="0">
                <a:latin typeface="+mn-ea"/>
                <a:sym typeface="Trebuchet MS" panose="020B0603020202020204" pitchFamily="34" charset="0"/>
              </a:rPr>
              <a:t>HP</a:t>
            </a:r>
            <a:r>
              <a:rPr lang="ja-JP" altLang="en-US" sz="1400" dirty="0">
                <a:latin typeface="+mn-ea"/>
                <a:sym typeface="Trebuchet MS" panose="020B0603020202020204" pitchFamily="34" charset="0"/>
              </a:rPr>
              <a:t>に公表予定</a:t>
            </a:r>
          </a:p>
        </p:txBody>
      </p:sp>
    </p:spTree>
    <p:extLst>
      <p:ext uri="{BB962C8B-B14F-4D97-AF65-F5344CB8AC3E}">
        <p14:creationId xmlns:p14="http://schemas.microsoft.com/office/powerpoint/2010/main" val="1491518015"/>
      </p:ext>
    </p:extLst>
  </p:cSld>
  <p:clrMapOvr>
    <a:masterClrMapping/>
  </p:clrMapOvr>
</p:sld>
</file>

<file path=ppt/slides/slide7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6" name="スライド番号プレースホルダー 1085">
            <a:extLst>
              <a:ext uri="{FF2B5EF4-FFF2-40B4-BE49-F238E27FC236}">
                <a16:creationId xmlns:a16="http://schemas.microsoft.com/office/drawing/2014/main" id="{196C5EEA-3FC2-FAC5-768E-5AD99380B7C1}"/>
              </a:ext>
            </a:extLst>
          </p:cNvPr>
          <p:cNvSpPr>
            <a:spLocks noGrp="1"/>
          </p:cNvSpPr>
          <p:nvPr>
            <p:ph type="sldNum" sz="quarter" idx="11"/>
          </p:nvPr>
        </p:nvSpPr>
        <p:spPr>
          <a:xfrm>
            <a:off x="17695002" y="9786651"/>
            <a:ext cx="327013" cy="307777"/>
          </a:xfrm>
        </p:spPr>
        <p:txBody>
          <a:bodyPr/>
          <a:lstStyle/>
          <a:p>
            <a:r>
              <a:rPr lang="en-US" altLang="ja-JP" dirty="0"/>
              <a:t>75</a:t>
            </a:r>
            <a:endParaRPr lang="ja-JP" altLang="en-US" dirty="0"/>
          </a:p>
        </p:txBody>
      </p:sp>
      <p:sp>
        <p:nvSpPr>
          <p:cNvPr id="12" name="タイトル 11">
            <a:extLst>
              <a:ext uri="{FF2B5EF4-FFF2-40B4-BE49-F238E27FC236}">
                <a16:creationId xmlns:a16="http://schemas.microsoft.com/office/drawing/2014/main" id="{CA5BE44B-9667-7EFB-0354-C4B227BF2EA2}"/>
              </a:ext>
            </a:extLst>
          </p:cNvPr>
          <p:cNvSpPr>
            <a:spLocks noGrp="1"/>
          </p:cNvSpPr>
          <p:nvPr>
            <p:ph type="title"/>
          </p:nvPr>
        </p:nvSpPr>
        <p:spPr>
          <a:xfrm>
            <a:off x="891741" y="506301"/>
            <a:ext cx="1692771" cy="492443"/>
          </a:xfrm>
        </p:spPr>
        <p:txBody>
          <a:bodyPr/>
          <a:lstStyle/>
          <a:p>
            <a:r>
              <a:rPr lang="ja-JP" altLang="en-US" dirty="0"/>
              <a:t>おわりに</a:t>
            </a:r>
          </a:p>
        </p:txBody>
      </p:sp>
      <p:sp>
        <p:nvSpPr>
          <p:cNvPr id="23" name="正方形/長方形 22">
            <a:extLst>
              <a:ext uri="{FF2B5EF4-FFF2-40B4-BE49-F238E27FC236}">
                <a16:creationId xmlns:a16="http://schemas.microsoft.com/office/drawing/2014/main" id="{41A2948B-F10A-D252-5AE6-75B6CD912790}"/>
              </a:ext>
            </a:extLst>
          </p:cNvPr>
          <p:cNvSpPr/>
          <p:nvPr/>
        </p:nvSpPr>
        <p:spPr>
          <a:xfrm>
            <a:off x="0" y="3013697"/>
            <a:ext cx="18288000" cy="4258019"/>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kumimoji="1" lang="ja-JP" altLang="en-US" dirty="0"/>
          </a:p>
        </p:txBody>
      </p:sp>
      <p:sp>
        <p:nvSpPr>
          <p:cNvPr id="24" name="テキスト ボックス 23">
            <a:extLst>
              <a:ext uri="{FF2B5EF4-FFF2-40B4-BE49-F238E27FC236}">
                <a16:creationId xmlns:a16="http://schemas.microsoft.com/office/drawing/2014/main" id="{10D97DA7-DC94-8813-A297-8332C44B02DA}"/>
              </a:ext>
            </a:extLst>
          </p:cNvPr>
          <p:cNvSpPr txBox="1"/>
          <p:nvPr/>
        </p:nvSpPr>
        <p:spPr>
          <a:xfrm>
            <a:off x="7192283" y="3882041"/>
            <a:ext cx="7918834" cy="2521331"/>
          </a:xfrm>
          <a:prstGeom prst="rect">
            <a:avLst/>
          </a:prstGeom>
          <a:noFill/>
        </p:spPr>
        <p:txBody>
          <a:bodyPr wrap="none" lIns="0" tIns="0" rIns="0" bIns="0" rtlCol="0" anchor="ctr">
            <a:spAutoFit/>
          </a:bodyPr>
          <a:lstStyle/>
          <a:p>
            <a:pPr>
              <a:lnSpc>
                <a:spcPct val="120000"/>
              </a:lnSpc>
              <a:spcAft>
                <a:spcPts val="1500"/>
              </a:spcAft>
            </a:pPr>
            <a:r>
              <a:rPr lang="ja-JP" altLang="en-US" sz="3200" spc="50" dirty="0">
                <a:latin typeface="+mn-ea"/>
              </a:rPr>
              <a:t>生成</a:t>
            </a:r>
            <a:r>
              <a:rPr lang="en-US" altLang="ja-JP" sz="3200" spc="50" dirty="0">
                <a:latin typeface="+mn-ea"/>
              </a:rPr>
              <a:t>AI</a:t>
            </a:r>
            <a:r>
              <a:rPr lang="ja-JP" altLang="en-US" sz="3200" spc="50" dirty="0">
                <a:latin typeface="+mn-ea"/>
              </a:rPr>
              <a:t>はさまざまな場面・目的で</a:t>
            </a:r>
            <a:br>
              <a:rPr lang="en-US" altLang="ja-JP" sz="3200" spc="50" dirty="0">
                <a:latin typeface="+mn-ea"/>
              </a:rPr>
            </a:br>
            <a:r>
              <a:rPr lang="ja-JP" altLang="en-US" sz="3200" spc="50" dirty="0">
                <a:latin typeface="+mn-ea"/>
              </a:rPr>
              <a:t>利用可能な便利なツールです。</a:t>
            </a:r>
          </a:p>
          <a:p>
            <a:pPr>
              <a:lnSpc>
                <a:spcPct val="120000"/>
              </a:lnSpc>
              <a:spcAft>
                <a:spcPts val="1500"/>
              </a:spcAft>
            </a:pPr>
            <a:r>
              <a:rPr lang="ja-JP" altLang="en-US" sz="3200" spc="50" dirty="0">
                <a:latin typeface="+mn-ea"/>
              </a:rPr>
              <a:t>このコンテンツで学んだことを踏まえて、</a:t>
            </a:r>
            <a:br>
              <a:rPr lang="en-US" altLang="ja-JP" sz="3200" spc="50" dirty="0">
                <a:latin typeface="+mn-ea"/>
              </a:rPr>
            </a:br>
            <a:r>
              <a:rPr lang="ja-JP" altLang="en-US" sz="3200" spc="50" dirty="0">
                <a:latin typeface="+mn-ea"/>
              </a:rPr>
              <a:t>ぜひ使いこなせるようになってください。</a:t>
            </a:r>
          </a:p>
        </p:txBody>
      </p:sp>
      <p:grpSp>
        <p:nvGrpSpPr>
          <p:cNvPr id="13" name="グループ化 12">
            <a:extLst>
              <a:ext uri="{FF2B5EF4-FFF2-40B4-BE49-F238E27FC236}">
                <a16:creationId xmlns:a16="http://schemas.microsoft.com/office/drawing/2014/main" id="{D213063C-48B5-9285-432C-8AFD6604CDBA}"/>
              </a:ext>
            </a:extLst>
          </p:cNvPr>
          <p:cNvGrpSpPr/>
          <p:nvPr/>
        </p:nvGrpSpPr>
        <p:grpSpPr>
          <a:xfrm>
            <a:off x="4691517" y="9418734"/>
            <a:ext cx="8673529" cy="521805"/>
            <a:chOff x="5113227" y="9187228"/>
            <a:chExt cx="8673529" cy="521805"/>
          </a:xfrm>
        </p:grpSpPr>
        <p:sp>
          <p:nvSpPr>
            <p:cNvPr id="2" name="テキスト ボックス 1">
              <a:extLst>
                <a:ext uri="{FF2B5EF4-FFF2-40B4-BE49-F238E27FC236}">
                  <a16:creationId xmlns:a16="http://schemas.microsoft.com/office/drawing/2014/main" id="{35698C8C-E298-C539-7172-FA54C09D5574}"/>
                </a:ext>
              </a:extLst>
            </p:cNvPr>
            <p:cNvSpPr txBox="1"/>
            <p:nvPr/>
          </p:nvSpPr>
          <p:spPr>
            <a:xfrm>
              <a:off x="6336815" y="9307971"/>
              <a:ext cx="5536772" cy="369332"/>
            </a:xfrm>
            <a:prstGeom prst="rect">
              <a:avLst/>
            </a:prstGeom>
            <a:noFill/>
          </p:spPr>
          <p:txBody>
            <a:bodyPr wrap="none" lIns="0" tIns="0" rIns="0" bIns="0" rtlCol="0" anchor="ctr">
              <a:spAutoFit/>
            </a:bodyPr>
            <a:lstStyle/>
            <a:p>
              <a:pPr>
                <a:spcAft>
                  <a:spcPts val="1500"/>
                </a:spcAft>
              </a:pPr>
              <a:r>
                <a:rPr lang="zh-TW" altLang="en-US" sz="2400" spc="50" dirty="0">
                  <a:latin typeface="+mn-ea"/>
                </a:rPr>
                <a:t>総務省 情報流通行政局 情報流通振興課</a:t>
              </a:r>
            </a:p>
          </p:txBody>
        </p:sp>
        <p:sp>
          <p:nvSpPr>
            <p:cNvPr id="3" name="四角形: 角を丸くする 2">
              <a:extLst>
                <a:ext uri="{FF2B5EF4-FFF2-40B4-BE49-F238E27FC236}">
                  <a16:creationId xmlns:a16="http://schemas.microsoft.com/office/drawing/2014/main" id="{9A480F52-7210-1CBD-1C18-7EA8FB0F0FB3}"/>
                </a:ext>
              </a:extLst>
            </p:cNvPr>
            <p:cNvSpPr/>
            <p:nvPr/>
          </p:nvSpPr>
          <p:spPr>
            <a:xfrm>
              <a:off x="5113227" y="9276241"/>
              <a:ext cx="977471" cy="432792"/>
            </a:xfrm>
            <a:prstGeom prst="roundRect">
              <a:avLst>
                <a:gd name="adj" fmla="val 50000"/>
              </a:avLst>
            </a:prstGeom>
            <a:solidFill>
              <a:schemeClr val="accent2"/>
            </a:solidFill>
            <a:ln>
              <a:noFill/>
            </a:ln>
          </p:spPr>
          <p:style>
            <a:lnRef idx="2">
              <a:schemeClr val="accent1">
                <a:shade val="15000"/>
              </a:schemeClr>
            </a:lnRef>
            <a:fillRef idx="1">
              <a:schemeClr val="accent1"/>
            </a:fillRef>
            <a:effectRef idx="0">
              <a:schemeClr val="accent1"/>
            </a:effectRef>
            <a:fontRef idx="minor">
              <a:schemeClr val="lt1"/>
            </a:fontRef>
          </p:style>
          <p:txBody>
            <a:bodyPr wrap="none" lIns="108000" tIns="0" rIns="108000" bIns="0" rtlCol="0" anchor="ctr">
              <a:spAutoFit/>
            </a:bodyPr>
            <a:lstStyle/>
            <a:p>
              <a:pPr algn="r"/>
              <a:r>
                <a:rPr kumimoji="1" lang="ja-JP" altLang="en-US" sz="2000" spc="100" dirty="0">
                  <a:solidFill>
                    <a:schemeClr val="bg1"/>
                  </a:solidFill>
                </a:rPr>
                <a:t>発 行</a:t>
              </a:r>
            </a:p>
          </p:txBody>
        </p:sp>
        <p:pic>
          <p:nvPicPr>
            <p:cNvPr id="9" name="グラフィックス 8">
              <a:extLst>
                <a:ext uri="{FF2B5EF4-FFF2-40B4-BE49-F238E27FC236}">
                  <a16:creationId xmlns:a16="http://schemas.microsoft.com/office/drawing/2014/main" id="{1E690A26-9AFF-0F2E-0516-1C8EBB53F01B}"/>
                </a:ext>
              </a:extLst>
            </p:cNvPr>
            <p:cNvPicPr>
              <a:picLocks noChangeAspect="1"/>
            </p:cNvPicPr>
            <p:nvPr/>
          </p:nvPicPr>
          <p:blipFill>
            <a:blip r:embed="rId3">
              <a:extLst>
                <a:ext uri="{96DAC541-7B7A-43D3-8B79-37D633B846F1}">
                  <asvg:svgBlip xmlns:asvg="http://schemas.microsoft.com/office/drawing/2016/SVG/main" r:embed="rId4"/>
                </a:ext>
              </a:extLst>
            </a:blip>
            <a:stretch>
              <a:fillRect/>
            </a:stretch>
          </p:blipFill>
          <p:spPr>
            <a:xfrm>
              <a:off x="12119704" y="9187228"/>
              <a:ext cx="1667052" cy="432792"/>
            </a:xfrm>
            <a:prstGeom prst="rect">
              <a:avLst/>
            </a:prstGeom>
          </p:spPr>
        </p:pic>
      </p:grpSp>
      <p:pic>
        <p:nvPicPr>
          <p:cNvPr id="30" name="図 29">
            <a:extLst>
              <a:ext uri="{FF2B5EF4-FFF2-40B4-BE49-F238E27FC236}">
                <a16:creationId xmlns:a16="http://schemas.microsoft.com/office/drawing/2014/main" id="{C6428F54-A8F2-D5C0-CE5A-B61A61333276}"/>
              </a:ext>
            </a:extLst>
          </p:cNvPr>
          <p:cNvPicPr>
            <a:picLocks noChangeAspect="1"/>
          </p:cNvPicPr>
          <p:nvPr/>
        </p:nvPicPr>
        <p:blipFill>
          <a:blip r:embed="rId5"/>
          <a:stretch>
            <a:fillRect/>
          </a:stretch>
        </p:blipFill>
        <p:spPr>
          <a:xfrm>
            <a:off x="1433683" y="2303923"/>
            <a:ext cx="4993057" cy="4395597"/>
          </a:xfrm>
          <a:prstGeom prst="rect">
            <a:avLst/>
          </a:prstGeom>
        </p:spPr>
      </p:pic>
      <p:pic>
        <p:nvPicPr>
          <p:cNvPr id="32" name="図 31">
            <a:extLst>
              <a:ext uri="{FF2B5EF4-FFF2-40B4-BE49-F238E27FC236}">
                <a16:creationId xmlns:a16="http://schemas.microsoft.com/office/drawing/2014/main" id="{6B8717FA-F57A-3CF3-EDD4-795E56D2B956}"/>
              </a:ext>
            </a:extLst>
          </p:cNvPr>
          <p:cNvPicPr>
            <a:picLocks noChangeAspect="1"/>
          </p:cNvPicPr>
          <p:nvPr/>
        </p:nvPicPr>
        <p:blipFill>
          <a:blip r:embed="rId6"/>
          <a:stretch>
            <a:fillRect/>
          </a:stretch>
        </p:blipFill>
        <p:spPr>
          <a:xfrm>
            <a:off x="14712339" y="5212377"/>
            <a:ext cx="2133785" cy="2737341"/>
          </a:xfrm>
          <a:prstGeom prst="rect">
            <a:avLst/>
          </a:prstGeom>
        </p:spPr>
      </p:pic>
    </p:spTree>
    <p:extLst>
      <p:ext uri="{BB962C8B-B14F-4D97-AF65-F5344CB8AC3E}">
        <p14:creationId xmlns:p14="http://schemas.microsoft.com/office/powerpoint/2010/main" val="272030294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 name="テキスト ボックス 13">
            <a:extLst>
              <a:ext uri="{FF2B5EF4-FFF2-40B4-BE49-F238E27FC236}">
                <a16:creationId xmlns:a16="http://schemas.microsoft.com/office/drawing/2014/main" id="{05459241-7EC4-0C3A-C826-D80E6F07A25B}"/>
              </a:ext>
            </a:extLst>
          </p:cNvPr>
          <p:cNvSpPr txBox="1"/>
          <p:nvPr/>
        </p:nvSpPr>
        <p:spPr>
          <a:xfrm>
            <a:off x="4532962" y="971458"/>
            <a:ext cx="9222076" cy="553998"/>
          </a:xfrm>
          <a:prstGeom prst="rect">
            <a:avLst/>
          </a:prstGeom>
          <a:noFill/>
        </p:spPr>
        <p:txBody>
          <a:bodyPr wrap="none" lIns="0" tIns="0" rIns="0" bIns="0" rtlCol="0" anchor="ctr">
            <a:spAutoFit/>
          </a:bodyPr>
          <a:lstStyle/>
          <a:p>
            <a:pPr algn="ctr"/>
            <a:r>
              <a:rPr kumimoji="1" lang="ja-JP" altLang="en-US" sz="3600" spc="100" dirty="0">
                <a:latin typeface="+mj-ea"/>
                <a:ea typeface="+mj-ea"/>
              </a:rPr>
              <a:t>生成</a:t>
            </a:r>
            <a:r>
              <a:rPr kumimoji="1" lang="en-US" altLang="ja-JP" sz="3600" spc="100" dirty="0">
                <a:latin typeface="+mj-ea"/>
                <a:ea typeface="+mj-ea"/>
              </a:rPr>
              <a:t>AI</a:t>
            </a:r>
            <a:r>
              <a:rPr kumimoji="1" lang="ja-JP" altLang="en-US" sz="3600" spc="100" dirty="0">
                <a:latin typeface="+mj-ea"/>
                <a:ea typeface="+mj-ea"/>
              </a:rPr>
              <a:t>（</a:t>
            </a:r>
            <a:r>
              <a:rPr kumimoji="1" lang="en-US" altLang="ja-JP" sz="3600" spc="100" dirty="0">
                <a:latin typeface="+mj-ea"/>
                <a:ea typeface="+mj-ea"/>
              </a:rPr>
              <a:t>ChatGPT</a:t>
            </a:r>
            <a:r>
              <a:rPr lang="ja-JP" altLang="en-US" sz="3600" spc="100" dirty="0">
                <a:latin typeface="+mj-ea"/>
                <a:ea typeface="+mj-ea"/>
              </a:rPr>
              <a:t>）</a:t>
            </a:r>
            <a:r>
              <a:rPr kumimoji="1" lang="ja-JP" altLang="en-US" sz="3600" spc="100" dirty="0">
                <a:latin typeface="+mj-ea"/>
                <a:ea typeface="+mj-ea"/>
              </a:rPr>
              <a:t>による生成</a:t>
            </a:r>
            <a:r>
              <a:rPr kumimoji="1" lang="en-US" altLang="ja-JP" sz="3600" spc="100" dirty="0">
                <a:latin typeface="+mj-ea"/>
                <a:ea typeface="+mj-ea"/>
              </a:rPr>
              <a:t>AI</a:t>
            </a:r>
            <a:r>
              <a:rPr kumimoji="1" lang="ja-JP" altLang="en-US" sz="3600" spc="100" dirty="0">
                <a:latin typeface="+mj-ea"/>
                <a:ea typeface="+mj-ea"/>
              </a:rPr>
              <a:t>の説明</a:t>
            </a:r>
            <a:endParaRPr kumimoji="1" lang="en-US" altLang="ja-JP" sz="3600" spc="100" dirty="0">
              <a:latin typeface="+mj-ea"/>
              <a:ea typeface="+mj-ea"/>
            </a:endParaRPr>
          </a:p>
        </p:txBody>
      </p:sp>
      <p:sp>
        <p:nvSpPr>
          <p:cNvPr id="1124" name="テキスト ボックス 1123">
            <a:extLst>
              <a:ext uri="{FF2B5EF4-FFF2-40B4-BE49-F238E27FC236}">
                <a16:creationId xmlns:a16="http://schemas.microsoft.com/office/drawing/2014/main" id="{E929FD0C-9B24-F8CF-08FE-FAB5A7692B1F}"/>
              </a:ext>
            </a:extLst>
          </p:cNvPr>
          <p:cNvSpPr txBox="1"/>
          <p:nvPr/>
        </p:nvSpPr>
        <p:spPr>
          <a:xfrm>
            <a:off x="372103" y="9832817"/>
            <a:ext cx="5336397" cy="215444"/>
          </a:xfrm>
          <a:prstGeom prst="rect">
            <a:avLst/>
          </a:prstGeom>
          <a:noFill/>
        </p:spPr>
        <p:txBody>
          <a:bodyPr wrap="none" lIns="0" tIns="0" rIns="0" bIns="0" rtlCol="0">
            <a:spAutoFit/>
          </a:bodyPr>
          <a:lstStyle/>
          <a:p>
            <a:pPr algn="l"/>
            <a:r>
              <a:rPr kumimoji="1" lang="en-US" altLang="ja-JP" sz="1400" spc="100" dirty="0">
                <a:solidFill>
                  <a:schemeClr val="tx2"/>
                </a:solidFill>
                <a:latin typeface="+mn-ea"/>
              </a:rPr>
              <a:t>Note: ChatGPT(GPT-4)</a:t>
            </a:r>
            <a:r>
              <a:rPr kumimoji="1" lang="ja-JP" altLang="en-US" sz="1400" spc="100" dirty="0">
                <a:solidFill>
                  <a:schemeClr val="tx2"/>
                </a:solidFill>
                <a:latin typeface="+mn-ea"/>
              </a:rPr>
              <a:t>との実際の会話から一部抜粋・加工</a:t>
            </a:r>
          </a:p>
        </p:txBody>
      </p:sp>
      <p:grpSp>
        <p:nvGrpSpPr>
          <p:cNvPr id="29" name="グループ化 28">
            <a:extLst>
              <a:ext uri="{FF2B5EF4-FFF2-40B4-BE49-F238E27FC236}">
                <a16:creationId xmlns:a16="http://schemas.microsoft.com/office/drawing/2014/main" id="{0D9870E3-FCF1-A545-3A5A-741D563B1D71}"/>
              </a:ext>
            </a:extLst>
          </p:cNvPr>
          <p:cNvGrpSpPr/>
          <p:nvPr/>
        </p:nvGrpSpPr>
        <p:grpSpPr>
          <a:xfrm>
            <a:off x="2557301" y="2249956"/>
            <a:ext cx="14543030" cy="947626"/>
            <a:chOff x="9606536" y="5027356"/>
            <a:chExt cx="11405927" cy="743212"/>
          </a:xfrm>
          <a:solidFill>
            <a:schemeClr val="bg1"/>
          </a:solidFill>
        </p:grpSpPr>
        <p:sp>
          <p:nvSpPr>
            <p:cNvPr id="31" name="フリーフォーム: 図形 30">
              <a:extLst>
                <a:ext uri="{FF2B5EF4-FFF2-40B4-BE49-F238E27FC236}">
                  <a16:creationId xmlns:a16="http://schemas.microsoft.com/office/drawing/2014/main" id="{46FED83A-3DCF-FCB6-65A0-F7C4A0731679}"/>
                </a:ext>
              </a:extLst>
            </p:cNvPr>
            <p:cNvSpPr/>
            <p:nvPr/>
          </p:nvSpPr>
          <p:spPr>
            <a:xfrm rot="18743112" flipV="1">
              <a:off x="9599926" y="5120917"/>
              <a:ext cx="442922" cy="429702"/>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20168" cap="flat">
              <a:noFill/>
              <a:prstDash val="solid"/>
              <a:miter/>
            </a:ln>
          </p:spPr>
          <p:txBody>
            <a:bodyPr wrap="square" lIns="0" tIns="0" rIns="0" bIns="72000" rtlCol="0" anchor="t">
              <a:noAutofit/>
            </a:bodyPr>
            <a:lstStyle/>
            <a:p>
              <a:pPr algn="ctr">
                <a:lnSpc>
                  <a:spcPct val="130000"/>
                </a:lnSpc>
              </a:pPr>
              <a:endParaRPr lang="ja-JP" altLang="en-US" sz="3000" dirty="0">
                <a:latin typeface="+mj-ea"/>
                <a:ea typeface="+mj-ea"/>
              </a:endParaRPr>
            </a:p>
          </p:txBody>
        </p:sp>
        <p:sp>
          <p:nvSpPr>
            <p:cNvPr id="32" name="四角形: 角を丸くする 31">
              <a:extLst>
                <a:ext uri="{FF2B5EF4-FFF2-40B4-BE49-F238E27FC236}">
                  <a16:creationId xmlns:a16="http://schemas.microsoft.com/office/drawing/2014/main" id="{78828CB2-B242-95E1-24EB-7AED8E98764A}"/>
                </a:ext>
              </a:extLst>
            </p:cNvPr>
            <p:cNvSpPr/>
            <p:nvPr/>
          </p:nvSpPr>
          <p:spPr>
            <a:xfrm flipH="1">
              <a:off x="9778695" y="5027356"/>
              <a:ext cx="11233768" cy="743212"/>
            </a:xfrm>
            <a:prstGeom prst="roundRect">
              <a:avLst>
                <a:gd name="adj" fmla="val 9039"/>
              </a:avLst>
            </a:prstGeom>
            <a:grpFill/>
            <a:ln w="20168" cap="flat">
              <a:noFill/>
              <a:prstDash val="solid"/>
              <a:miter/>
            </a:ln>
          </p:spPr>
          <p:txBody>
            <a:bodyPr wrap="square" lIns="360000" tIns="180000" rIns="360000" bIns="180000" rtlCol="0" anchor="t">
              <a:spAutoFit/>
            </a:bodyPr>
            <a:lstStyle/>
            <a:p>
              <a:pPr>
                <a:lnSpc>
                  <a:spcPct val="120000"/>
                </a:lnSpc>
              </a:pPr>
              <a:r>
                <a:rPr lang="ja-JP" altLang="en-US" sz="3000" dirty="0">
                  <a:latin typeface="+mj-ea"/>
                  <a:ea typeface="+mj-ea"/>
                </a:rPr>
                <a:t>生成</a:t>
              </a:r>
              <a:r>
                <a:rPr lang="en-US" altLang="ja-JP" sz="3000" dirty="0">
                  <a:latin typeface="+mj-ea"/>
                  <a:ea typeface="+mj-ea"/>
                </a:rPr>
                <a:t>AI</a:t>
              </a:r>
              <a:r>
                <a:rPr lang="ja-JP" altLang="en-US" sz="3000" dirty="0">
                  <a:latin typeface="+mj-ea"/>
                  <a:ea typeface="+mj-ea"/>
                </a:rPr>
                <a:t>とは何ですか？ 私は</a:t>
              </a:r>
              <a:r>
                <a:rPr lang="en-US" altLang="ja-JP" sz="3000" dirty="0">
                  <a:latin typeface="+mj-ea"/>
                  <a:ea typeface="+mj-ea"/>
                </a:rPr>
                <a:t>10</a:t>
              </a:r>
              <a:r>
                <a:rPr lang="ja-JP" altLang="en-US" sz="3000" dirty="0">
                  <a:latin typeface="+mj-ea"/>
                  <a:ea typeface="+mj-ea"/>
                </a:rPr>
                <a:t>歳の子供だと思って説明してください。</a:t>
              </a:r>
            </a:p>
          </p:txBody>
        </p:sp>
      </p:grpSp>
      <p:grpSp>
        <p:nvGrpSpPr>
          <p:cNvPr id="25" name="グループ化 24">
            <a:extLst>
              <a:ext uri="{FF2B5EF4-FFF2-40B4-BE49-F238E27FC236}">
                <a16:creationId xmlns:a16="http://schemas.microsoft.com/office/drawing/2014/main" id="{BB9E4656-7EFE-BC8F-4EFC-A269D7BCFA4A}"/>
              </a:ext>
            </a:extLst>
          </p:cNvPr>
          <p:cNvGrpSpPr/>
          <p:nvPr/>
        </p:nvGrpSpPr>
        <p:grpSpPr>
          <a:xfrm flipH="1">
            <a:off x="2512200" y="3406208"/>
            <a:ext cx="14588129" cy="5958831"/>
            <a:chOff x="1187670" y="3607886"/>
            <a:chExt cx="14588129" cy="5922128"/>
          </a:xfrm>
          <a:solidFill>
            <a:schemeClr val="accent5">
              <a:lumMod val="40000"/>
              <a:lumOff val="60000"/>
            </a:schemeClr>
          </a:solidFill>
        </p:grpSpPr>
        <p:sp>
          <p:nvSpPr>
            <p:cNvPr id="38" name="四角形: 角を丸くする 37">
              <a:extLst>
                <a:ext uri="{FF2B5EF4-FFF2-40B4-BE49-F238E27FC236}">
                  <a16:creationId xmlns:a16="http://schemas.microsoft.com/office/drawing/2014/main" id="{905A0D5B-AFC1-6F97-6AC6-A2AF808DB101}"/>
                </a:ext>
              </a:extLst>
            </p:cNvPr>
            <p:cNvSpPr/>
            <p:nvPr/>
          </p:nvSpPr>
          <p:spPr>
            <a:xfrm flipH="1">
              <a:off x="1187670" y="3607886"/>
              <a:ext cx="14323521" cy="5922128"/>
            </a:xfrm>
            <a:prstGeom prst="roundRect">
              <a:avLst>
                <a:gd name="adj" fmla="val 2237"/>
              </a:avLst>
            </a:prstGeom>
            <a:grpFill/>
            <a:ln w="38100" cap="flat">
              <a:noFill/>
              <a:prstDash val="solid"/>
              <a:miter/>
            </a:ln>
          </p:spPr>
          <p:txBody>
            <a:bodyPr wrap="square" lIns="360000" tIns="216000" rIns="360000" bIns="180000" rtlCol="0" anchor="t">
              <a:spAutoFit/>
            </a:bodyPr>
            <a:lstStyle/>
            <a:p>
              <a:pPr>
                <a:lnSpc>
                  <a:spcPct val="120000"/>
                </a:lnSpc>
                <a:spcAft>
                  <a:spcPts val="1800"/>
                </a:spcAft>
              </a:pPr>
              <a:r>
                <a:rPr lang="ja-JP" altLang="en-US" sz="2600" dirty="0">
                  <a:latin typeface="+mn-ea"/>
                </a:rPr>
                <a:t>生成</a:t>
              </a:r>
              <a:r>
                <a:rPr lang="en-US" altLang="ja-JP" sz="2600" dirty="0">
                  <a:latin typeface="+mn-ea"/>
                </a:rPr>
                <a:t>AI (</a:t>
              </a:r>
              <a:r>
                <a:rPr lang="ja-JP" altLang="en-US" sz="2600" dirty="0">
                  <a:latin typeface="+mn-ea"/>
                </a:rPr>
                <a:t>人工知能</a:t>
              </a:r>
              <a:r>
                <a:rPr lang="en-US" altLang="ja-JP" sz="2600" dirty="0">
                  <a:latin typeface="+mn-ea"/>
                </a:rPr>
                <a:t>) </a:t>
              </a:r>
              <a:r>
                <a:rPr lang="ja-JP" altLang="en-US" sz="2600" dirty="0">
                  <a:latin typeface="+mn-ea"/>
                </a:rPr>
                <a:t>は、</a:t>
              </a:r>
              <a:r>
                <a:rPr lang="ja-JP" altLang="en-US" sz="2600" b="1" dirty="0">
                  <a:solidFill>
                    <a:schemeClr val="accent1"/>
                  </a:solidFill>
                  <a:latin typeface="+mn-ea"/>
                </a:rPr>
                <a:t>コンピュータがまるで人間のように、新しいものを作り出すことができる技術</a:t>
              </a:r>
              <a:r>
                <a:rPr lang="ja-JP" altLang="en-US" sz="2600" dirty="0">
                  <a:latin typeface="+mn-ea"/>
                </a:rPr>
                <a:t>のことです。例えば、話を作ったり、絵を描いたり、音楽を作ったりすることができます。</a:t>
              </a:r>
            </a:p>
            <a:p>
              <a:pPr>
                <a:lnSpc>
                  <a:spcPct val="120000"/>
                </a:lnSpc>
                <a:spcAft>
                  <a:spcPts val="1800"/>
                </a:spcAft>
              </a:pPr>
              <a:r>
                <a:rPr lang="ja-JP" altLang="en-US" sz="2600" dirty="0">
                  <a:latin typeface="+mn-ea"/>
                </a:rPr>
                <a:t>これは、</a:t>
              </a:r>
              <a:r>
                <a:rPr lang="ja-JP" altLang="en-US" sz="2600" b="1" dirty="0">
                  <a:solidFill>
                    <a:schemeClr val="accent1"/>
                  </a:solidFill>
                  <a:latin typeface="+mn-ea"/>
                </a:rPr>
                <a:t>コンピュータが多くの話や絵、音楽からパターンを学び、それを元に新しいものを作り出す</a:t>
              </a:r>
              <a:r>
                <a:rPr lang="ja-JP" altLang="en-US" sz="2600" dirty="0">
                  <a:latin typeface="+mn-ea"/>
                </a:rPr>
                <a:t>ためです。ですので、生成</a:t>
              </a:r>
              <a:r>
                <a:rPr lang="en-US" altLang="ja-JP" sz="2600" dirty="0">
                  <a:latin typeface="+mn-ea"/>
                </a:rPr>
                <a:t>AI</a:t>
              </a:r>
              <a:r>
                <a:rPr lang="ja-JP" altLang="en-US" sz="2600" dirty="0">
                  <a:latin typeface="+mn-ea"/>
                </a:rPr>
                <a:t>を使えば、まるで人間が作ったかのような話や絵、音楽をコンピュータが作り出すことができます。</a:t>
              </a:r>
            </a:p>
            <a:p>
              <a:pPr>
                <a:lnSpc>
                  <a:spcPct val="120000"/>
                </a:lnSpc>
                <a:spcAft>
                  <a:spcPts val="1800"/>
                </a:spcAft>
              </a:pPr>
              <a:r>
                <a:rPr lang="ja-JP" altLang="en-US" sz="2600" dirty="0">
                  <a:latin typeface="+mn-ea"/>
                </a:rPr>
                <a:t>しかし、これはただのツールであるため、</a:t>
              </a:r>
              <a:r>
                <a:rPr lang="ja-JP" altLang="en-US" sz="2600" b="1" dirty="0">
                  <a:solidFill>
                    <a:schemeClr val="accent1"/>
                  </a:solidFill>
                  <a:latin typeface="+mn-ea"/>
                </a:rPr>
                <a:t>どんな風に使うかは使う人次第</a:t>
              </a:r>
              <a:r>
                <a:rPr lang="ja-JP" altLang="en-US" sz="2600" dirty="0">
                  <a:latin typeface="+mn-ea"/>
                </a:rPr>
                <a:t>です。面白い話を自動で作ってくれる友達として使うこともあれば、うそっぽい情報を作り出してしまうこともあります。</a:t>
              </a:r>
              <a:endParaRPr lang="en-US" altLang="ja-JP" sz="2600" dirty="0">
                <a:latin typeface="+mn-ea"/>
              </a:endParaRPr>
            </a:p>
            <a:p>
              <a:pPr>
                <a:lnSpc>
                  <a:spcPct val="120000"/>
                </a:lnSpc>
                <a:spcAft>
                  <a:spcPts val="1800"/>
                </a:spcAft>
              </a:pPr>
              <a:r>
                <a:rPr lang="ja-JP" altLang="en-US" sz="2600" dirty="0">
                  <a:latin typeface="+mn-ea"/>
                </a:rPr>
                <a:t>ですから、</a:t>
              </a:r>
              <a:r>
                <a:rPr lang="ja-JP" altLang="en-US" sz="2600" b="1" dirty="0">
                  <a:solidFill>
                    <a:schemeClr val="accent1"/>
                  </a:solidFill>
                  <a:latin typeface="+mn-ea"/>
                </a:rPr>
                <a:t>生成</a:t>
              </a:r>
              <a:r>
                <a:rPr lang="en-US" altLang="ja-JP" sz="2600" b="1" dirty="0">
                  <a:solidFill>
                    <a:schemeClr val="accent1"/>
                  </a:solidFill>
                  <a:latin typeface="+mn-ea"/>
                </a:rPr>
                <a:t>AI</a:t>
              </a:r>
              <a:r>
                <a:rPr lang="ja-JP" altLang="en-US" sz="2600" b="1" dirty="0">
                  <a:solidFill>
                    <a:schemeClr val="accent1"/>
                  </a:solidFill>
                  <a:latin typeface="+mn-ea"/>
                </a:rPr>
                <a:t>をうまく使って、楽しく、そして安全に活用することが大切</a:t>
              </a:r>
              <a:r>
                <a:rPr lang="ja-JP" altLang="en-US" sz="2600" dirty="0">
                  <a:latin typeface="+mn-ea"/>
                </a:rPr>
                <a:t>です。</a:t>
              </a:r>
            </a:p>
          </p:txBody>
        </p:sp>
        <p:sp>
          <p:nvSpPr>
            <p:cNvPr id="17" name="フリーフォーム: 図形 16">
              <a:extLst>
                <a:ext uri="{FF2B5EF4-FFF2-40B4-BE49-F238E27FC236}">
                  <a16:creationId xmlns:a16="http://schemas.microsoft.com/office/drawing/2014/main" id="{910E7FFE-1B50-7EB4-DABA-C4B751A003FF}"/>
                </a:ext>
              </a:extLst>
            </p:cNvPr>
            <p:cNvSpPr/>
            <p:nvPr/>
          </p:nvSpPr>
          <p:spPr>
            <a:xfrm rot="18743112" flipH="1">
              <a:off x="15219483" y="5539973"/>
              <a:ext cx="564744" cy="547888"/>
            </a:xfrm>
            <a:custGeom>
              <a:avLst/>
              <a:gdLst>
                <a:gd name="connsiteX0" fmla="*/ 222093 w 522145"/>
                <a:gd name="connsiteY0" fmla="*/ 0 h 506561"/>
                <a:gd name="connsiteX1" fmla="*/ 0 w 522145"/>
                <a:gd name="connsiteY1" fmla="*/ 506562 h 506561"/>
                <a:gd name="connsiteX2" fmla="*/ 522146 w 522145"/>
                <a:gd name="connsiteY2" fmla="*/ 0 h 506561"/>
                <a:gd name="connsiteX3" fmla="*/ 222093 w 522145"/>
                <a:gd name="connsiteY3" fmla="*/ 0 h 506561"/>
              </a:gdLst>
              <a:ahLst/>
              <a:cxnLst>
                <a:cxn ang="0">
                  <a:pos x="connsiteX0" y="connsiteY0"/>
                </a:cxn>
                <a:cxn ang="0">
                  <a:pos x="connsiteX1" y="connsiteY1"/>
                </a:cxn>
                <a:cxn ang="0">
                  <a:pos x="connsiteX2" y="connsiteY2"/>
                </a:cxn>
                <a:cxn ang="0">
                  <a:pos x="connsiteX3" y="connsiteY3"/>
                </a:cxn>
              </a:cxnLst>
              <a:rect l="l" t="t" r="r" b="b"/>
              <a:pathLst>
                <a:path w="522145" h="506561">
                  <a:moveTo>
                    <a:pt x="222093" y="0"/>
                  </a:moveTo>
                  <a:cubicBezTo>
                    <a:pt x="249889" y="219347"/>
                    <a:pt x="201139" y="394829"/>
                    <a:pt x="0" y="506562"/>
                  </a:cubicBezTo>
                  <a:cubicBezTo>
                    <a:pt x="337277" y="504503"/>
                    <a:pt x="476766" y="307078"/>
                    <a:pt x="522146" y="0"/>
                  </a:cubicBezTo>
                  <a:lnTo>
                    <a:pt x="222093" y="0"/>
                  </a:lnTo>
                  <a:close/>
                </a:path>
              </a:pathLst>
            </a:custGeom>
            <a:grpFill/>
            <a:ln w="38100" cap="flat">
              <a:noFill/>
              <a:prstDash val="solid"/>
              <a:miter/>
            </a:ln>
          </p:spPr>
          <p:txBody>
            <a:bodyPr wrap="square" lIns="0" tIns="0" rIns="0" bIns="72000" rtlCol="0" anchor="t">
              <a:noAutofit/>
            </a:bodyPr>
            <a:lstStyle/>
            <a:p>
              <a:pPr algn="ctr"/>
              <a:endParaRPr lang="ja-JP" altLang="en-US" sz="2400" dirty="0">
                <a:latin typeface="+mn-ea"/>
              </a:endParaRPr>
            </a:p>
          </p:txBody>
        </p:sp>
      </p:grpSp>
      <p:sp>
        <p:nvSpPr>
          <p:cNvPr id="10" name="スライド番号プレースホルダー 9">
            <a:extLst>
              <a:ext uri="{FF2B5EF4-FFF2-40B4-BE49-F238E27FC236}">
                <a16:creationId xmlns:a16="http://schemas.microsoft.com/office/drawing/2014/main" id="{890ACE8E-4A91-6D57-9EAF-CF11C4C6CB5C}"/>
              </a:ext>
            </a:extLst>
          </p:cNvPr>
          <p:cNvSpPr>
            <a:spLocks noGrp="1"/>
          </p:cNvSpPr>
          <p:nvPr>
            <p:ph type="sldNum" sz="quarter" idx="11"/>
          </p:nvPr>
        </p:nvSpPr>
        <p:spPr>
          <a:xfrm>
            <a:off x="17776755" y="9786651"/>
            <a:ext cx="163506" cy="307777"/>
          </a:xfrm>
        </p:spPr>
        <p:txBody>
          <a:bodyPr/>
          <a:lstStyle/>
          <a:p>
            <a:r>
              <a:rPr lang="en-US" altLang="ja-JP"/>
              <a:t>8</a:t>
            </a:r>
            <a:endParaRPr lang="ja-JP" altLang="en-US" dirty="0"/>
          </a:p>
        </p:txBody>
      </p:sp>
      <p:pic>
        <p:nvPicPr>
          <p:cNvPr id="3" name="図 2">
            <a:extLst>
              <a:ext uri="{FF2B5EF4-FFF2-40B4-BE49-F238E27FC236}">
                <a16:creationId xmlns:a16="http://schemas.microsoft.com/office/drawing/2014/main" id="{5344B022-5D3C-8753-B4F5-A014CCBD72AF}"/>
              </a:ext>
            </a:extLst>
          </p:cNvPr>
          <p:cNvPicPr>
            <a:picLocks noChangeAspect="1"/>
          </p:cNvPicPr>
          <p:nvPr/>
        </p:nvPicPr>
        <p:blipFill>
          <a:blip r:embed="rId3"/>
          <a:stretch>
            <a:fillRect/>
          </a:stretch>
        </p:blipFill>
        <p:spPr>
          <a:xfrm>
            <a:off x="891184" y="2407469"/>
            <a:ext cx="1481456" cy="1481456"/>
          </a:xfrm>
          <a:prstGeom prst="rect">
            <a:avLst/>
          </a:prstGeom>
        </p:spPr>
      </p:pic>
      <p:grpSp>
        <p:nvGrpSpPr>
          <p:cNvPr id="18" name="グループ化 17">
            <a:extLst>
              <a:ext uri="{FF2B5EF4-FFF2-40B4-BE49-F238E27FC236}">
                <a16:creationId xmlns:a16="http://schemas.microsoft.com/office/drawing/2014/main" id="{D939232A-ABD1-8CB1-B6EE-592AB8EAAD3C}"/>
              </a:ext>
            </a:extLst>
          </p:cNvPr>
          <p:cNvGrpSpPr/>
          <p:nvPr/>
        </p:nvGrpSpPr>
        <p:grpSpPr>
          <a:xfrm>
            <a:off x="891184" y="4401978"/>
            <a:ext cx="1481456" cy="2034385"/>
            <a:chOff x="891184" y="4401978"/>
            <a:chExt cx="1481456" cy="2034385"/>
          </a:xfrm>
        </p:grpSpPr>
        <p:sp>
          <p:nvSpPr>
            <p:cNvPr id="1126" name="テキスト ボックス 1125">
              <a:extLst>
                <a:ext uri="{FF2B5EF4-FFF2-40B4-BE49-F238E27FC236}">
                  <a16:creationId xmlns:a16="http://schemas.microsoft.com/office/drawing/2014/main" id="{97AEDB96-573E-6447-923E-14FA86743CE7}"/>
                </a:ext>
              </a:extLst>
            </p:cNvPr>
            <p:cNvSpPr txBox="1"/>
            <p:nvPr/>
          </p:nvSpPr>
          <p:spPr>
            <a:xfrm flipH="1">
              <a:off x="1432561" y="6005476"/>
              <a:ext cx="399148" cy="430887"/>
            </a:xfrm>
            <a:prstGeom prst="rect">
              <a:avLst/>
            </a:prstGeom>
            <a:noFill/>
          </p:spPr>
          <p:txBody>
            <a:bodyPr wrap="none" lIns="0" tIns="0" rIns="0" bIns="0" rtlCol="0">
              <a:spAutoFit/>
            </a:bodyPr>
            <a:lstStyle/>
            <a:p>
              <a:pPr algn="ctr"/>
              <a:r>
                <a:rPr lang="en-US" altLang="ja-JP" sz="2800" spc="100" dirty="0"/>
                <a:t>AI</a:t>
              </a:r>
              <a:endParaRPr kumimoji="1" lang="ja-JP" altLang="en-US" sz="2800" spc="100" dirty="0"/>
            </a:p>
          </p:txBody>
        </p:sp>
        <p:pic>
          <p:nvPicPr>
            <p:cNvPr id="16" name="図 15">
              <a:extLst>
                <a:ext uri="{FF2B5EF4-FFF2-40B4-BE49-F238E27FC236}">
                  <a16:creationId xmlns:a16="http://schemas.microsoft.com/office/drawing/2014/main" id="{2A91B175-0754-9EDA-BD8B-D762E659E633}"/>
                </a:ext>
              </a:extLst>
            </p:cNvPr>
            <p:cNvPicPr>
              <a:picLocks noChangeAspect="1"/>
            </p:cNvPicPr>
            <p:nvPr/>
          </p:nvPicPr>
          <p:blipFill>
            <a:blip r:embed="rId4"/>
            <a:stretch>
              <a:fillRect/>
            </a:stretch>
          </p:blipFill>
          <p:spPr>
            <a:xfrm>
              <a:off x="891184" y="4401978"/>
              <a:ext cx="1481456" cy="1481456"/>
            </a:xfrm>
            <a:prstGeom prst="rect">
              <a:avLst/>
            </a:prstGeom>
          </p:spPr>
        </p:pic>
      </p:grpSp>
    </p:spTree>
    <p:extLst>
      <p:ext uri="{BB962C8B-B14F-4D97-AF65-F5344CB8AC3E}">
        <p14:creationId xmlns:p14="http://schemas.microsoft.com/office/powerpoint/2010/main" val="98324365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160" name="グループ化 1159">
            <a:extLst>
              <a:ext uri="{FF2B5EF4-FFF2-40B4-BE49-F238E27FC236}">
                <a16:creationId xmlns:a16="http://schemas.microsoft.com/office/drawing/2014/main" id="{933BAF7D-9C67-D95B-4923-C3C9E70C3093}"/>
              </a:ext>
            </a:extLst>
          </p:cNvPr>
          <p:cNvGrpSpPr/>
          <p:nvPr/>
        </p:nvGrpSpPr>
        <p:grpSpPr>
          <a:xfrm>
            <a:off x="2127509" y="1215449"/>
            <a:ext cx="14032983" cy="7854514"/>
            <a:chOff x="1106195" y="850224"/>
            <a:chExt cx="6931611" cy="3879748"/>
          </a:xfrm>
        </p:grpSpPr>
        <p:grpSp>
          <p:nvGrpSpPr>
            <p:cNvPr id="1161" name="グループ化 1160">
              <a:extLst>
                <a:ext uri="{FF2B5EF4-FFF2-40B4-BE49-F238E27FC236}">
                  <a16:creationId xmlns:a16="http://schemas.microsoft.com/office/drawing/2014/main" id="{D6BF44E2-D5B1-5C50-DA11-3E3579D3B8AD}"/>
                </a:ext>
              </a:extLst>
            </p:cNvPr>
            <p:cNvGrpSpPr/>
            <p:nvPr/>
          </p:nvGrpSpPr>
          <p:grpSpPr>
            <a:xfrm>
              <a:off x="1106197" y="850224"/>
              <a:ext cx="6931609" cy="826390"/>
              <a:chOff x="1106197" y="850224"/>
              <a:chExt cx="6931609" cy="826390"/>
            </a:xfrm>
          </p:grpSpPr>
          <p:sp>
            <p:nvSpPr>
              <p:cNvPr id="131" name="正方形/長方形 1">
                <a:extLst>
                  <a:ext uri="{FF2B5EF4-FFF2-40B4-BE49-F238E27FC236}">
                    <a16:creationId xmlns:a16="http://schemas.microsoft.com/office/drawing/2014/main" id="{98BB4920-9991-D113-834F-D6D22BDDDDC4}"/>
                  </a:ext>
                </a:extLst>
              </p:cNvPr>
              <p:cNvSpPr/>
              <p:nvPr/>
            </p:nvSpPr>
            <p:spPr>
              <a:xfrm>
                <a:off x="1106197" y="850224"/>
                <a:ext cx="3432950" cy="826390"/>
              </a:xfrm>
              <a:prstGeom prst="roundRect">
                <a:avLst>
                  <a:gd name="adj" fmla="val 10920"/>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とは何か？</a:t>
                </a:r>
              </a:p>
            </p:txBody>
          </p:sp>
          <p:sp>
            <p:nvSpPr>
              <p:cNvPr id="132" name="正方形/長方形 10">
                <a:extLst>
                  <a:ext uri="{FF2B5EF4-FFF2-40B4-BE49-F238E27FC236}">
                    <a16:creationId xmlns:a16="http://schemas.microsoft.com/office/drawing/2014/main" id="{3B2038EB-2B5B-AB5A-9B99-9A7CA415582A}"/>
                  </a:ext>
                </a:extLst>
              </p:cNvPr>
              <p:cNvSpPr/>
              <p:nvPr/>
            </p:nvSpPr>
            <p:spPr>
              <a:xfrm>
                <a:off x="4604855" y="85022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基礎知識</a:t>
                </a:r>
              </a:p>
            </p:txBody>
          </p:sp>
          <p:sp>
            <p:nvSpPr>
              <p:cNvPr id="133" name="正方形/長方形 14">
                <a:extLst>
                  <a:ext uri="{FF2B5EF4-FFF2-40B4-BE49-F238E27FC236}">
                    <a16:creationId xmlns:a16="http://schemas.microsoft.com/office/drawing/2014/main" id="{861CCE2A-8669-6499-FC0A-7B8AAE479A33}"/>
                  </a:ext>
                </a:extLst>
              </p:cNvPr>
              <p:cNvSpPr/>
              <p:nvPr/>
            </p:nvSpPr>
            <p:spPr>
              <a:xfrm>
                <a:off x="4604854" y="1286042"/>
                <a:ext cx="3432951" cy="390572"/>
              </a:xfrm>
              <a:prstGeom prst="roundRect">
                <a:avLst>
                  <a:gd name="adj" fmla="val 23106"/>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solidFill>
                    <a:latin typeface="+mj-ea"/>
                    <a:ea typeface="+mj-ea"/>
                  </a:rPr>
                  <a:t>生成</a:t>
                </a:r>
                <a:r>
                  <a:rPr kumimoji="1" lang="en-US" altLang="ja-JP" sz="2800" b="1" dirty="0">
                    <a:solidFill>
                      <a:schemeClr val="tx1"/>
                    </a:solidFill>
                    <a:latin typeface="+mj-ea"/>
                    <a:ea typeface="+mj-ea"/>
                  </a:rPr>
                  <a:t>AI</a:t>
                </a:r>
                <a:r>
                  <a:rPr kumimoji="1" lang="ja-JP" altLang="en-US" sz="2800" b="1" dirty="0">
                    <a:solidFill>
                      <a:schemeClr val="tx1"/>
                    </a:solidFill>
                    <a:latin typeface="+mj-ea"/>
                    <a:ea typeface="+mj-ea"/>
                  </a:rPr>
                  <a:t>にまつわる変化</a:t>
                </a:r>
              </a:p>
            </p:txBody>
          </p:sp>
          <p:sp>
            <p:nvSpPr>
              <p:cNvPr id="134" name="正方形/長方形 1">
                <a:extLst>
                  <a:ext uri="{FF2B5EF4-FFF2-40B4-BE49-F238E27FC236}">
                    <a16:creationId xmlns:a16="http://schemas.microsoft.com/office/drawing/2014/main" id="{1963F12A-1390-549C-9DF7-9BE57702CFA5}"/>
                  </a:ext>
                </a:extLst>
              </p:cNvPr>
              <p:cNvSpPr/>
              <p:nvPr/>
            </p:nvSpPr>
            <p:spPr>
              <a:xfrm>
                <a:off x="4342033" y="850224"/>
                <a:ext cx="197114" cy="826390"/>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35" name="正方形/長方形 10">
                <a:extLst>
                  <a:ext uri="{FF2B5EF4-FFF2-40B4-BE49-F238E27FC236}">
                    <a16:creationId xmlns:a16="http://schemas.microsoft.com/office/drawing/2014/main" id="{0DAC1039-4246-F97F-3951-944891FDE817}"/>
                  </a:ext>
                </a:extLst>
              </p:cNvPr>
              <p:cNvSpPr/>
              <p:nvPr/>
            </p:nvSpPr>
            <p:spPr>
              <a:xfrm>
                <a:off x="4604855" y="8502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6" name="正方形/長方形 14">
                <a:extLst>
                  <a:ext uri="{FF2B5EF4-FFF2-40B4-BE49-F238E27FC236}">
                    <a16:creationId xmlns:a16="http://schemas.microsoft.com/office/drawing/2014/main" id="{64068BC6-2D2D-EF0C-A96A-A0657CD10090}"/>
                  </a:ext>
                </a:extLst>
              </p:cNvPr>
              <p:cNvSpPr/>
              <p:nvPr/>
            </p:nvSpPr>
            <p:spPr>
              <a:xfrm>
                <a:off x="4604855" y="1286042"/>
                <a:ext cx="142361" cy="390572"/>
              </a:xfrm>
              <a:prstGeom prst="rect">
                <a:avLst/>
              </a:prstGeom>
              <a:solidFill>
                <a:schemeClr val="accent5">
                  <a:lumMod val="60000"/>
                  <a:lumOff val="4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2" name="グループ化 1161">
              <a:extLst>
                <a:ext uri="{FF2B5EF4-FFF2-40B4-BE49-F238E27FC236}">
                  <a16:creationId xmlns:a16="http://schemas.microsoft.com/office/drawing/2014/main" id="{2DE8BC41-24F1-59AE-4CDC-BA25EE07B71E}"/>
                </a:ext>
              </a:extLst>
            </p:cNvPr>
            <p:cNvGrpSpPr/>
            <p:nvPr/>
          </p:nvGrpSpPr>
          <p:grpSpPr>
            <a:xfrm>
              <a:off x="1106197" y="1722737"/>
              <a:ext cx="6931608" cy="826390"/>
              <a:chOff x="1106197" y="1722737"/>
              <a:chExt cx="6931608" cy="826390"/>
            </a:xfrm>
          </p:grpSpPr>
          <p:sp>
            <p:nvSpPr>
              <p:cNvPr id="1181" name="正方形/長方形 2">
                <a:extLst>
                  <a:ext uri="{FF2B5EF4-FFF2-40B4-BE49-F238E27FC236}">
                    <a16:creationId xmlns:a16="http://schemas.microsoft.com/office/drawing/2014/main" id="{C543C197-24DC-B555-D0F7-A21D550D1FD1}"/>
                  </a:ext>
                </a:extLst>
              </p:cNvPr>
              <p:cNvSpPr/>
              <p:nvPr/>
            </p:nvSpPr>
            <p:spPr>
              <a:xfrm>
                <a:off x="1106197" y="1722737"/>
                <a:ext cx="3432950" cy="826390"/>
              </a:xfrm>
              <a:prstGeom prst="roundRect">
                <a:avLst>
                  <a:gd name="adj" fmla="val 10920"/>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を</a:t>
                </a:r>
                <a:br>
                  <a:rPr kumimoji="1" lang="en-US" altLang="ja-JP" sz="3600" b="1" dirty="0">
                    <a:latin typeface="+mj-ea"/>
                    <a:ea typeface="+mj-ea"/>
                  </a:rPr>
                </a:br>
                <a:r>
                  <a:rPr kumimoji="1" lang="ja-JP" altLang="en-US" sz="3600" b="1" dirty="0">
                    <a:latin typeface="+mj-ea"/>
                    <a:ea typeface="+mj-ea"/>
                  </a:rPr>
                  <a:t>どのように使うか？</a:t>
                </a:r>
              </a:p>
            </p:txBody>
          </p:sp>
          <p:sp>
            <p:nvSpPr>
              <p:cNvPr id="1182" name="正方形/長方形 21">
                <a:extLst>
                  <a:ext uri="{FF2B5EF4-FFF2-40B4-BE49-F238E27FC236}">
                    <a16:creationId xmlns:a16="http://schemas.microsoft.com/office/drawing/2014/main" id="{565C9157-0825-81D9-AE7D-D4592B8BFD8B}"/>
                  </a:ext>
                </a:extLst>
              </p:cNvPr>
              <p:cNvSpPr/>
              <p:nvPr/>
            </p:nvSpPr>
            <p:spPr>
              <a:xfrm>
                <a:off x="4604854" y="172273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の用途</a:t>
                </a:r>
              </a:p>
            </p:txBody>
          </p:sp>
          <p:sp>
            <p:nvSpPr>
              <p:cNvPr id="1183" name="正方形/長方形 22">
                <a:extLst>
                  <a:ext uri="{FF2B5EF4-FFF2-40B4-BE49-F238E27FC236}">
                    <a16:creationId xmlns:a16="http://schemas.microsoft.com/office/drawing/2014/main" id="{EA4718CC-996E-9EA8-2B5D-529374F46747}"/>
                  </a:ext>
                </a:extLst>
              </p:cNvPr>
              <p:cNvSpPr/>
              <p:nvPr/>
            </p:nvSpPr>
            <p:spPr>
              <a:xfrm>
                <a:off x="4604854" y="2158555"/>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生成</a:t>
                </a:r>
                <a:r>
                  <a:rPr kumimoji="1" lang="en-US" altLang="ja-JP" sz="2800" b="1" dirty="0">
                    <a:solidFill>
                      <a:schemeClr val="tx1">
                        <a:lumMod val="20000"/>
                        <a:lumOff val="80000"/>
                      </a:schemeClr>
                    </a:solidFill>
                    <a:latin typeface="+mj-ea"/>
                    <a:ea typeface="+mj-ea"/>
                  </a:rPr>
                  <a:t>AI</a:t>
                </a:r>
                <a:r>
                  <a:rPr kumimoji="1" lang="ja-JP" altLang="en-US" sz="2800" b="1" dirty="0">
                    <a:solidFill>
                      <a:schemeClr val="tx1">
                        <a:lumMod val="20000"/>
                        <a:lumOff val="80000"/>
                      </a:schemeClr>
                    </a:solidFill>
                    <a:latin typeface="+mj-ea"/>
                    <a:ea typeface="+mj-ea"/>
                  </a:rPr>
                  <a:t>サービスの使い方</a:t>
                </a:r>
              </a:p>
            </p:txBody>
          </p:sp>
          <p:sp>
            <p:nvSpPr>
              <p:cNvPr id="128" name="正方形/長方形 2">
                <a:extLst>
                  <a:ext uri="{FF2B5EF4-FFF2-40B4-BE49-F238E27FC236}">
                    <a16:creationId xmlns:a16="http://schemas.microsoft.com/office/drawing/2014/main" id="{C934CBBE-2E67-1A85-DC78-9392F7C4E4EE}"/>
                  </a:ext>
                </a:extLst>
              </p:cNvPr>
              <p:cNvSpPr/>
              <p:nvPr/>
            </p:nvSpPr>
            <p:spPr>
              <a:xfrm>
                <a:off x="4342033" y="1722737"/>
                <a:ext cx="197114" cy="826390"/>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29" name="正方形/長方形 21">
                <a:extLst>
                  <a:ext uri="{FF2B5EF4-FFF2-40B4-BE49-F238E27FC236}">
                    <a16:creationId xmlns:a16="http://schemas.microsoft.com/office/drawing/2014/main" id="{F3352A96-11C0-ADE5-CB81-EB5A62FD49F2}"/>
                  </a:ext>
                </a:extLst>
              </p:cNvPr>
              <p:cNvSpPr/>
              <p:nvPr/>
            </p:nvSpPr>
            <p:spPr>
              <a:xfrm>
                <a:off x="4604855" y="172273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30" name="正方形/長方形 22">
                <a:extLst>
                  <a:ext uri="{FF2B5EF4-FFF2-40B4-BE49-F238E27FC236}">
                    <a16:creationId xmlns:a16="http://schemas.microsoft.com/office/drawing/2014/main" id="{A173D3F5-3986-4615-811A-ED3ABE27B677}"/>
                  </a:ext>
                </a:extLst>
              </p:cNvPr>
              <p:cNvSpPr/>
              <p:nvPr/>
            </p:nvSpPr>
            <p:spPr>
              <a:xfrm>
                <a:off x="4604855" y="215855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3" name="グループ化 1162">
              <a:extLst>
                <a:ext uri="{FF2B5EF4-FFF2-40B4-BE49-F238E27FC236}">
                  <a16:creationId xmlns:a16="http://schemas.microsoft.com/office/drawing/2014/main" id="{F112F733-6E86-676B-D9DE-C126B136EF7E}"/>
                </a:ext>
              </a:extLst>
            </p:cNvPr>
            <p:cNvGrpSpPr/>
            <p:nvPr/>
          </p:nvGrpSpPr>
          <p:grpSpPr>
            <a:xfrm>
              <a:off x="1106197" y="2595250"/>
              <a:ext cx="6931608" cy="1698026"/>
              <a:chOff x="1106197" y="2595250"/>
              <a:chExt cx="6931608" cy="1698026"/>
            </a:xfrm>
          </p:grpSpPr>
          <p:sp>
            <p:nvSpPr>
              <p:cNvPr id="1171" name="正方形/長方形 3">
                <a:extLst>
                  <a:ext uri="{FF2B5EF4-FFF2-40B4-BE49-F238E27FC236}">
                    <a16:creationId xmlns:a16="http://schemas.microsoft.com/office/drawing/2014/main" id="{2CA0E212-BCB4-431A-13FC-10B48C04B0D1}"/>
                  </a:ext>
                </a:extLst>
              </p:cNvPr>
              <p:cNvSpPr/>
              <p:nvPr/>
            </p:nvSpPr>
            <p:spPr>
              <a:xfrm>
                <a:off x="1106197" y="2595251"/>
                <a:ext cx="3432950" cy="1698025"/>
              </a:xfrm>
              <a:prstGeom prst="roundRect">
                <a:avLst>
                  <a:gd name="adj" fmla="val 5315"/>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972000" tIns="0" rIns="0" bIns="0" rtlCol="0" anchor="ctr"/>
              <a:lstStyle/>
              <a:p>
                <a:pPr>
                  <a:lnSpc>
                    <a:spcPct val="110000"/>
                  </a:lnSpc>
                  <a:tabLst>
                    <a:tab pos="1074738" algn="l"/>
                  </a:tabLst>
                </a:pPr>
                <a:r>
                  <a:rPr kumimoji="1" lang="ja-JP" altLang="en-US" sz="3600" b="1" dirty="0">
                    <a:latin typeface="+mj-ea"/>
                    <a:ea typeface="+mj-ea"/>
                  </a:rPr>
                  <a:t>生成</a:t>
                </a:r>
                <a:r>
                  <a:rPr kumimoji="1" lang="en-US" altLang="ja-JP" sz="3600" b="1" dirty="0">
                    <a:latin typeface="+mj-ea"/>
                    <a:ea typeface="+mj-ea"/>
                  </a:rPr>
                  <a:t>AI</a:t>
                </a:r>
                <a:r>
                  <a:rPr kumimoji="1" lang="ja-JP" altLang="en-US" sz="3600" b="1" dirty="0">
                    <a:latin typeface="+mj-ea"/>
                    <a:ea typeface="+mj-ea"/>
                  </a:rPr>
                  <a:t>活用にあたって</a:t>
                </a:r>
                <a:br>
                  <a:rPr kumimoji="1" lang="ja-JP" altLang="en-US" sz="3600" b="1" dirty="0">
                    <a:latin typeface="+mj-ea"/>
                    <a:ea typeface="+mj-ea"/>
                  </a:rPr>
                </a:br>
                <a:r>
                  <a:rPr kumimoji="1" lang="ja-JP" altLang="en-US" sz="3600" b="1" dirty="0">
                    <a:latin typeface="+mj-ea"/>
                    <a:ea typeface="+mj-ea"/>
                  </a:rPr>
                  <a:t>注意すべきポイントは？</a:t>
                </a:r>
              </a:p>
            </p:txBody>
          </p:sp>
          <p:sp>
            <p:nvSpPr>
              <p:cNvPr id="1172" name="正方形/長方形 24">
                <a:extLst>
                  <a:ext uri="{FF2B5EF4-FFF2-40B4-BE49-F238E27FC236}">
                    <a16:creationId xmlns:a16="http://schemas.microsoft.com/office/drawing/2014/main" id="{EE2A469F-DAB8-BA45-3B91-77F6D5D700F7}"/>
                  </a:ext>
                </a:extLst>
              </p:cNvPr>
              <p:cNvSpPr/>
              <p:nvPr/>
            </p:nvSpPr>
            <p:spPr>
              <a:xfrm>
                <a:off x="4604854" y="2595250"/>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の正確性</a:t>
                </a:r>
              </a:p>
            </p:txBody>
          </p:sp>
          <p:sp>
            <p:nvSpPr>
              <p:cNvPr id="1173" name="正方形/長方形 25">
                <a:extLst>
                  <a:ext uri="{FF2B5EF4-FFF2-40B4-BE49-F238E27FC236}">
                    <a16:creationId xmlns:a16="http://schemas.microsoft.com/office/drawing/2014/main" id="{81C7B08B-E026-F3F9-5927-EDCC29709151}"/>
                  </a:ext>
                </a:extLst>
              </p:cNvPr>
              <p:cNvSpPr/>
              <p:nvPr/>
            </p:nvSpPr>
            <p:spPr>
              <a:xfrm>
                <a:off x="4604854" y="3031068"/>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情報流出</a:t>
                </a:r>
              </a:p>
            </p:txBody>
          </p:sp>
          <p:sp>
            <p:nvSpPr>
              <p:cNvPr id="1174" name="正方形/長方形 27">
                <a:extLst>
                  <a:ext uri="{FF2B5EF4-FFF2-40B4-BE49-F238E27FC236}">
                    <a16:creationId xmlns:a16="http://schemas.microsoft.com/office/drawing/2014/main" id="{934221EE-6E3B-7928-020D-4D489407CCCE}"/>
                  </a:ext>
                </a:extLst>
              </p:cNvPr>
              <p:cNvSpPr/>
              <p:nvPr/>
            </p:nvSpPr>
            <p:spPr>
              <a:xfrm>
                <a:off x="4604854" y="3466886"/>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知的財産権の侵害</a:t>
                </a:r>
              </a:p>
            </p:txBody>
          </p:sp>
          <p:sp>
            <p:nvSpPr>
              <p:cNvPr id="1175" name="正方形/長方形 28">
                <a:extLst>
                  <a:ext uri="{FF2B5EF4-FFF2-40B4-BE49-F238E27FC236}">
                    <a16:creationId xmlns:a16="http://schemas.microsoft.com/office/drawing/2014/main" id="{352A04B9-2B01-03BF-CDB7-7325843F16DE}"/>
                  </a:ext>
                </a:extLst>
              </p:cNvPr>
              <p:cNvSpPr/>
              <p:nvPr/>
            </p:nvSpPr>
            <p:spPr>
              <a:xfrm>
                <a:off x="4604854" y="3902703"/>
                <a:ext cx="3432951"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2800" b="1" dirty="0">
                    <a:solidFill>
                      <a:schemeClr val="tx1">
                        <a:lumMod val="20000"/>
                        <a:lumOff val="80000"/>
                      </a:schemeClr>
                    </a:solidFill>
                    <a:latin typeface="+mj-ea"/>
                    <a:ea typeface="+mj-ea"/>
                  </a:rPr>
                  <a:t>活用者としてのモラル</a:t>
                </a:r>
              </a:p>
            </p:txBody>
          </p:sp>
          <p:sp>
            <p:nvSpPr>
              <p:cNvPr id="1176" name="正方形/長方形 3">
                <a:extLst>
                  <a:ext uri="{FF2B5EF4-FFF2-40B4-BE49-F238E27FC236}">
                    <a16:creationId xmlns:a16="http://schemas.microsoft.com/office/drawing/2014/main" id="{C9E42E71-0BC4-80C3-38D3-7EEA5CD188B5}"/>
                  </a:ext>
                </a:extLst>
              </p:cNvPr>
              <p:cNvSpPr/>
              <p:nvPr/>
            </p:nvSpPr>
            <p:spPr>
              <a:xfrm>
                <a:off x="4342033" y="2595251"/>
                <a:ext cx="197114" cy="1698025"/>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sp>
            <p:nvSpPr>
              <p:cNvPr id="1177" name="正方形/長方形 24">
                <a:extLst>
                  <a:ext uri="{FF2B5EF4-FFF2-40B4-BE49-F238E27FC236}">
                    <a16:creationId xmlns:a16="http://schemas.microsoft.com/office/drawing/2014/main" id="{D9AA1485-12D6-7478-C65C-D6BBB02B4EF8}"/>
                  </a:ext>
                </a:extLst>
              </p:cNvPr>
              <p:cNvSpPr/>
              <p:nvPr/>
            </p:nvSpPr>
            <p:spPr>
              <a:xfrm>
                <a:off x="4604855" y="2595250"/>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8" name="正方形/長方形 25">
                <a:extLst>
                  <a:ext uri="{FF2B5EF4-FFF2-40B4-BE49-F238E27FC236}">
                    <a16:creationId xmlns:a16="http://schemas.microsoft.com/office/drawing/2014/main" id="{F563A43B-F0BE-A5E3-5855-2D47AE8CF552}"/>
                  </a:ext>
                </a:extLst>
              </p:cNvPr>
              <p:cNvSpPr/>
              <p:nvPr/>
            </p:nvSpPr>
            <p:spPr>
              <a:xfrm>
                <a:off x="4604855" y="3031068"/>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79" name="正方形/長方形 27">
                <a:extLst>
                  <a:ext uri="{FF2B5EF4-FFF2-40B4-BE49-F238E27FC236}">
                    <a16:creationId xmlns:a16="http://schemas.microsoft.com/office/drawing/2014/main" id="{D3E30BFB-4010-8937-8601-9B3A2E462A5D}"/>
                  </a:ext>
                </a:extLst>
              </p:cNvPr>
              <p:cNvSpPr/>
              <p:nvPr/>
            </p:nvSpPr>
            <p:spPr>
              <a:xfrm>
                <a:off x="4604855" y="3466886"/>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sp>
            <p:nvSpPr>
              <p:cNvPr id="1180" name="正方形/長方形 28">
                <a:extLst>
                  <a:ext uri="{FF2B5EF4-FFF2-40B4-BE49-F238E27FC236}">
                    <a16:creationId xmlns:a16="http://schemas.microsoft.com/office/drawing/2014/main" id="{3B8A2F04-BF05-123A-AEEF-AA589287C649}"/>
                  </a:ext>
                </a:extLst>
              </p:cNvPr>
              <p:cNvSpPr/>
              <p:nvPr/>
            </p:nvSpPr>
            <p:spPr>
              <a:xfrm>
                <a:off x="4604855" y="3902703"/>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nvGrpSpPr>
            <p:cNvPr id="1164" name="グループ化 1163">
              <a:extLst>
                <a:ext uri="{FF2B5EF4-FFF2-40B4-BE49-F238E27FC236}">
                  <a16:creationId xmlns:a16="http://schemas.microsoft.com/office/drawing/2014/main" id="{791C40FF-AEE5-1077-D6C0-492E73E97E09}"/>
                </a:ext>
              </a:extLst>
            </p:cNvPr>
            <p:cNvGrpSpPr/>
            <p:nvPr/>
          </p:nvGrpSpPr>
          <p:grpSpPr>
            <a:xfrm>
              <a:off x="1106195" y="4339400"/>
              <a:ext cx="6931610" cy="390572"/>
              <a:chOff x="1106195" y="4339400"/>
              <a:chExt cx="6931610" cy="390572"/>
            </a:xfrm>
          </p:grpSpPr>
          <p:grpSp>
            <p:nvGrpSpPr>
              <p:cNvPr id="1165" name="グループ化 1164">
                <a:extLst>
                  <a:ext uri="{FF2B5EF4-FFF2-40B4-BE49-F238E27FC236}">
                    <a16:creationId xmlns:a16="http://schemas.microsoft.com/office/drawing/2014/main" id="{0BE4CE88-2BDE-5F2F-EC45-28D116FE93C7}"/>
                  </a:ext>
                </a:extLst>
              </p:cNvPr>
              <p:cNvGrpSpPr/>
              <p:nvPr/>
            </p:nvGrpSpPr>
            <p:grpSpPr>
              <a:xfrm>
                <a:off x="1106195" y="4339400"/>
                <a:ext cx="3432951" cy="390572"/>
                <a:chOff x="1106195" y="4338245"/>
                <a:chExt cx="3432951" cy="416539"/>
              </a:xfrm>
            </p:grpSpPr>
            <p:sp>
              <p:nvSpPr>
                <p:cNvPr id="1169" name="正方形/長方形 1">
                  <a:extLst>
                    <a:ext uri="{FF2B5EF4-FFF2-40B4-BE49-F238E27FC236}">
                      <a16:creationId xmlns:a16="http://schemas.microsoft.com/office/drawing/2014/main" id="{498D03C7-84EC-9206-FFDE-D1AE6AC989F5}"/>
                    </a:ext>
                  </a:extLst>
                </p:cNvPr>
                <p:cNvSpPr/>
                <p:nvPr/>
              </p:nvSpPr>
              <p:spPr>
                <a:xfrm>
                  <a:off x="1106195" y="4338245"/>
                  <a:ext cx="3432951" cy="416539"/>
                </a:xfrm>
                <a:prstGeom prst="roundRect">
                  <a:avLst>
                    <a:gd name="adj" fmla="val 22751"/>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kumimoji="1" lang="ja-JP" altLang="en-US" sz="3200" b="1" dirty="0">
                      <a:latin typeface="+mj-ea"/>
                      <a:ea typeface="+mj-ea"/>
                    </a:rPr>
                    <a:t>おわりに</a:t>
                  </a:r>
                </a:p>
              </p:txBody>
            </p:sp>
            <p:sp>
              <p:nvSpPr>
                <p:cNvPr id="1170" name="正方形/長方形 1">
                  <a:extLst>
                    <a:ext uri="{FF2B5EF4-FFF2-40B4-BE49-F238E27FC236}">
                      <a16:creationId xmlns:a16="http://schemas.microsoft.com/office/drawing/2014/main" id="{FFF9169D-E3AA-25C1-7D37-7FB7C251AB80}"/>
                    </a:ext>
                  </a:extLst>
                </p:cNvPr>
                <p:cNvSpPr/>
                <p:nvPr/>
              </p:nvSpPr>
              <p:spPr>
                <a:xfrm>
                  <a:off x="4342033" y="4338245"/>
                  <a:ext cx="197113" cy="416539"/>
                </a:xfrm>
                <a:prstGeom prst="rect">
                  <a:avLst/>
                </a:prstGeom>
                <a:solidFill>
                  <a:schemeClr val="accent1">
                    <a:lumMod val="20000"/>
                    <a:lumOff val="80000"/>
                  </a:schemeClr>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4000" b="1" dirty="0">
                    <a:latin typeface="+mj-ea"/>
                    <a:ea typeface="+mj-ea"/>
                  </a:endParaRPr>
                </a:p>
              </p:txBody>
            </p:sp>
          </p:grpSp>
          <p:grpSp>
            <p:nvGrpSpPr>
              <p:cNvPr id="1166" name="グループ化 1165">
                <a:extLst>
                  <a:ext uri="{FF2B5EF4-FFF2-40B4-BE49-F238E27FC236}">
                    <a16:creationId xmlns:a16="http://schemas.microsoft.com/office/drawing/2014/main" id="{A32556FB-4AA6-D814-9A83-15CA9976EF11}"/>
                  </a:ext>
                </a:extLst>
              </p:cNvPr>
              <p:cNvGrpSpPr/>
              <p:nvPr/>
            </p:nvGrpSpPr>
            <p:grpSpPr>
              <a:xfrm>
                <a:off x="4604855" y="4339400"/>
                <a:ext cx="3432950" cy="390572"/>
                <a:chOff x="4757254" y="1002625"/>
                <a:chExt cx="3212890" cy="390572"/>
              </a:xfrm>
            </p:grpSpPr>
            <p:sp>
              <p:nvSpPr>
                <p:cNvPr id="1167" name="正方形/長方形 10">
                  <a:extLst>
                    <a:ext uri="{FF2B5EF4-FFF2-40B4-BE49-F238E27FC236}">
                      <a16:creationId xmlns:a16="http://schemas.microsoft.com/office/drawing/2014/main" id="{B20CBE6D-24E0-A744-7133-54BA0E36BCC9}"/>
                    </a:ext>
                  </a:extLst>
                </p:cNvPr>
                <p:cNvSpPr/>
                <p:nvPr/>
              </p:nvSpPr>
              <p:spPr>
                <a:xfrm>
                  <a:off x="4757254" y="1002625"/>
                  <a:ext cx="3212890" cy="390572"/>
                </a:xfrm>
                <a:prstGeom prst="roundRect">
                  <a:avLst>
                    <a:gd name="adj" fmla="val 23106"/>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88000" tIns="0" rIns="0" bIns="0" rtlCol="0" anchor="ctr"/>
                <a:lstStyle/>
                <a:p>
                  <a:pPr>
                    <a:tabLst>
                      <a:tab pos="1074738" algn="l"/>
                    </a:tabLst>
                  </a:pPr>
                  <a:r>
                    <a:rPr lang="ja-JP" altLang="en-US" sz="2800" b="1" dirty="0">
                      <a:solidFill>
                        <a:schemeClr val="tx1">
                          <a:lumMod val="20000"/>
                          <a:lumOff val="80000"/>
                        </a:schemeClr>
                      </a:solidFill>
                      <a:latin typeface="+mj-ea"/>
                      <a:ea typeface="+mj-ea"/>
                    </a:rPr>
                    <a:t>学習のまとめ、</a:t>
                  </a:r>
                  <a:r>
                    <a:rPr kumimoji="1" lang="ja-JP" altLang="en-US" sz="2800" b="1" dirty="0">
                      <a:solidFill>
                        <a:schemeClr val="tx1">
                          <a:lumMod val="20000"/>
                          <a:lumOff val="80000"/>
                        </a:schemeClr>
                      </a:solidFill>
                      <a:latin typeface="+mj-ea"/>
                      <a:ea typeface="+mj-ea"/>
                    </a:rPr>
                    <a:t>関連資料</a:t>
                  </a:r>
                </a:p>
              </p:txBody>
            </p:sp>
            <p:sp>
              <p:nvSpPr>
                <p:cNvPr id="1168" name="正方形/長方形 10">
                  <a:extLst>
                    <a:ext uri="{FF2B5EF4-FFF2-40B4-BE49-F238E27FC236}">
                      <a16:creationId xmlns:a16="http://schemas.microsoft.com/office/drawing/2014/main" id="{3AF7B379-EC6D-C38F-7DB2-D0A5B0AA06F9}"/>
                    </a:ext>
                  </a:extLst>
                </p:cNvPr>
                <p:cNvSpPr/>
                <p:nvPr/>
              </p:nvSpPr>
              <p:spPr>
                <a:xfrm>
                  <a:off x="4757255" y="1002625"/>
                  <a:ext cx="142361" cy="390572"/>
                </a:xfrm>
                <a:prstGeom prst="rect">
                  <a:avLst/>
                </a:prstGeom>
                <a:solidFill>
                  <a:schemeClr val="bg1"/>
                </a:solidFill>
                <a:ln>
                  <a:noFill/>
                </a:ln>
              </p:spPr>
              <p:style>
                <a:lnRef idx="2">
                  <a:schemeClr val="accent1">
                    <a:shade val="15000"/>
                  </a:schemeClr>
                </a:lnRef>
                <a:fillRef idx="1">
                  <a:schemeClr val="accent1"/>
                </a:fillRef>
                <a:effectRef idx="0">
                  <a:schemeClr val="accent1"/>
                </a:effectRef>
                <a:fontRef idx="minor">
                  <a:schemeClr val="lt1"/>
                </a:fontRef>
              </p:style>
              <p:txBody>
                <a:bodyPr wrap="square" lIns="216000" tIns="0" rIns="0" bIns="0" rtlCol="0" anchor="ctr"/>
                <a:lstStyle/>
                <a:p>
                  <a:pPr>
                    <a:tabLst>
                      <a:tab pos="1074738" algn="l"/>
                    </a:tabLst>
                  </a:pPr>
                  <a:endParaRPr kumimoji="1" lang="ja-JP" altLang="en-US" sz="2800" b="1" dirty="0">
                    <a:solidFill>
                      <a:schemeClr val="tx1"/>
                    </a:solidFill>
                    <a:latin typeface="+mj-ea"/>
                    <a:ea typeface="+mj-ea"/>
                  </a:endParaRPr>
                </a:p>
              </p:txBody>
            </p:sp>
          </p:grpSp>
        </p:grpSp>
      </p:grpSp>
      <p:sp>
        <p:nvSpPr>
          <p:cNvPr id="19" name="テキスト ボックス 18">
            <a:extLst>
              <a:ext uri="{FF2B5EF4-FFF2-40B4-BE49-F238E27FC236}">
                <a16:creationId xmlns:a16="http://schemas.microsoft.com/office/drawing/2014/main" id="{3F712E1F-A49D-AB05-9088-47458D84C936}"/>
              </a:ext>
            </a:extLst>
          </p:cNvPr>
          <p:cNvSpPr txBox="1"/>
          <p:nvPr/>
        </p:nvSpPr>
        <p:spPr>
          <a:xfrm>
            <a:off x="2453416" y="3568316"/>
            <a:ext cx="359483" cy="513712"/>
          </a:xfrm>
          <a:custGeom>
            <a:avLst/>
            <a:gdLst>
              <a:gd name="connsiteX0" fmla="*/ 169317 w 359483"/>
              <a:gd name="connsiteY0" fmla="*/ 0 h 513712"/>
              <a:gd name="connsiteX1" fmla="*/ 304097 w 359483"/>
              <a:gd name="connsiteY1" fmla="*/ 45532 h 513712"/>
              <a:gd name="connsiteX2" fmla="*/ 350263 w 359483"/>
              <a:gd name="connsiteY2" fmla="*/ 155823 h 513712"/>
              <a:gd name="connsiteX3" fmla="*/ 337914 w 359483"/>
              <a:gd name="connsiteY3" fmla="*/ 224261 h 513712"/>
              <a:gd name="connsiteX4" fmla="*/ 294166 w 359483"/>
              <a:gd name="connsiteY4" fmla="*/ 285781 h 513712"/>
              <a:gd name="connsiteX5" fmla="*/ 139980 w 359483"/>
              <a:gd name="connsiteY5" fmla="*/ 440055 h 513712"/>
              <a:gd name="connsiteX6" fmla="*/ 359483 w 359483"/>
              <a:gd name="connsiteY6" fmla="*/ 440055 h 513712"/>
              <a:gd name="connsiteX7" fmla="*/ 359483 w 359483"/>
              <a:gd name="connsiteY7" fmla="*/ 513712 h 513712"/>
              <a:gd name="connsiteX8" fmla="*/ 8382 w 359483"/>
              <a:gd name="connsiteY8" fmla="*/ 513712 h 513712"/>
              <a:gd name="connsiteX9" fmla="*/ 8382 w 359483"/>
              <a:gd name="connsiteY9" fmla="*/ 455958 h 513712"/>
              <a:gd name="connsiteX10" fmla="*/ 210389 w 359483"/>
              <a:gd name="connsiteY10" fmla="*/ 253082 h 513712"/>
              <a:gd name="connsiteX11" fmla="*/ 246222 w 359483"/>
              <a:gd name="connsiteY11" fmla="*/ 207387 h 513712"/>
              <a:gd name="connsiteX12" fmla="*/ 255651 w 359483"/>
              <a:gd name="connsiteY12" fmla="*/ 164207 h 513712"/>
              <a:gd name="connsiteX13" fmla="*/ 230820 w 359483"/>
              <a:gd name="connsiteY13" fmla="*/ 104258 h 513712"/>
              <a:gd name="connsiteX14" fmla="*/ 162611 w 359483"/>
              <a:gd name="connsiteY14" fmla="*/ 79524 h 513712"/>
              <a:gd name="connsiteX15" fmla="*/ 108128 w 359483"/>
              <a:gd name="connsiteY15" fmla="*/ 91076 h 513712"/>
              <a:gd name="connsiteX16" fmla="*/ 68174 w 359483"/>
              <a:gd name="connsiteY16" fmla="*/ 114925 h 513712"/>
              <a:gd name="connsiteX17" fmla="*/ 44425 w 359483"/>
              <a:gd name="connsiteY17" fmla="*/ 134862 h 513712"/>
              <a:gd name="connsiteX18" fmla="*/ 0 w 359483"/>
              <a:gd name="connsiteY18" fmla="*/ 68642 h 513712"/>
              <a:gd name="connsiteX19" fmla="*/ 20055 w 359483"/>
              <a:gd name="connsiteY19" fmla="*/ 50846 h 513712"/>
              <a:gd name="connsiteX20" fmla="*/ 77736 w 359483"/>
              <a:gd name="connsiteY20" fmla="*/ 17796 h 513712"/>
              <a:gd name="connsiteX21" fmla="*/ 169317 w 359483"/>
              <a:gd name="connsiteY21" fmla="*/ 0 h 5137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359483" h="513712">
                <a:moveTo>
                  <a:pt x="169317" y="0"/>
                </a:moveTo>
                <a:cubicBezTo>
                  <a:pt x="228547" y="1096"/>
                  <a:pt x="273474" y="16274"/>
                  <a:pt x="304097" y="45532"/>
                </a:cubicBezTo>
                <a:cubicBezTo>
                  <a:pt x="334719" y="74791"/>
                  <a:pt x="350108" y="111555"/>
                  <a:pt x="350263" y="155823"/>
                </a:cubicBezTo>
                <a:cubicBezTo>
                  <a:pt x="350542" y="180679"/>
                  <a:pt x="346426" y="203492"/>
                  <a:pt x="337914" y="224261"/>
                </a:cubicBezTo>
                <a:cubicBezTo>
                  <a:pt x="329402" y="245030"/>
                  <a:pt x="314819" y="265537"/>
                  <a:pt x="294166" y="285781"/>
                </a:cubicBezTo>
                <a:lnTo>
                  <a:pt x="139980" y="440055"/>
                </a:lnTo>
                <a:lnTo>
                  <a:pt x="359483" y="440055"/>
                </a:lnTo>
                <a:lnTo>
                  <a:pt x="359483" y="513712"/>
                </a:lnTo>
                <a:lnTo>
                  <a:pt x="8382" y="513712"/>
                </a:lnTo>
                <a:lnTo>
                  <a:pt x="8382" y="455958"/>
                </a:lnTo>
                <a:lnTo>
                  <a:pt x="210389" y="253082"/>
                </a:lnTo>
                <a:cubicBezTo>
                  <a:pt x="227676" y="235964"/>
                  <a:pt x="239621" y="220732"/>
                  <a:pt x="246222" y="207387"/>
                </a:cubicBezTo>
                <a:cubicBezTo>
                  <a:pt x="252822" y="194042"/>
                  <a:pt x="255966" y="179648"/>
                  <a:pt x="255651" y="164207"/>
                </a:cubicBezTo>
                <a:cubicBezTo>
                  <a:pt x="255389" y="140137"/>
                  <a:pt x="247112" y="120154"/>
                  <a:pt x="230820" y="104258"/>
                </a:cubicBezTo>
                <a:cubicBezTo>
                  <a:pt x="214527" y="88363"/>
                  <a:pt x="191791" y="80118"/>
                  <a:pt x="162611" y="79524"/>
                </a:cubicBezTo>
                <a:cubicBezTo>
                  <a:pt x="142168" y="79974"/>
                  <a:pt x="124007" y="83825"/>
                  <a:pt x="108128" y="91076"/>
                </a:cubicBezTo>
                <a:cubicBezTo>
                  <a:pt x="92249" y="98327"/>
                  <a:pt x="78931" y="106277"/>
                  <a:pt x="68174" y="114925"/>
                </a:cubicBezTo>
                <a:cubicBezTo>
                  <a:pt x="57417" y="123574"/>
                  <a:pt x="49501" y="130219"/>
                  <a:pt x="44425" y="134862"/>
                </a:cubicBezTo>
                <a:lnTo>
                  <a:pt x="0" y="68642"/>
                </a:lnTo>
                <a:cubicBezTo>
                  <a:pt x="104" y="67794"/>
                  <a:pt x="6789" y="61862"/>
                  <a:pt x="20055" y="50846"/>
                </a:cubicBezTo>
                <a:cubicBezTo>
                  <a:pt x="33321" y="39829"/>
                  <a:pt x="52548" y="28813"/>
                  <a:pt x="77736" y="17796"/>
                </a:cubicBezTo>
                <a:cubicBezTo>
                  <a:pt x="102923" y="6779"/>
                  <a:pt x="133450" y="847"/>
                  <a:pt x="169317" y="0"/>
                </a:cubicBez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21" name="テキスト ボックス 20">
            <a:extLst>
              <a:ext uri="{FF2B5EF4-FFF2-40B4-BE49-F238E27FC236}">
                <a16:creationId xmlns:a16="http://schemas.microsoft.com/office/drawing/2014/main" id="{BC9BF342-EBC4-67BD-DD0F-7E3AB4DEA935}"/>
              </a:ext>
            </a:extLst>
          </p:cNvPr>
          <p:cNvSpPr txBox="1"/>
          <p:nvPr/>
        </p:nvSpPr>
        <p:spPr>
          <a:xfrm>
            <a:off x="2452613" y="6216004"/>
            <a:ext cx="355294" cy="512873"/>
          </a:xfrm>
          <a:custGeom>
            <a:avLst/>
            <a:gdLst>
              <a:gd name="connsiteX0" fmla="*/ 13413 w 355294"/>
              <a:gd name="connsiteY0" fmla="*/ 0 h 512873"/>
              <a:gd name="connsiteX1" fmla="*/ 347758 w 355294"/>
              <a:gd name="connsiteY1" fmla="*/ 0 h 512873"/>
              <a:gd name="connsiteX2" fmla="*/ 347758 w 355294"/>
              <a:gd name="connsiteY2" fmla="*/ 63612 h 512873"/>
              <a:gd name="connsiteX3" fmla="*/ 215419 w 355294"/>
              <a:gd name="connsiteY3" fmla="*/ 203615 h 512873"/>
              <a:gd name="connsiteX4" fmla="*/ 320542 w 355294"/>
              <a:gd name="connsiteY4" fmla="*/ 246061 h 512873"/>
              <a:gd name="connsiteX5" fmla="*/ 355293 w 355294"/>
              <a:gd name="connsiteY5" fmla="*/ 346988 h 512873"/>
              <a:gd name="connsiteX6" fmla="*/ 335909 w 355294"/>
              <a:gd name="connsiteY6" fmla="*/ 428750 h 512873"/>
              <a:gd name="connsiteX7" fmla="*/ 275011 w 355294"/>
              <a:gd name="connsiteY7" fmla="*/ 489243 h 512873"/>
              <a:gd name="connsiteX8" fmla="*/ 168480 w 355294"/>
              <a:gd name="connsiteY8" fmla="*/ 512873 h 512873"/>
              <a:gd name="connsiteX9" fmla="*/ 73018 w 355294"/>
              <a:gd name="connsiteY9" fmla="*/ 494861 h 512873"/>
              <a:gd name="connsiteX10" fmla="*/ 17790 w 355294"/>
              <a:gd name="connsiteY10" fmla="*/ 461410 h 512873"/>
              <a:gd name="connsiteX11" fmla="*/ 1 w 355294"/>
              <a:gd name="connsiteY11" fmla="*/ 443398 h 512873"/>
              <a:gd name="connsiteX12" fmla="*/ 45264 w 355294"/>
              <a:gd name="connsiteY12" fmla="*/ 383041 h 512873"/>
              <a:gd name="connsiteX13" fmla="*/ 59762 w 355294"/>
              <a:gd name="connsiteY13" fmla="*/ 396953 h 512873"/>
              <a:gd name="connsiteX14" fmla="*/ 100896 w 355294"/>
              <a:gd name="connsiteY14" fmla="*/ 422790 h 512873"/>
              <a:gd name="connsiteX15" fmla="*/ 165127 w 355294"/>
              <a:gd name="connsiteY15" fmla="*/ 436702 h 512873"/>
              <a:gd name="connsiteX16" fmla="*/ 243708 w 355294"/>
              <a:gd name="connsiteY16" fmla="*/ 410815 h 512873"/>
              <a:gd name="connsiteX17" fmla="*/ 268225 w 355294"/>
              <a:gd name="connsiteY17" fmla="*/ 350342 h 512873"/>
              <a:gd name="connsiteX18" fmla="*/ 245489 w 355294"/>
              <a:gd name="connsiteY18" fmla="*/ 291861 h 512873"/>
              <a:gd name="connsiteX19" fmla="*/ 169318 w 355294"/>
              <a:gd name="connsiteY19" fmla="*/ 269852 h 512873"/>
              <a:gd name="connsiteX20" fmla="*/ 102262 w 355294"/>
              <a:gd name="connsiteY20" fmla="*/ 269852 h 512873"/>
              <a:gd name="connsiteX21" fmla="*/ 102262 w 355294"/>
              <a:gd name="connsiteY21" fmla="*/ 217030 h 512873"/>
              <a:gd name="connsiteX22" fmla="*/ 235536 w 355294"/>
              <a:gd name="connsiteY22" fmla="*/ 73656 h 512873"/>
              <a:gd name="connsiteX23" fmla="*/ 13413 w 355294"/>
              <a:gd name="connsiteY23" fmla="*/ 73656 h 5128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55294" h="512873">
                <a:moveTo>
                  <a:pt x="13413" y="0"/>
                </a:moveTo>
                <a:lnTo>
                  <a:pt x="347758" y="0"/>
                </a:lnTo>
                <a:lnTo>
                  <a:pt x="347758" y="63612"/>
                </a:lnTo>
                <a:lnTo>
                  <a:pt x="215419" y="203615"/>
                </a:lnTo>
                <a:cubicBezTo>
                  <a:pt x="262297" y="207545"/>
                  <a:pt x="297338" y="221694"/>
                  <a:pt x="320542" y="246061"/>
                </a:cubicBezTo>
                <a:cubicBezTo>
                  <a:pt x="343746" y="270428"/>
                  <a:pt x="355330" y="304071"/>
                  <a:pt x="355293" y="346988"/>
                </a:cubicBezTo>
                <a:cubicBezTo>
                  <a:pt x="355408" y="376488"/>
                  <a:pt x="348946" y="403742"/>
                  <a:pt x="335909" y="428750"/>
                </a:cubicBezTo>
                <a:cubicBezTo>
                  <a:pt x="322872" y="453759"/>
                  <a:pt x="302573" y="473923"/>
                  <a:pt x="275011" y="489243"/>
                </a:cubicBezTo>
                <a:cubicBezTo>
                  <a:pt x="247450" y="504563"/>
                  <a:pt x="211939" y="512440"/>
                  <a:pt x="168480" y="512873"/>
                </a:cubicBezTo>
                <a:cubicBezTo>
                  <a:pt x="129721" y="512015"/>
                  <a:pt x="97900" y="506011"/>
                  <a:pt x="73018" y="494861"/>
                </a:cubicBezTo>
                <a:cubicBezTo>
                  <a:pt x="48136" y="483711"/>
                  <a:pt x="29726" y="472561"/>
                  <a:pt x="17790" y="461410"/>
                </a:cubicBezTo>
                <a:cubicBezTo>
                  <a:pt x="5853" y="450260"/>
                  <a:pt x="-76" y="444256"/>
                  <a:pt x="1" y="443398"/>
                </a:cubicBezTo>
                <a:lnTo>
                  <a:pt x="45264" y="383041"/>
                </a:lnTo>
                <a:cubicBezTo>
                  <a:pt x="45362" y="383704"/>
                  <a:pt x="50195" y="388341"/>
                  <a:pt x="59762" y="396953"/>
                </a:cubicBezTo>
                <a:cubicBezTo>
                  <a:pt x="69329" y="405566"/>
                  <a:pt x="83040" y="414178"/>
                  <a:pt x="100896" y="422790"/>
                </a:cubicBezTo>
                <a:cubicBezTo>
                  <a:pt x="118752" y="431402"/>
                  <a:pt x="140162" y="436039"/>
                  <a:pt x="165127" y="436702"/>
                </a:cubicBezTo>
                <a:cubicBezTo>
                  <a:pt x="200960" y="435986"/>
                  <a:pt x="227154" y="427357"/>
                  <a:pt x="243708" y="410815"/>
                </a:cubicBezTo>
                <a:cubicBezTo>
                  <a:pt x="260262" y="394273"/>
                  <a:pt x="268435" y="374116"/>
                  <a:pt x="268225" y="350342"/>
                </a:cubicBezTo>
                <a:cubicBezTo>
                  <a:pt x="268557" y="325713"/>
                  <a:pt x="260978" y="306219"/>
                  <a:pt x="245489" y="291861"/>
                </a:cubicBezTo>
                <a:cubicBezTo>
                  <a:pt x="230000" y="277502"/>
                  <a:pt x="204609" y="270166"/>
                  <a:pt x="169318" y="269852"/>
                </a:cubicBezTo>
                <a:lnTo>
                  <a:pt x="102262" y="269852"/>
                </a:lnTo>
                <a:lnTo>
                  <a:pt x="102262" y="217030"/>
                </a:lnTo>
                <a:lnTo>
                  <a:pt x="235536" y="73656"/>
                </a:lnTo>
                <a:lnTo>
                  <a:pt x="13413" y="73656"/>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sp>
        <p:nvSpPr>
          <p:cNvPr id="1127" name="スライド番号プレースホルダー 1126">
            <a:extLst>
              <a:ext uri="{FF2B5EF4-FFF2-40B4-BE49-F238E27FC236}">
                <a16:creationId xmlns:a16="http://schemas.microsoft.com/office/drawing/2014/main" id="{B9B6D7F1-B3C8-2E0D-7F7A-3C1D9A1F2430}"/>
              </a:ext>
            </a:extLst>
          </p:cNvPr>
          <p:cNvSpPr>
            <a:spLocks noGrp="1"/>
          </p:cNvSpPr>
          <p:nvPr>
            <p:ph type="sldNum" sz="quarter" idx="11"/>
          </p:nvPr>
        </p:nvSpPr>
        <p:spPr>
          <a:xfrm>
            <a:off x="17776755" y="9786651"/>
            <a:ext cx="163506" cy="307777"/>
          </a:xfrm>
        </p:spPr>
        <p:txBody>
          <a:bodyPr/>
          <a:lstStyle/>
          <a:p>
            <a:r>
              <a:rPr lang="en-US" altLang="ja-JP"/>
              <a:t>9</a:t>
            </a:r>
            <a:endParaRPr lang="ja-JP" altLang="en-US" dirty="0"/>
          </a:p>
        </p:txBody>
      </p:sp>
      <p:sp>
        <p:nvSpPr>
          <p:cNvPr id="3" name="テキスト ボックス 2">
            <a:extLst>
              <a:ext uri="{FF2B5EF4-FFF2-40B4-BE49-F238E27FC236}">
                <a16:creationId xmlns:a16="http://schemas.microsoft.com/office/drawing/2014/main" id="{3AEF68D8-359C-EE9F-5336-2A620AA7E44B}"/>
              </a:ext>
            </a:extLst>
          </p:cNvPr>
          <p:cNvSpPr txBox="1"/>
          <p:nvPr/>
        </p:nvSpPr>
        <p:spPr>
          <a:xfrm>
            <a:off x="2519244" y="1764953"/>
            <a:ext cx="192681" cy="502816"/>
          </a:xfrm>
          <a:custGeom>
            <a:avLst/>
            <a:gdLst>
              <a:gd name="connsiteX0" fmla="*/ 0 w 192681"/>
              <a:gd name="connsiteY0" fmla="*/ 0 h 502816"/>
              <a:gd name="connsiteX1" fmla="*/ 192681 w 192681"/>
              <a:gd name="connsiteY1" fmla="*/ 0 h 502816"/>
              <a:gd name="connsiteX2" fmla="*/ 192681 w 192681"/>
              <a:gd name="connsiteY2" fmla="*/ 502816 h 502816"/>
              <a:gd name="connsiteX3" fmla="*/ 109804 w 192681"/>
              <a:gd name="connsiteY3" fmla="*/ 502816 h 502816"/>
              <a:gd name="connsiteX4" fmla="*/ 109804 w 192681"/>
              <a:gd name="connsiteY4" fmla="*/ 73657 h 502816"/>
              <a:gd name="connsiteX5" fmla="*/ 0 w 192681"/>
              <a:gd name="connsiteY5" fmla="*/ 73657 h 50281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192681" h="502816">
                <a:moveTo>
                  <a:pt x="0" y="0"/>
                </a:moveTo>
                <a:lnTo>
                  <a:pt x="192681" y="0"/>
                </a:lnTo>
                <a:lnTo>
                  <a:pt x="192681" y="502816"/>
                </a:lnTo>
                <a:lnTo>
                  <a:pt x="109804" y="502816"/>
                </a:lnTo>
                <a:lnTo>
                  <a:pt x="109804" y="73657"/>
                </a:lnTo>
                <a:lnTo>
                  <a:pt x="0" y="73657"/>
                </a:lnTo>
                <a:close/>
              </a:path>
            </a:pathLst>
          </a:custGeom>
          <a:solidFill>
            <a:schemeClr val="bg1">
              <a:alpha val="50000"/>
            </a:schemeClr>
          </a:solidFill>
          <a:ln>
            <a:noFill/>
          </a:ln>
          <a:effectLst/>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kumimoji="1" lang="ja-JP" altLang="en-US" sz="6600" dirty="0">
              <a:solidFill>
                <a:schemeClr val="bg1">
                  <a:alpha val="50000"/>
                </a:schemeClr>
              </a:solidFill>
              <a:latin typeface="M PLUS 1p Medium" panose="020B0602020203020207" pitchFamily="50" charset="-128"/>
              <a:ea typeface="+mj-ea"/>
              <a:cs typeface="Segoe UI" panose="020B0502040204020203" pitchFamily="34" charset="0"/>
            </a:endParaRPr>
          </a:p>
        </p:txBody>
      </p:sp>
      <p:pic>
        <p:nvPicPr>
          <p:cNvPr id="2" name="図 1">
            <a:extLst>
              <a:ext uri="{FF2B5EF4-FFF2-40B4-BE49-F238E27FC236}">
                <a16:creationId xmlns:a16="http://schemas.microsoft.com/office/drawing/2014/main" id="{5CF45D47-CF0C-AB58-9D67-99B241C5923B}"/>
              </a:ext>
            </a:extLst>
          </p:cNvPr>
          <p:cNvPicPr>
            <a:picLocks noChangeAspect="1"/>
          </p:cNvPicPr>
          <p:nvPr/>
        </p:nvPicPr>
        <p:blipFill>
          <a:blip r:embed="rId3"/>
          <a:stretch>
            <a:fillRect/>
          </a:stretch>
        </p:blipFill>
        <p:spPr>
          <a:xfrm>
            <a:off x="14007892" y="6418859"/>
            <a:ext cx="3377477" cy="3097036"/>
          </a:xfrm>
          <a:prstGeom prst="rect">
            <a:avLst/>
          </a:prstGeom>
        </p:spPr>
      </p:pic>
    </p:spTree>
    <p:extLst>
      <p:ext uri="{BB962C8B-B14F-4D97-AF65-F5344CB8AC3E}">
        <p14:creationId xmlns:p14="http://schemas.microsoft.com/office/powerpoint/2010/main" val="378848321"/>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テーマ">
  <a:themeElements>
    <a:clrScheme name="生成AIリテラシー教材テーマカラー">
      <a:dk1>
        <a:srgbClr val="3C3C3C"/>
      </a:dk1>
      <a:lt1>
        <a:sysClr val="window" lastClr="FFFFFF"/>
      </a:lt1>
      <a:dk2>
        <a:srgbClr val="656D78"/>
      </a:dk2>
      <a:lt2>
        <a:srgbClr val="EBEEF5"/>
      </a:lt2>
      <a:accent1>
        <a:srgbClr val="4585DB"/>
      </a:accent1>
      <a:accent2>
        <a:srgbClr val="00ABDF"/>
      </a:accent2>
      <a:accent3>
        <a:srgbClr val="E15570"/>
      </a:accent3>
      <a:accent4>
        <a:srgbClr val="FDEDEE"/>
      </a:accent4>
      <a:accent5>
        <a:srgbClr val="FFF571"/>
      </a:accent5>
      <a:accent6>
        <a:srgbClr val="44CA82"/>
      </a:accent6>
      <a:hlink>
        <a:srgbClr val="4585DB"/>
      </a:hlink>
      <a:folHlink>
        <a:srgbClr val="3E81DA"/>
      </a:folHlink>
    </a:clrScheme>
    <a:fontScheme name="M PLUS 1p">
      <a:majorFont>
        <a:latin typeface="M PLUS 1p Bold"/>
        <a:ea typeface="M PLUS 1p Bold"/>
        <a:cs typeface=""/>
      </a:majorFont>
      <a:minorFont>
        <a:latin typeface="M PLUS 1p Medium"/>
        <a:ea typeface="M PLUS 1p Medium"/>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bg2"/>
        </a:solidFill>
        <a:ln>
          <a:noFill/>
        </a:ln>
      </a:spPr>
      <a:bodyPr rtlCol="0" anchor="ctr"/>
      <a:lstStyle>
        <a:defPPr algn="ctr">
          <a:defRPr kumimoji="1"/>
        </a:defPPr>
      </a:lstStyle>
      <a:style>
        <a:lnRef idx="2">
          <a:schemeClr val="accent1">
            <a:shade val="15000"/>
          </a:schemeClr>
        </a:lnRef>
        <a:fillRef idx="1">
          <a:schemeClr val="accent1"/>
        </a:fillRef>
        <a:effectRef idx="0">
          <a:schemeClr val="accent1"/>
        </a:effectRef>
        <a:fontRef idx="minor">
          <a:schemeClr val="lt1"/>
        </a:fontRef>
      </a:style>
    </a:spDef>
    <a:txDef>
      <a:spPr>
        <a:noFill/>
      </a:spPr>
      <a:bodyPr wrap="none" rtlCol="0">
        <a:spAutoFit/>
      </a:bodyPr>
      <a:lstStyle>
        <a:defPPr algn="ctr">
          <a:defRPr kumimoji="1" sz="3200" spc="100" dirty="0" smtClean="0"/>
        </a:defPPr>
      </a:lstStyle>
    </a:tx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テーマ">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游ゴシック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游ゴシック"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A49A0A1B8D4CC4F9E4AEE289CF23877" ma:contentTypeVersion="12" ma:contentTypeDescription="Create a new document." ma:contentTypeScope="" ma:versionID="6305433a1bc455c1d49b3496d1463e0b">
  <xsd:schema xmlns:xsd="http://www.w3.org/2001/XMLSchema" xmlns:xs="http://www.w3.org/2001/XMLSchema" xmlns:p="http://schemas.microsoft.com/office/2006/metadata/properties" xmlns:ns2="684f57ab-64f8-41f0-bcd4-65e7d9529ad5" xmlns:ns3="b5e94948-a8f5-4ce0-8856-bf56797a6ea2" targetNamespace="http://schemas.microsoft.com/office/2006/metadata/properties" ma:root="true" ma:fieldsID="a39dbfd0326aca81bc703ef17bd16826" ns2:_="" ns3:_="">
    <xsd:import namespace="684f57ab-64f8-41f0-bcd4-65e7d9529ad5"/>
    <xsd:import namespace="b5e94948-a8f5-4ce0-8856-bf56797a6ea2"/>
    <xsd:element name="properties">
      <xsd:complexType>
        <xsd:sequence>
          <xsd:element name="documentManagement">
            <xsd:complexType>
              <xsd:all>
                <xsd:element ref="ns2:MediaServiceMetadata" minOccurs="0"/>
                <xsd:element ref="ns2:MediaServiceFastMetadata" minOccurs="0"/>
                <xsd:element ref="ns2:MediaServiceObjectDetectorVersions" minOccurs="0"/>
                <xsd:element ref="ns2:lcf76f155ced4ddcb4097134ff3c332f" minOccurs="0"/>
                <xsd:element ref="ns3:TaxCatchAll" minOccurs="0"/>
                <xsd:element ref="ns2:MediaServiceOCR" minOccurs="0"/>
                <xsd:element ref="ns2:MediaServiceGenerationTime" minOccurs="0"/>
                <xsd:element ref="ns2:MediaServiceEventHashCode" minOccurs="0"/>
                <xsd:element ref="ns2:MediaLengthInSeconds" minOccurs="0"/>
                <xsd:element ref="ns2:MediaServiceDateTaken" minOccurs="0"/>
                <xsd:element ref="ns2:MediaServiceSearchPropertie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684f57ab-64f8-41f0-bcd4-65e7d9529ad5"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ObjectDetectorVersions" ma:index="10" nillable="true" ma:displayName="MediaServiceObjectDetectorVersions" ma:hidden="true" ma:indexed="true" ma:internalName="MediaServiceObjectDetectorVersions" ma:readOnly="true">
      <xsd:simpleType>
        <xsd:restriction base="dms:Text"/>
      </xsd:simpleType>
    </xsd:element>
    <xsd:element name="lcf76f155ced4ddcb4097134ff3c332f" ma:index="12" nillable="true" ma:taxonomy="true" ma:internalName="lcf76f155ced4ddcb4097134ff3c332f" ma:taxonomyFieldName="MediaServiceImageTags" ma:displayName="Image Tags" ma:readOnly="false" ma:fieldId="{5cf76f15-5ced-4ddc-b409-7134ff3c332f}" ma:taxonomyMulti="true" ma:sspId="c1edaf98-933d-48b7-9af8-6bdbb703d060" ma:termSetId="09814cd3-568e-fe90-9814-8d621ff8fb84" ma:anchorId="fba54fb3-c3e1-fe81-a776-ca4b69148c4d" ma:open="true" ma:isKeyword="false">
      <xsd:complexType>
        <xsd:sequence>
          <xsd:element ref="pc:Terms" minOccurs="0" maxOccurs="1"/>
        </xsd:sequence>
      </xsd:complex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LengthInSeconds" ma:index="17" nillable="true" ma:displayName="MediaLengthInSeconds" ma:hidden="true" ma:internalName="MediaLengthInSeconds" ma:readOnly="true">
      <xsd:simpleType>
        <xsd:restriction base="dms:Unknown"/>
      </xsd:simpleType>
    </xsd:element>
    <xsd:element name="MediaServiceDateTaken" ma:index="18" nillable="true" ma:displayName="MediaServiceDateTaken" ma:hidden="true" ma:indexed="true" ma:internalName="MediaServiceDateTaken" ma:readOnly="true">
      <xsd:simpleType>
        <xsd:restriction base="dms:Text"/>
      </xsd:simpleType>
    </xsd:element>
    <xsd:element name="MediaServiceSearchProperties" ma:index="19" nillable="true" ma:displayName="MediaServiceSearchProperties" ma:hidden="true" ma:internalName="MediaServiceSearchProperties" ma:readOnly="true">
      <xsd:simpleType>
        <xsd:restriction base="dms:Note"/>
      </xsd:simpleType>
    </xsd:element>
  </xsd:schema>
  <xsd:schema xmlns:xsd="http://www.w3.org/2001/XMLSchema" xmlns:xs="http://www.w3.org/2001/XMLSchema" xmlns:dms="http://schemas.microsoft.com/office/2006/documentManagement/types" xmlns:pc="http://schemas.microsoft.com/office/infopath/2007/PartnerControls" targetNamespace="b5e94948-a8f5-4ce0-8856-bf56797a6ea2" elementFormDefault="qualified">
    <xsd:import namespace="http://schemas.microsoft.com/office/2006/documentManagement/types"/>
    <xsd:import namespace="http://schemas.microsoft.com/office/infopath/2007/PartnerControls"/>
    <xsd:element name="TaxCatchAll" ma:index="13" nillable="true" ma:displayName="Taxonomy Catch All Column" ma:hidden="true" ma:list="{c927667e-13ae-4209-9fa1-5746dc8f48d2}" ma:internalName="TaxCatchAll" ma:showField="CatchAllData" ma:web="b5e94948-a8f5-4ce0-8856-bf56797a6ea2">
      <xsd:complexType>
        <xsd:complexContent>
          <xsd:extension base="dms:MultiChoiceLookup">
            <xsd:sequence>
              <xsd:element name="Value" type="dms:Lookup" maxOccurs="unbounded" minOccurs="0" nillable="true"/>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91ABA28B-6EE4-4AC1-A692-8B410178CF36}">
  <ds:schemaRefs>
    <ds:schemaRef ds:uri="http://schemas.microsoft.com/sharepoint/v3/contenttype/forms"/>
  </ds:schemaRefs>
</ds:datastoreItem>
</file>

<file path=customXml/itemProps2.xml><?xml version="1.0" encoding="utf-8"?>
<ds:datastoreItem xmlns:ds="http://schemas.openxmlformats.org/officeDocument/2006/customXml" ds:itemID="{746DCD5D-5B81-452A-B2DC-3C1D725B5BAB}">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684f57ab-64f8-41f0-bcd4-65e7d9529ad5"/>
    <ds:schemaRef ds:uri="b5e94948-a8f5-4ce0-8856-bf56797a6ea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otalTime>0</TotalTime>
  <Words>13266</Words>
  <Application>Microsoft Office PowerPoint</Application>
  <PresentationFormat>ユーザー設定</PresentationFormat>
  <Paragraphs>1212</Paragraphs>
  <Slides>75</Slides>
  <Notes>74</Notes>
  <HiddenSlides>0</HiddenSlides>
  <MMClips>0</MMClips>
  <ScaleCrop>false</ScaleCrop>
  <HeadingPairs>
    <vt:vector size="8" baseType="variant">
      <vt:variant>
        <vt:lpstr>使用されているフォント</vt:lpstr>
      </vt:variant>
      <vt:variant>
        <vt:i4>7</vt:i4>
      </vt:variant>
      <vt:variant>
        <vt:lpstr>テーマ</vt:lpstr>
      </vt:variant>
      <vt:variant>
        <vt:i4>1</vt:i4>
      </vt:variant>
      <vt:variant>
        <vt:lpstr>埋め込まれた OLE サーバー</vt:lpstr>
      </vt:variant>
      <vt:variant>
        <vt:i4>1</vt:i4>
      </vt:variant>
      <vt:variant>
        <vt:lpstr>スライド タイトル</vt:lpstr>
      </vt:variant>
      <vt:variant>
        <vt:i4>75</vt:i4>
      </vt:variant>
    </vt:vector>
  </HeadingPairs>
  <TitlesOfParts>
    <vt:vector size="84" baseType="lpstr">
      <vt:lpstr>Trebuchet MS</vt:lpstr>
      <vt:lpstr>Wingdings</vt:lpstr>
      <vt:lpstr>Meiryo UI</vt:lpstr>
      <vt:lpstr>Segoe UI</vt:lpstr>
      <vt:lpstr>M PLUS 1p Bold</vt:lpstr>
      <vt:lpstr>Arial</vt:lpstr>
      <vt:lpstr>M PLUS 1p Medium</vt:lpstr>
      <vt:lpstr>Office テーマ</vt:lpstr>
      <vt:lpstr>think-cell Slide</vt:lpstr>
      <vt:lpstr>PowerPoint プレゼンテーション</vt:lpstr>
      <vt:lpstr>コンテンツの対象と目的</vt:lpstr>
      <vt:lpstr>学習の流れ</vt:lpstr>
      <vt:lpstr>コンテンツの構成</vt:lpstr>
      <vt:lpstr>PowerPoint プレゼンテーション</vt:lpstr>
      <vt:lpstr>生成AIの仕組み</vt:lpstr>
      <vt:lpstr>生成AIの特徴</vt:lpstr>
      <vt:lpstr>PowerPoint プレゼンテーション</vt:lpstr>
      <vt:lpstr>PowerPoint プレゼンテーション</vt:lpstr>
      <vt:lpstr>生成AIは急速に普及</vt:lpstr>
      <vt:lpstr>生成AIにより生活・学習・仕事に大きな影響</vt:lpstr>
      <vt:lpstr>PowerPoint プレゼンテーション</vt:lpstr>
      <vt:lpstr>生成AIは幅広い場面で活用できる (以下は代表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目的に沿った生成AIサービスを選ぶことが大事</vt:lpstr>
      <vt:lpstr>生成AIサービスの使い方 (1/2)</vt:lpstr>
      <vt:lpstr>生成AIサービスの使い方 (2/2)</vt:lpstr>
      <vt:lpstr>生成AIへの指示入力には工夫が必要</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生成AIにより偽・誤情報が増加</vt:lpstr>
      <vt:lpstr>偽・誤情報に騙されるだけでなく、気づかずに発信してしまう可能性もある</vt:lpstr>
      <vt:lpstr>PowerPoint プレゼンテーション</vt:lpstr>
      <vt:lpstr>偽・誤情報に騙されない・拡散しないため、3つのポイントを常に意識する</vt:lpstr>
      <vt:lpstr>❶ 無意識のうちに合理的ではない行動、偏った判断をすることがあるという意識をもつ</vt:lpstr>
      <vt:lpstr>❷ チェックリストを用いて真偽を判断する</vt:lpstr>
      <vt:lpstr>❸ それでも騙される可能性がある。安易に拡散しない / 拡散したいときはひと呼吸おく</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個人情報や機密情報を生成AIに入力すると、情報流出のリスクがある</vt:lpstr>
      <vt:lpstr>PowerPoint プレゼンテーション</vt:lpstr>
      <vt:lpstr>情報流出を防ぐため、3つの行動を心がけ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生成AIで作られたものを利用する時、他人の知的財産権等を侵害する可能性がある</vt:lpstr>
      <vt:lpstr>PowerPoint プレゼンテーション</vt:lpstr>
      <vt:lpstr>他人の知的財産権等の侵害を防ぐため、 既存のものや実在の人物に類似しないよう気を付ける</vt:lpstr>
      <vt:lpstr>生成物が既存のものや実在の人物に類似している場合、以下のいずれかの対応を行う</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生成AIを活用する際は、モラルを守った行動を心がける</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PowerPoint プレゼンテーション</vt:lpstr>
      <vt:lpstr>学習のまとめ(1/2)</vt:lpstr>
      <vt:lpstr>学習のまとめ(2/2)</vt:lpstr>
      <vt:lpstr>関連資料</vt:lpstr>
      <vt:lpstr>おわりに</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4-01-23T05:32:54Z</dcterms:created>
  <dcterms:modified xsi:type="dcterms:W3CDTF">2024-03-22T07:05: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MSIP_Label_b0d5c4f4-7a29-4385-b7a5-afbe2154ae6f_Enabled">
    <vt:lpwstr>true</vt:lpwstr>
  </property>
  <property fmtid="{D5CDD505-2E9C-101B-9397-08002B2CF9AE}" pid="3" name="MSIP_Label_b0d5c4f4-7a29-4385-b7a5-afbe2154ae6f_SetDate">
    <vt:lpwstr>2024-03-21T03:31:41Z</vt:lpwstr>
  </property>
  <property fmtid="{D5CDD505-2E9C-101B-9397-08002B2CF9AE}" pid="4" name="MSIP_Label_b0d5c4f4-7a29-4385-b7a5-afbe2154ae6f_Method">
    <vt:lpwstr>Standard</vt:lpwstr>
  </property>
  <property fmtid="{D5CDD505-2E9C-101B-9397-08002B2CF9AE}" pid="5" name="MSIP_Label_b0d5c4f4-7a29-4385-b7a5-afbe2154ae6f_Name">
    <vt:lpwstr>Confidential</vt:lpwstr>
  </property>
  <property fmtid="{D5CDD505-2E9C-101B-9397-08002B2CF9AE}" pid="6" name="MSIP_Label_b0d5c4f4-7a29-4385-b7a5-afbe2154ae6f_SiteId">
    <vt:lpwstr>2dfb2f0b-4d21-4268-9559-72926144c918</vt:lpwstr>
  </property>
  <property fmtid="{D5CDD505-2E9C-101B-9397-08002B2CF9AE}" pid="7" name="MSIP_Label_b0d5c4f4-7a29-4385-b7a5-afbe2154ae6f_ActionId">
    <vt:lpwstr>e8faf5db-c596-4d74-a107-d085509f538a</vt:lpwstr>
  </property>
  <property fmtid="{D5CDD505-2E9C-101B-9397-08002B2CF9AE}" pid="8" name="MSIP_Label_b0d5c4f4-7a29-4385-b7a5-afbe2154ae6f_ContentBits">
    <vt:lpwstr>0</vt:lpwstr>
  </property>
</Properties>
</file>